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ink/ink1.xml" ContentType="application/inkml+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3" r:id="rId5"/>
    <p:sldMasterId id="2147484131" r:id="rId6"/>
    <p:sldMasterId id="2147484318" r:id="rId7"/>
    <p:sldMasterId id="2147484334" r:id="rId8"/>
  </p:sldMasterIdLst>
  <p:notesMasterIdLst>
    <p:notesMasterId r:id="rId61"/>
  </p:notesMasterIdLst>
  <p:sldIdLst>
    <p:sldId id="322" r:id="rId9"/>
    <p:sldId id="267" r:id="rId10"/>
    <p:sldId id="303" r:id="rId11"/>
    <p:sldId id="268" r:id="rId12"/>
    <p:sldId id="277" r:id="rId13"/>
    <p:sldId id="360" r:id="rId14"/>
    <p:sldId id="414" r:id="rId15"/>
    <p:sldId id="305" r:id="rId16"/>
    <p:sldId id="363" r:id="rId17"/>
    <p:sldId id="2147483542" r:id="rId18"/>
    <p:sldId id="264" r:id="rId19"/>
    <p:sldId id="2147483453" r:id="rId20"/>
    <p:sldId id="2147483188" r:id="rId21"/>
    <p:sldId id="270" r:id="rId22"/>
    <p:sldId id="296" r:id="rId23"/>
    <p:sldId id="297" r:id="rId24"/>
    <p:sldId id="260" r:id="rId25"/>
    <p:sldId id="282" r:id="rId26"/>
    <p:sldId id="399" r:id="rId27"/>
    <p:sldId id="262" r:id="rId28"/>
    <p:sldId id="261" r:id="rId29"/>
    <p:sldId id="271" r:id="rId30"/>
    <p:sldId id="272" r:id="rId31"/>
    <p:sldId id="257" r:id="rId32"/>
    <p:sldId id="269" r:id="rId33"/>
    <p:sldId id="258" r:id="rId34"/>
    <p:sldId id="2147483646" r:id="rId35"/>
    <p:sldId id="2147483645" r:id="rId36"/>
    <p:sldId id="2147483559" r:id="rId37"/>
    <p:sldId id="2147483647" r:id="rId38"/>
    <p:sldId id="266" r:id="rId39"/>
    <p:sldId id="311" r:id="rId40"/>
    <p:sldId id="300" r:id="rId41"/>
    <p:sldId id="273" r:id="rId42"/>
    <p:sldId id="2147483621" r:id="rId43"/>
    <p:sldId id="256" r:id="rId44"/>
    <p:sldId id="2147483623" r:id="rId45"/>
    <p:sldId id="283" r:id="rId46"/>
    <p:sldId id="274" r:id="rId47"/>
    <p:sldId id="293" r:id="rId48"/>
    <p:sldId id="325" r:id="rId49"/>
    <p:sldId id="323" r:id="rId50"/>
    <p:sldId id="324" r:id="rId51"/>
    <p:sldId id="327" r:id="rId52"/>
    <p:sldId id="333" r:id="rId53"/>
    <p:sldId id="2147483593" r:id="rId54"/>
    <p:sldId id="2147481779" r:id="rId55"/>
    <p:sldId id="285" r:id="rId56"/>
    <p:sldId id="298" r:id="rId57"/>
    <p:sldId id="316" r:id="rId58"/>
    <p:sldId id="259" r:id="rId59"/>
    <p:sldId id="319"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CB2600-BEBD-DB7B-F913-959F91FFA422}" name="Sean Fiene" initials="SF" userId="S::seanfiene@microsoft.com::4e93721e-9760-4562-ba01-623efeab82b4" providerId="AD"/>
  <p188:author id="{6CD43406-CA54-AAFE-918E-DE5E08F80856}" name="Iman Boukly" initials="IB" userId="S::imanbo@microsoft.com::ae6a6284-fb04-4a2f-a0e2-33102a430e92" providerId="AD"/>
  <p188:author id="{68F95D0D-0218-923E-ABAD-EC4D73DDC450}" name="Scott Adams" initials="SA" userId="S::scadam@microsoft.com::2e0bb53a-50f4-4ef4-b3ed-4327e607901e" providerId="AD"/>
  <p188:author id="{5F0FAD1C-6E7B-E47A-4E30-B07C3CBE20EF}" name="Shreesh babu Thassu Srinivasan" initials="ST" userId="S::shreeshbabut@microsoft.com::e29862a3-c20f-4cc5-a7c7-c42f68ae3bb1" providerId="AD"/>
  <p188:author id="{0531392E-A5DF-BBF0-70C7-610272F7DC87}" name="Jyoti Rathod" initials="JR" userId="S::jyrathod@microsoft.com::9b91ecaf-5f8a-4a12-a9c9-51a52c265f69" providerId="AD"/>
  <p188:author id="{5E98544A-6BB2-702B-1814-44F3D6513A6B}" name="Raghav BN" initials="RB" userId="S::rananjai@microsoft.com::00416034-07a8-4594-b796-523d61f57b17" providerId="AD"/>
  <p188:author id="{C67D584A-1E98-17F3-56EA-AD4D026AF9D9}" name="Ken Young" initials="KY" userId="S::kenyoun@microsoft.com::581544e3-f76f-46f0-b74d-165a39e56b95" providerId="AD"/>
  <p188:author id="{6EC0854C-6955-A031-D8D0-49CFE10FFAC9}" name="Daniel Carrasco" initials="DC" userId="S::dacarras@microsoft.com::31226689-1cb5-48e6-807e-530aff4a6828" providerId="AD"/>
  <p188:author id="{13C0E94F-2EF4-F9C5-F77F-4CA8F2AD45A0}" name="Brian Jackett" initials="BJ" userId="S::brianja@microsoft.com::e2c557f4-fffa-4012-a1e1-e15087bfdbac" providerId="AD"/>
  <p188:author id="{4A5FC160-FF3A-6142-0667-A34C6318CB7D}" name="Prateek Sharma" initials="PS" userId="S::pratsha@microsoft.com::6ea6d340-28f5-423f-a992-a63354e0472c" providerId="AD"/>
  <p188:author id="{D6F26963-7D31-7E94-BDCA-0053EED9EF82}" name="Leslie Overland" initials="LO" userId="S::leoverla@microsoft.com::f3978a41-ce7f-4ee8-a07a-b9255d9fc7c0" providerId="AD"/>
  <p188:author id="{9C2EAC92-E584-1234-AD50-7CAB76B0120A}" name="Kris Wilson" initials="KW" userId="S::krwilson@microsoft.com::93a03b2a-c640-4be6-96ef-2cdaa5fe6415" providerId="AD"/>
  <p188:author id="{EB743598-6934-A9A6-5B2F-292910E40ACC}" name="Pete Puustinen" initials="PP" userId="S::petrip@microsoft.com::afdc5376-b007-4d8e-9c19-07b3fbb81413" providerId="AD"/>
  <p188:author id="{029BBA9C-7C8E-D4FC-419B-D07A082BA1CE}" name="Tina Ying" initials="TY" userId="S::juying@microsoft.com::1da9fe39-9117-4426-a723-84e692e91d64" providerId="AD"/>
  <p188:author id="{BDFC109E-D8F3-207E-9B38-00D8CC37E15C}" name="Vas Perchuk" initials="VP" userId="S::vaperch@microsoft.com::5d870c6a-26e6-414f-bc4a-7e92eab2efa3" providerId="AD"/>
  <p188:author id="{272C96AB-DF7A-A9B8-E8D7-48AA065863EA}" name="Betsy Linares" initials="" userId="S::betsylinares@microsoft.com::86f1bcd2-9700-40d1-94df-cb60f6d45b45" providerId="AD"/>
  <p188:author id="{3A8526B5-0368-298F-90E8-91BD51925C6D}" name="Niranjan Deo" initials="ND" userId="S::nideo@microsoft.com::3dd48659-d0d4-4a4b-a14a-cc4202f2b8d5" providerId="AD"/>
  <p188:author id="{9DAEABB8-2A5D-94F8-4A96-A46AC652DE54}" name="Brett Johnson (GBB)" initials="B(" userId="S::brettjo@microsoft.com::ad51252c-820d-4333-9a8a-f9ef3b7ff2e6" providerId="AD"/>
  <p188:author id="{9388AAB9-85FC-659B-1DC5-4555A91B93FA}" name="Jim Wray" initials="JW" userId="S::jameswray@microsoft.com::88760589-64c9-4b2e-8a57-c692178d77d5" providerId="AD"/>
  <p188:author id="{06C8C6C6-922D-D608-3372-70A84C4F3BFA}" name="Cotishea Anderson" initials="CA" userId="S::coander@microsoft.com::0146bda3-1b98-4c8b-a0e0-a904f8f62bc3" providerId="AD"/>
  <p188:author id="{349C9BC9-F351-2924-3A1A-76E78930DB73}" name="Evan Westenberger" initials="EW" userId="S::evanw@microsoft.com::a6340aab-b5f3-4174-9692-cf763a9f3cba" providerId="AD"/>
  <p188:author id="{D692B6D8-FF00-2ACC-F9EE-6B79EDFE8A98}" name="Suzanna Zhuang" initials="SZ" userId="S::suzanz@microsoft.com::636c2c54-daab-484b-b682-88e556929dfe" providerId="AD"/>
  <p188:author id="{1932F9E0-88BF-8F93-08A7-22E33C62B221}" name="Matteo Pagani" initials="MP" userId="S::mpagani@microsoft.com::33f58c04-96ec-4aef-881b-71cb7a2868be" providerId="AD"/>
  <p188:author id="{614D5CFB-5B42-9B07-B933-0BFAD8C23F7F}" name="Martin Lagus" initials="ML" userId="S::mlagus@microsoft.com::c00e47f9-705a-4876-a38d-4ef832da44a2" providerId="AD"/>
  <p188:author id="{9CDA5DFB-7FFB-AD18-9126-D4FF6DE06BE8}" name="Luciano Fonzi" initials="LF" userId="S::lufonzi@microsoft.com::841076e1-bc82-47cc-a295-71d7657a6cc7" providerId="AD"/>
  <p188:author id="{9049B8FC-72A7-DA4A-AA1B-C720983C0980}" name="Craig Foster" initials="CF" userId="S::crafost@microsoft.com::969f87f5-33c5-4607-8c05-2064f365b26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FF"/>
    <a:srgbClr val="3A3A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3A6577-CCB2-41CB-9E71-C4C72D5FB1AF}" v="1" dt="2025-06-04T17:04:46.6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897" autoAdjust="0"/>
  </p:normalViewPr>
  <p:slideViewPr>
    <p:cSldViewPr snapToGrid="0">
      <p:cViewPr>
        <p:scale>
          <a:sx n="65" d="100"/>
          <a:sy n="65" d="100"/>
        </p:scale>
        <p:origin x="1268" y="756"/>
      </p:cViewPr>
      <p:guideLst/>
    </p:cSldViewPr>
  </p:slideViewPr>
  <p:notesTextViewPr>
    <p:cViewPr>
      <p:scale>
        <a:sx n="1" d="1"/>
        <a:sy n="1" d="1"/>
      </p:scale>
      <p:origin x="0" y="0"/>
    </p:cViewPr>
  </p:notesTextViewPr>
  <p:notesViewPr>
    <p:cSldViewPr snapToGrid="0">
      <p:cViewPr>
        <p:scale>
          <a:sx n="76" d="100"/>
          <a:sy n="76" d="100"/>
        </p:scale>
        <p:origin x="2824" y="7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microsoft.com/office/2018/10/relationships/authors" Targe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7-18T14:23:33.365"/>
    </inkml:context>
    <inkml:brush xml:id="br0">
      <inkml:brushProperty name="width" value="0.025" units="cm"/>
      <inkml:brushProperty name="height" value="0.025" units="cm"/>
    </inkml:brush>
  </inkml:definitions>
  <inkml:trace contextRef="#ctx0" brushRef="#br0">0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F68274-F1FF-4873-B821-7B2254CCEDD8}" type="datetimeFigureOut">
              <a:rPr lang="en-IN" smtClean="0"/>
              <a:t>11-06-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D6043E-E748-40DF-972B-E96C9AB7E412}" type="slidenum">
              <a:rPr lang="en-IN" smtClean="0"/>
              <a:t>‹#›</a:t>
            </a:fld>
            <a:endParaRPr lang="en-IN"/>
          </a:p>
        </p:txBody>
      </p:sp>
    </p:spTree>
    <p:extLst>
      <p:ext uri="{BB962C8B-B14F-4D97-AF65-F5344CB8AC3E}">
        <p14:creationId xmlns:p14="http://schemas.microsoft.com/office/powerpoint/2010/main" val="1082226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2FD2C5-30BF-4401-284A-97798EB11F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BB0D9E-F010-15DC-E8F9-AC75249D79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278AF0-C9C2-E661-D829-8DEE6D3F3528}"/>
              </a:ext>
            </a:extLst>
          </p:cNvPr>
          <p:cNvSpPr>
            <a:spLocks noGrp="1"/>
          </p:cNvSpPr>
          <p:nvPr>
            <p:ph type="body" idx="1"/>
          </p:nvPr>
        </p:nvSpPr>
        <p:spPr/>
        <p:txBody>
          <a:bodyPr/>
          <a:lstStyle/>
          <a:p>
            <a:pPr defTabSz="929305" fontAlgn="base">
              <a:lnSpc>
                <a:spcPct val="107000"/>
              </a:lnSpc>
              <a:defRPr/>
            </a:pPr>
            <a:endParaRPr lang="en-US"/>
          </a:p>
        </p:txBody>
      </p:sp>
      <p:sp>
        <p:nvSpPr>
          <p:cNvPr id="4" name="Slide Number Placeholder 3">
            <a:extLst>
              <a:ext uri="{FF2B5EF4-FFF2-40B4-BE49-F238E27FC236}">
                <a16:creationId xmlns:a16="http://schemas.microsoft.com/office/drawing/2014/main" id="{3C6E66B1-1D48-4BDF-02B8-CCB1614B12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977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31BD4B5-4679-43FF-8EBE-09D12C93027F}" type="slidenum">
              <a:rPr lang="en-AU" smtClean="0"/>
              <a:t>10</a:t>
            </a:fld>
            <a:endParaRPr lang="en-AU"/>
          </a:p>
        </p:txBody>
      </p:sp>
    </p:spTree>
    <p:extLst>
      <p:ext uri="{BB962C8B-B14F-4D97-AF65-F5344CB8AC3E}">
        <p14:creationId xmlns:p14="http://schemas.microsoft.com/office/powerpoint/2010/main" val="200946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579385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51784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26CF901-0983-4D47-BE4C-9E07E1C79155}" type="slidenum">
              <a:rPr lang="en-IN" smtClean="0"/>
              <a:t>13</a:t>
            </a:fld>
            <a:endParaRPr lang="en-IN"/>
          </a:p>
        </p:txBody>
      </p:sp>
    </p:spTree>
    <p:extLst>
      <p:ext uri="{BB962C8B-B14F-4D97-AF65-F5344CB8AC3E}">
        <p14:creationId xmlns:p14="http://schemas.microsoft.com/office/powerpoint/2010/main" val="2694014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3000" b="0" kern="1200" cap="none" spc="-50" baseline="0">
              <a:ln w="3175">
                <a:noFill/>
              </a:ln>
              <a:solidFill>
                <a:schemeClr val="tx1"/>
              </a:solidFill>
              <a:effectLst/>
              <a:latin typeface="+mj-lt"/>
              <a:ea typeface="+mn-ea"/>
              <a:cs typeface="Segoe UI" pitchFamily="34" charset="0"/>
            </a:endParaRPr>
          </a:p>
        </p:txBody>
      </p:sp>
      <p:sp>
        <p:nvSpPr>
          <p:cNvPr id="4" name="Slide Number Placeholder 3"/>
          <p:cNvSpPr>
            <a:spLocks noGrp="1"/>
          </p:cNvSpPr>
          <p:nvPr>
            <p:ph type="sldNum" sz="quarter" idx="5"/>
          </p:nvPr>
        </p:nvSpPr>
        <p:spPr/>
        <p:txBody>
          <a:bodyPr/>
          <a:lstStyle/>
          <a:p>
            <a:fld id="{F31BD4B5-4679-43FF-8EBE-09D12C93027F}" type="slidenum">
              <a:rPr lang="en-AU" smtClean="0"/>
              <a:t>14</a:t>
            </a:fld>
            <a:endParaRPr lang="en-AU"/>
          </a:p>
        </p:txBody>
      </p:sp>
    </p:spTree>
    <p:extLst>
      <p:ext uri="{BB962C8B-B14F-4D97-AF65-F5344CB8AC3E}">
        <p14:creationId xmlns:p14="http://schemas.microsoft.com/office/powerpoint/2010/main" val="2517584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C3FA18-E77F-D72D-9CDE-0A5E18100D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DC0DA-6828-742F-2FE2-36CC4E011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F03DCA-BF22-FF75-EA11-9E26F121080D}"/>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ED85A90E-B848-6463-C2F0-5FB855F544B4}"/>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D74575C-4DBF-8E84-3D76-D804FE87B340}"/>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76A1849A-4C5E-33C4-42E2-755210F02947}"/>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04C0B1FC-EE8C-946D-E912-69C320A24A10}"/>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7587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43AED7-8AED-4C8B-9662-4B6BAE37A9D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13073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EDDE70-A441-30E5-A216-0BEED917C5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2DA96E-110D-C36A-4EFF-D2D15D637E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F81169-D142-2B10-27F0-330A4D712DDE}"/>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95FEB3B5-455A-31C1-03E4-C2236EEC093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CF901-0983-4D47-BE4C-9E07E1C79155}" type="slidenum">
              <a:rPr kumimoji="0" lang="en-IN"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IN"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228865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26DB3-DF58-BE62-E866-7AFA8B1B07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D77576-00B1-0725-87BD-AAE755C886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13F0AD-A1CC-4744-3D57-121E6288FC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4C00C40-B501-430A-DA38-F4B5E878A33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6A7219-639C-4AEA-9F1C-2349368C1D4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3112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BD7985-778C-0B3C-09D7-0460D8263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4A803B-71FA-4DE4-895F-18708EA137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8F9F2C-F9A1-4E81-FA59-188B6487316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987A1F9-5A9B-4C02-43F7-9A7A4E09E2C5}"/>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11CC45C-D7C9-4A6A-8340-6B905AD04DA9}"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632255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511880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47959-FDB8-60C9-E767-7256F40935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E8178C-7A8D-D5E0-551D-A1B43C324A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F96C5-ED3C-B2F0-4D84-74AD0256729F}"/>
              </a:ext>
            </a:extLst>
          </p:cNvPr>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CA" sz="1800" kern="100">
              <a:latin typeface="Aptos"/>
            </a:endParaRPr>
          </a:p>
        </p:txBody>
      </p:sp>
      <p:sp>
        <p:nvSpPr>
          <p:cNvPr id="4" name="Slide Number Placeholder 3">
            <a:extLst>
              <a:ext uri="{FF2B5EF4-FFF2-40B4-BE49-F238E27FC236}">
                <a16:creationId xmlns:a16="http://schemas.microsoft.com/office/drawing/2014/main" id="{18CD17FF-AAED-84CA-FE45-F305442C86C2}"/>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11CC45C-D7C9-4A6A-8340-6B905AD04DA9}"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40805539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16F255-A9B1-52A4-E601-BE05B5CF5E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881B3-79FE-2DE3-F224-6677570E2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79C48E-409F-AE6A-CC44-2A9F4FCB4F78}"/>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743978C3-5C06-5A36-7CE8-C06335A95622}"/>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0FD39653-4A1C-2139-061F-3C8A6C6DE9BB}"/>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064F757-275A-EA3B-CCCE-3D74B61A89C8}"/>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5F496D93-3AB2-0D89-BFA5-64AF8BA6189A}"/>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718806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BCC37-A9A4-04CD-10AC-5B80724CD7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A1654E-1A62-BD84-7B6B-EB4C3B673D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9F0470-DBDA-9C16-E52B-AA5B9A09A840}"/>
              </a:ext>
            </a:extLst>
          </p:cNvPr>
          <p:cNvSpPr>
            <a:spLocks noGrp="1"/>
          </p:cNvSpPr>
          <p:nvPr>
            <p:ph type="body" idx="1"/>
          </p:nvPr>
        </p:nvSpPr>
        <p:spPr/>
        <p:txBody>
          <a:bodyPr/>
          <a:lstStyle/>
          <a:p>
            <a:endParaRPr lang="en-GB"/>
          </a:p>
        </p:txBody>
      </p:sp>
      <p:sp>
        <p:nvSpPr>
          <p:cNvPr id="4" name="Header Placeholder 3">
            <a:extLst>
              <a:ext uri="{FF2B5EF4-FFF2-40B4-BE49-F238E27FC236}">
                <a16:creationId xmlns:a16="http://schemas.microsoft.com/office/drawing/2014/main" id="{B83CA323-3BE9-46D1-9DF6-B745403EE7C0}"/>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ED1E4887-A070-D4F8-6494-04AA5D027DC9}"/>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5A6DB5C4-77F4-F0DB-C18A-2F63906263F3}"/>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6240E088-3DE0-3B3F-9F13-6B3F2EC68756}"/>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8421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A4D30C-3801-40BB-BCEB-A81E1B9BF41D}" type="slidenum">
              <a:rPr lang="en-IN" smtClean="0"/>
              <a:t>24</a:t>
            </a:fld>
            <a:endParaRPr lang="en-IN"/>
          </a:p>
        </p:txBody>
      </p:sp>
    </p:spTree>
    <p:extLst>
      <p:ext uri="{BB962C8B-B14F-4D97-AF65-F5344CB8AC3E}">
        <p14:creationId xmlns:p14="http://schemas.microsoft.com/office/powerpoint/2010/main" val="109626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25331-568B-DAD9-38BD-DB5B577531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996A26-F6ED-3CB9-811A-064361851D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A318F-5443-011D-84D5-3349CB19DC77}"/>
              </a:ext>
            </a:extLst>
          </p:cNvPr>
          <p:cNvSpPr>
            <a:spLocks noGrp="1"/>
          </p:cNvSpPr>
          <p:nvPr>
            <p:ph type="body" idx="1"/>
          </p:nvPr>
        </p:nvSpPr>
        <p:spPr/>
        <p:txBody>
          <a:bodyPr/>
          <a:lstStyle/>
          <a:p>
            <a:pPr marL="0" indent="0">
              <a:spcBef>
                <a:spcPts val="1200"/>
              </a:spcBef>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8C7E01E5-00E3-7E23-3367-E2157640C8CE}"/>
              </a:ext>
            </a:extLst>
          </p:cNvPr>
          <p:cNvSpPr>
            <a:spLocks noGrp="1"/>
          </p:cNvSpPr>
          <p:nvPr>
            <p:ph type="sldNum" sz="quarter" idx="5"/>
          </p:nvPr>
        </p:nvSpPr>
        <p:spPr/>
        <p:txBody>
          <a:bodyPr/>
          <a:lstStyle/>
          <a:p>
            <a:fld id="{E9158BEA-C89E-4F38-A800-9CBFAB4BAA76}" type="slidenum">
              <a:rPr lang="en-US" smtClean="0"/>
              <a:t>25</a:t>
            </a:fld>
            <a:endParaRPr lang="en-US"/>
          </a:p>
        </p:txBody>
      </p:sp>
    </p:spTree>
    <p:extLst>
      <p:ext uri="{BB962C8B-B14F-4D97-AF65-F5344CB8AC3E}">
        <p14:creationId xmlns:p14="http://schemas.microsoft.com/office/powerpoint/2010/main" val="1202930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A4D30C-3801-40BB-BCEB-A81E1B9BF41D}" type="slidenum">
              <a:rPr lang="en-IN" smtClean="0"/>
              <a:t>26</a:t>
            </a:fld>
            <a:endParaRPr lang="en-IN"/>
          </a:p>
        </p:txBody>
      </p:sp>
    </p:spTree>
    <p:extLst>
      <p:ext uri="{BB962C8B-B14F-4D97-AF65-F5344CB8AC3E}">
        <p14:creationId xmlns:p14="http://schemas.microsoft.com/office/powerpoint/2010/main" val="17287782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06BFC-781C-C247-133C-32B88ED9A8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942B4E-7DAF-8A20-FF1A-539F11C013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634EA4-BF2E-E9F8-DB1D-05A3FA9D2A6C}"/>
              </a:ext>
            </a:extLst>
          </p:cNvPr>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a:extLst>
              <a:ext uri="{FF2B5EF4-FFF2-40B4-BE49-F238E27FC236}">
                <a16:creationId xmlns:a16="http://schemas.microsoft.com/office/drawing/2014/main" id="{64011F34-C297-6F21-7412-F1558312EF41}"/>
              </a:ext>
            </a:extLst>
          </p:cNvPr>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715F67F0-FF55-B92B-F806-B8AA4CD8421C}"/>
              </a:ext>
            </a:extLst>
          </p:cNvPr>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E04B63E1-0009-918E-77D4-80A6E1F5915A}"/>
              </a:ext>
            </a:extLst>
          </p:cNvPr>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4780787F-FDCA-B339-9C1F-4FD5891FDE2B}"/>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8685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C832F1-D92A-671A-DDE6-2C3ED64D51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370249-1021-DABE-B87C-FCA2B127513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1B6E3B-7DD2-167A-8BDF-FE34771DA73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EC74E5A-08EB-B033-2068-D94C5D56497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648290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0A652-0D3D-8FB9-CB0B-E2158CF803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BEA35-FF6C-1BD6-B608-275F9B5FE8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F39D93-B8E3-5C10-C548-6DA74F4A040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2B9AC0C-A3C9-E87F-167B-6177A4B5D4F9}"/>
              </a:ext>
            </a:extLst>
          </p:cNvPr>
          <p:cNvSpPr>
            <a:spLocks noGrp="1"/>
          </p:cNvSpPr>
          <p:nvPr>
            <p:ph type="sldNum" sz="quarter" idx="5"/>
          </p:nvPr>
        </p:nvSpPr>
        <p:spPr/>
        <p:txBody>
          <a:bodyPr/>
          <a:lstStyle/>
          <a:p>
            <a:fld id="{526CF901-0983-4D47-BE4C-9E07E1C79155}" type="slidenum">
              <a:rPr lang="en-IN" smtClean="0"/>
              <a:t>30</a:t>
            </a:fld>
            <a:endParaRPr lang="en-IN"/>
          </a:p>
        </p:txBody>
      </p:sp>
    </p:spTree>
    <p:extLst>
      <p:ext uri="{BB962C8B-B14F-4D97-AF65-F5344CB8AC3E}">
        <p14:creationId xmlns:p14="http://schemas.microsoft.com/office/powerpoint/2010/main" val="17116153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1E1E3FA8-8A17-4907-B7EA-2BAFE1D1D07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00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6704FA-852C-47A1-B2CB-3085BFB6D0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7983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42BBB-5A66-745E-53EA-079D9E683B8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F885D3D-14E9-AF85-7D70-9F777D6B32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7CFB93-E457-7F22-A4E0-E203A318EEEA}"/>
              </a:ext>
            </a:extLst>
          </p:cNvPr>
          <p:cNvSpPr>
            <a:spLocks noGrp="1"/>
          </p:cNvSpPr>
          <p:nvPr>
            <p:ph type="body" idx="1"/>
          </p:nvPr>
        </p:nvSpPr>
        <p:spPr/>
        <p:txBody>
          <a:bodyPr/>
          <a:lstStyle/>
          <a:p>
            <a:endParaRPr lang="en-US" b="1"/>
          </a:p>
        </p:txBody>
      </p:sp>
      <p:sp>
        <p:nvSpPr>
          <p:cNvPr id="4" name="Slide Number Placeholder 3">
            <a:extLst>
              <a:ext uri="{FF2B5EF4-FFF2-40B4-BE49-F238E27FC236}">
                <a16:creationId xmlns:a16="http://schemas.microsoft.com/office/drawing/2014/main" id="{C262ECA7-670B-7DE8-8CBC-87E7A616139B}"/>
              </a:ext>
            </a:extLst>
          </p:cNvPr>
          <p:cNvSpPr>
            <a:spLocks noGrp="1"/>
          </p:cNvSpPr>
          <p:nvPr>
            <p:ph type="sldNum" sz="quarter" idx="5"/>
          </p:nvPr>
        </p:nvSpPr>
        <p:spPr/>
        <p:txBody>
          <a:bodyPr/>
          <a:lstStyle/>
          <a:p>
            <a:fld id="{526CF901-0983-4D47-BE4C-9E07E1C79155}" type="slidenum">
              <a:rPr lang="en-IN" smtClean="0"/>
              <a:t>32</a:t>
            </a:fld>
            <a:endParaRPr lang="en-IN"/>
          </a:p>
        </p:txBody>
      </p:sp>
    </p:spTree>
    <p:extLst>
      <p:ext uri="{BB962C8B-B14F-4D97-AF65-F5344CB8AC3E}">
        <p14:creationId xmlns:p14="http://schemas.microsoft.com/office/powerpoint/2010/main" val="13840516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1AE43F-BD87-55AF-7B22-CD4DD4C85F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1E459B-5C45-C643-DF52-FB1AFC3801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9AE168-C82D-993A-5E13-36414B1E89D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19C55B5-09FB-FAFE-5E21-EB271C8E41F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6EA1AF-0C2A-41B3-B3C0-9CBC242AD0D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04679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4D5F9-2023-783B-FDA0-BF4220DE98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CF7C30-CBF7-3ACE-E586-991A4E4EE3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2C85A8-0E6B-6847-86CE-1F8628AD429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13415E-F2AB-3EC0-F0FB-0F303060B99A}"/>
              </a:ext>
            </a:extLst>
          </p:cNvPr>
          <p:cNvSpPr>
            <a:spLocks noGrp="1"/>
          </p:cNvSpPr>
          <p:nvPr>
            <p:ph type="sldNum" sz="quarter" idx="5"/>
          </p:nvPr>
        </p:nvSpPr>
        <p:spPr/>
        <p:txBody>
          <a:bodyPr/>
          <a:lstStyle/>
          <a:p>
            <a:fld id="{526CF901-0983-4D47-BE4C-9E07E1C79155}" type="slidenum">
              <a:rPr lang="en-IN" smtClean="0"/>
              <a:t>36</a:t>
            </a:fld>
            <a:endParaRPr lang="en-IN"/>
          </a:p>
        </p:txBody>
      </p:sp>
    </p:spTree>
    <p:extLst>
      <p:ext uri="{BB962C8B-B14F-4D97-AF65-F5344CB8AC3E}">
        <p14:creationId xmlns:p14="http://schemas.microsoft.com/office/powerpoint/2010/main" val="20116795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D69339-DA0D-BC29-4BB5-B8D7D334FD9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225B88-9DEF-6B8A-6D12-004A309E53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1C546F-7677-C199-BB0A-E64ACAFA21C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602095-0977-A5CB-AFDE-15CAC42E8B6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03632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D6043E-E748-40DF-972B-E96C9AB7E412}"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661355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FB6C9-4721-BE68-19C9-9EC72C0F35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C2A0C0-283F-E441-7289-CD3B0BD6C2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D39250-87C8-A48A-4E7C-D0BDF5AED68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a:extLst>
              <a:ext uri="{FF2B5EF4-FFF2-40B4-BE49-F238E27FC236}">
                <a16:creationId xmlns:a16="http://schemas.microsoft.com/office/drawing/2014/main" id="{B2C65332-5D6E-B49C-375D-E294350EB62C}"/>
              </a:ext>
            </a:extLst>
          </p:cNvPr>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D146BDA7-D79E-3742-1AA5-1F10AAE18ED7}"/>
              </a:ext>
            </a:extLst>
          </p:cNvPr>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C30F0A7D-2188-A957-764F-6E1FEEFEA9EE}"/>
              </a:ext>
            </a:extLst>
          </p:cNvPr>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97E09BFD-70BE-5DC2-2025-EA588753D638}"/>
              </a:ext>
            </a:extLst>
          </p:cNvPr>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7759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510094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804523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52843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Aft>
                <a:spcPts val="1125"/>
              </a:spcAft>
              <a:buNone/>
            </a:pPr>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84939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12867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84FA68-8F4B-422B-AD27-9639E86175E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99164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A4D30C-3801-40BB-BCEB-A81E1B9BF41D}" type="slidenum">
              <a:rPr kumimoji="0" lang="en-IN"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IN"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985721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F2D60-C06D-4698-A7A6-563F820EA7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756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72877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9305">
              <a:defRPr/>
            </a:pPr>
            <a:endParaRPr lang="en-US"/>
          </a:p>
        </p:txBody>
      </p:sp>
      <p:sp>
        <p:nvSpPr>
          <p:cNvPr id="4" name="Slide Number Placeholder 3"/>
          <p:cNvSpPr>
            <a:spLocks noGrp="1"/>
          </p:cNvSpPr>
          <p:nvPr>
            <p:ph type="sldNum" sz="quarter" idx="5"/>
          </p:nvPr>
        </p:nvSpPr>
        <p:spPr/>
        <p:txBody>
          <a:bodyPr/>
          <a:lstStyle/>
          <a:p>
            <a:pPr marL="0" marR="0" lvl="0" indent="0" algn="r" defTabSz="929305"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9305"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3981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CB05BC-9EB5-4DCF-AC94-41052F5C20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7247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BD920-AF2A-4568-C563-8B01CA0DF5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F2A09C-4940-D8AE-7CCA-774B52FD49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EB2EDC9-0464-76E0-43B6-4CABC26A48E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E3470AA-2547-5EBC-06E0-F2CA784E6103}"/>
              </a:ext>
            </a:extLst>
          </p:cNvPr>
          <p:cNvSpPr>
            <a:spLocks noGrp="1"/>
          </p:cNvSpPr>
          <p:nvPr>
            <p:ph type="sldNum" sz="quarter" idx="10"/>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88588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31BD4B5-4679-43FF-8EBE-09D12C93027F}" type="slidenum">
              <a:rPr lang="en-AU" smtClean="0"/>
              <a:t>5</a:t>
            </a:fld>
            <a:endParaRPr lang="en-AU"/>
          </a:p>
        </p:txBody>
      </p:sp>
    </p:spTree>
    <p:extLst>
      <p:ext uri="{BB962C8B-B14F-4D97-AF65-F5344CB8AC3E}">
        <p14:creationId xmlns:p14="http://schemas.microsoft.com/office/powerpoint/2010/main" val="2020227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5220D-B12F-9DC9-CA25-D140C28257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7532AF-A527-62E5-E809-049B2F21E1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CD6E50-D145-90C4-2E9F-DE1600D46CF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F8124B0-9C16-58C4-6C30-888FFEE55CEF}"/>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B6DBA25-EEB1-46C0-8126-D5B74A701FA7}" type="slidenum">
              <a:rPr kumimoji="0" lang="en-US" sz="1200" b="0" i="0" u="none" strike="noStrike" kern="1200" cap="none" spc="0" normalizeH="0" baseline="0" noProof="0" smtClean="0">
                <a:ln>
                  <a:noFill/>
                </a:ln>
                <a:solidFill>
                  <a:prstClr val="black"/>
                </a:solidFill>
                <a:effectLst/>
                <a:uLnTx/>
                <a:uFillTx/>
                <a:latin typeface="Segoe Sans Display" pitchFamily="2"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Sans Display" pitchFamily="2" charset="0"/>
              <a:ea typeface="+mn-ea"/>
              <a:cs typeface="+mn-cs"/>
            </a:endParaRPr>
          </a:p>
        </p:txBody>
      </p:sp>
    </p:spTree>
    <p:extLst>
      <p:ext uri="{BB962C8B-B14F-4D97-AF65-F5344CB8AC3E}">
        <p14:creationId xmlns:p14="http://schemas.microsoft.com/office/powerpoint/2010/main" val="3173023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2000D-940B-564C-79F9-DDDCA8FD70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EBB92C-517B-24A1-772D-57F28958AAEE}"/>
              </a:ext>
            </a:extLst>
          </p:cNvPr>
          <p:cNvSpPr>
            <a:spLocks noGrp="1" noRot="1" noChangeAspect="1"/>
          </p:cNvSpPr>
          <p:nvPr>
            <p:ph type="sldImg"/>
          </p:nvPr>
        </p:nvSpPr>
        <p:spPr>
          <a:xfrm>
            <a:off x="777875" y="1200150"/>
            <a:ext cx="5759450" cy="3240088"/>
          </a:xfrm>
        </p:spPr>
      </p:sp>
      <p:sp>
        <p:nvSpPr>
          <p:cNvPr id="3" name="Notes Placeholder 2">
            <a:extLst>
              <a:ext uri="{FF2B5EF4-FFF2-40B4-BE49-F238E27FC236}">
                <a16:creationId xmlns:a16="http://schemas.microsoft.com/office/drawing/2014/main" id="{8577490F-3FC6-A6C1-7E36-79FA7696AE8C}"/>
              </a:ext>
            </a:extLst>
          </p:cNvPr>
          <p:cNvSpPr>
            <a:spLocks noGrp="1"/>
          </p:cNvSpPr>
          <p:nvPr>
            <p:ph type="body" idx="1"/>
          </p:nvPr>
        </p:nvSpPr>
        <p:spPr/>
        <p:txBody>
          <a:bodyPr/>
          <a:lstStyle/>
          <a:p>
            <a:pPr>
              <a:lnSpc>
                <a:spcPct val="107000"/>
              </a:lnSpc>
              <a:spcAft>
                <a:spcPts val="800"/>
              </a:spcAft>
            </a:pPr>
            <a:endParaRPr lang="en-US"/>
          </a:p>
        </p:txBody>
      </p:sp>
      <p:sp>
        <p:nvSpPr>
          <p:cNvPr id="4" name="Slide Number Placeholder 3">
            <a:extLst>
              <a:ext uri="{FF2B5EF4-FFF2-40B4-BE49-F238E27FC236}">
                <a16:creationId xmlns:a16="http://schemas.microsoft.com/office/drawing/2014/main" id="{2C9C736D-12AD-8B02-B808-3BE9DFB003CE}"/>
              </a:ext>
            </a:extLst>
          </p:cNvPr>
          <p:cNvSpPr>
            <a:spLocks noGrp="1"/>
          </p:cNvSpPr>
          <p:nvPr>
            <p:ph type="sldNum" sz="quarter" idx="5"/>
          </p:nvPr>
        </p:nvSpPr>
        <p:spPr/>
        <p:txBody>
          <a:bodyPr/>
          <a:lstStyle/>
          <a:p>
            <a:pPr marL="0" marR="0" lvl="0" indent="0" algn="r" defTabSz="664393" rtl="0" eaLnBrk="1" fontAlgn="auto" latinLnBrk="0" hangingPunct="1">
              <a:lnSpc>
                <a:spcPct val="100000"/>
              </a:lnSpc>
              <a:spcBef>
                <a:spcPts val="0"/>
              </a:spcBef>
              <a:spcAft>
                <a:spcPts val="0"/>
              </a:spcAft>
              <a:buClrTx/>
              <a:buSzTx/>
              <a:buFontTx/>
              <a:buNone/>
              <a:tabLst/>
              <a:defRPr/>
            </a:pPr>
            <a:fld id="{760CD717-BA3E-410B-AAE6-2C9310D382A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6439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088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1CF10E-EB9A-6BBA-2C3F-EC41C2EFFF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B599AB8-E654-A3D6-0CE1-22153CF1B3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3082D4-FCB4-4776-94AE-78E18628753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9A594B-7C8E-FD05-4ED7-BD70C4B887B2}"/>
              </a:ext>
            </a:extLst>
          </p:cNvPr>
          <p:cNvSpPr>
            <a:spLocks noGrp="1"/>
          </p:cNvSpPr>
          <p:nvPr>
            <p:ph type="sldNum" sz="quarter" idx="5"/>
          </p:nvPr>
        </p:nvSpPr>
        <p:spPr/>
        <p:txBody>
          <a:bodyPr/>
          <a:lstStyle/>
          <a:p>
            <a:fld id="{F31BD4B5-4679-43FF-8EBE-09D12C93027F}" type="slidenum">
              <a:rPr lang="en-AU" smtClean="0"/>
              <a:t>8</a:t>
            </a:fld>
            <a:endParaRPr lang="en-AU"/>
          </a:p>
        </p:txBody>
      </p:sp>
    </p:spTree>
    <p:extLst>
      <p:ext uri="{BB962C8B-B14F-4D97-AF65-F5344CB8AC3E}">
        <p14:creationId xmlns:p14="http://schemas.microsoft.com/office/powerpoint/2010/main" val="1703111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BDDBC-1346-A61F-5622-F620FBE9AC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811625-AAC2-DC04-59BE-E10037EF66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3D0EA0-5B39-843E-D51D-A759690C9F18}"/>
              </a:ext>
            </a:extLst>
          </p:cNvPr>
          <p:cNvSpPr>
            <a:spLocks noGrp="1"/>
          </p:cNvSpPr>
          <p:nvPr>
            <p:ph type="body" idx="1"/>
          </p:nvPr>
        </p:nvSpPr>
        <p:spPr/>
        <p:txBody>
          <a:bodyPr/>
          <a:lstStyle/>
          <a:p>
            <a:endParaRPr lang="en-US"/>
          </a:p>
        </p:txBody>
      </p:sp>
      <p:sp>
        <p:nvSpPr>
          <p:cNvPr id="4" name="Header Placeholder 3">
            <a:extLst>
              <a:ext uri="{FF2B5EF4-FFF2-40B4-BE49-F238E27FC236}">
                <a16:creationId xmlns:a16="http://schemas.microsoft.com/office/drawing/2014/main" id="{12035CED-A7AA-969B-87EA-58154A6CCB78}"/>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a:extLst>
              <a:ext uri="{FF2B5EF4-FFF2-40B4-BE49-F238E27FC236}">
                <a16:creationId xmlns:a16="http://schemas.microsoft.com/office/drawing/2014/main" id="{EEB85B75-76A0-3E6E-5A4B-5D0DE941E8D8}"/>
              </a:ext>
            </a:extLst>
          </p:cNvPr>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F94D64F4-C7E4-8044-CE5A-80CDFA2AEC8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804A9E-0000-44C0-A661-B83801FE6DB9}" type="datetime8">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1/2025 11:14 A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a:extLst>
              <a:ext uri="{FF2B5EF4-FFF2-40B4-BE49-F238E27FC236}">
                <a16:creationId xmlns:a16="http://schemas.microsoft.com/office/drawing/2014/main" id="{632062A6-A0F3-7705-064C-B67B8699255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355601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24.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3.xml"/><Relationship Id="rId6" Type="http://schemas.openxmlformats.org/officeDocument/2006/relationships/image" Target="../media/image29.jpeg"/><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3.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5.emf"/></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3.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5.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5.emf"/></Relationships>
</file>

<file path=ppt/slideLayouts/_rels/slideLayout1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5" Type="http://schemas.openxmlformats.org/officeDocument/2006/relationships/image" Target="../media/image28.jpeg"/><Relationship Id="rId4" Type="http://schemas.openxmlformats.org/officeDocument/2006/relationships/image" Target="../media/image27.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29.jpeg"/><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2.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Master" Target="../slideMasters/slideMaster3.xml"/><Relationship Id="rId4" Type="http://schemas.openxmlformats.org/officeDocument/2006/relationships/image" Target="../media/image39.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1106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cSld name="Title Only_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500856" y="951639"/>
            <a:ext cx="5595144" cy="802903"/>
          </a:xfrm>
        </p:spPr>
        <p:txBody>
          <a:bodyPr vert="horz" lIns="0" tIns="45720" rIns="0" bIns="45720" rtlCol="0" anchor="t">
            <a:noAutofit/>
          </a:bodyPr>
          <a:lstStyle>
            <a:lvl1pPr>
              <a:defRPr lang="en-US" sz="2800" dirty="0">
                <a:latin typeface="+mj-lt"/>
              </a:defRPr>
            </a:lvl1pPr>
          </a:lstStyle>
          <a:p>
            <a:pPr marL="0" lvl="0">
              <a:spcBef>
                <a:spcPts val="1200"/>
              </a:spcBef>
              <a:spcAft>
                <a:spcPts val="600"/>
              </a:spcAft>
            </a:pPr>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264581"/>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noAutofit/>
          </a:bodyPr>
          <a:lstStyle>
            <a:lvl1pPr marL="0" indent="0">
              <a:spcAft>
                <a:spcPts val="6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24094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481576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val="0"/>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0036217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quare Photo Lef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1093807"/>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2073295"/>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89206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931762"/>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911250"/>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88247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19553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393903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395600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245776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extLst>
                <a:ext uri="{28A0092B-C50C-407E-A947-70E740481C1C}">
                  <a14:useLocalDpi xmlns:a14="http://schemas.microsoft.com/office/drawing/2010/main" val="0"/>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165163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244882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5660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511002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extLst>
                <a:ext uri="{28A0092B-C50C-407E-A947-70E740481C1C}">
                  <a14:useLocalDpi xmlns:a14="http://schemas.microsoft.com/office/drawing/2010/main" val="0"/>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598428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extLst>
                <a:ext uri="{28A0092B-C50C-407E-A947-70E740481C1C}">
                  <a14:useLocalDpi xmlns:a14="http://schemas.microsoft.com/office/drawing/2010/main" val="0"/>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82092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extLst>
                <a:ext uri="{28A0092B-C50C-407E-A947-70E740481C1C}">
                  <a14:useLocalDpi xmlns:a14="http://schemas.microsoft.com/office/drawing/2010/main" val="0"/>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364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625577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90868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186404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62924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extLst>
                <a:ext uri="{28A0092B-C50C-407E-A947-70E740481C1C}">
                  <a14:useLocalDpi xmlns:a14="http://schemas.microsoft.com/office/drawing/2010/main" val="0"/>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81748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a:alphaModFix amt="46000"/>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98063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8926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925149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val="0"/>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454265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69652A2-E29C-BE8D-BDD3-DE79D7CD36E2}"/>
              </a:ext>
            </a:extLst>
          </p:cNvPr>
          <p:cNvSpPr>
            <a:spLocks noGrp="1"/>
          </p:cNvSpPr>
          <p:nvPr>
            <p:ph type="title" hasCustomPrompt="1"/>
          </p:nvPr>
        </p:nvSpPr>
        <p:spPr>
          <a:xfrm>
            <a:off x="588263" y="2309811"/>
            <a:ext cx="3179065" cy="553998"/>
          </a:xfrm>
        </p:spPr>
        <p:txBody>
          <a:bodyPr anchor="t" anchorCtr="0"/>
          <a:lstStyle>
            <a:lvl1pPr>
              <a:defRPr/>
            </a:lvl1pPr>
          </a:lstStyle>
          <a:p>
            <a:r>
              <a:rPr lang="en-US"/>
              <a:t>Title</a:t>
            </a:r>
            <a:endParaRPr lang="en-CA"/>
          </a:p>
        </p:txBody>
      </p:sp>
    </p:spTree>
    <p:extLst>
      <p:ext uri="{BB962C8B-B14F-4D97-AF65-F5344CB8AC3E}">
        <p14:creationId xmlns:p14="http://schemas.microsoft.com/office/powerpoint/2010/main" val="32151410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AE92A3BC-F5A8-2DAA-DD0D-D13234BCD462}"/>
              </a:ext>
            </a:extLst>
          </p:cNvPr>
          <p:cNvSpPr>
            <a:spLocks noGrp="1"/>
          </p:cNvSpPr>
          <p:nvPr>
            <p:ph type="title" hasCustomPrompt="1"/>
          </p:nvPr>
        </p:nvSpPr>
        <p:spPr>
          <a:xfrm>
            <a:off x="588263" y="3150413"/>
            <a:ext cx="308090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224835232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itle 3">
            <a:extLst>
              <a:ext uri="{FF2B5EF4-FFF2-40B4-BE49-F238E27FC236}">
                <a16:creationId xmlns:a16="http://schemas.microsoft.com/office/drawing/2014/main" id="{58663207-1A18-AE82-9D0F-35CDCAABAD66}"/>
              </a:ext>
            </a:extLst>
          </p:cNvPr>
          <p:cNvSpPr>
            <a:spLocks noGrp="1"/>
          </p:cNvSpPr>
          <p:nvPr>
            <p:ph type="title" hasCustomPrompt="1"/>
          </p:nvPr>
        </p:nvSpPr>
        <p:spPr>
          <a:xfrm>
            <a:off x="588263" y="457200"/>
            <a:ext cx="2999889"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8422996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9" name="Title 8">
            <a:extLst>
              <a:ext uri="{FF2B5EF4-FFF2-40B4-BE49-F238E27FC236}">
                <a16:creationId xmlns:a16="http://schemas.microsoft.com/office/drawing/2014/main" id="{699DD0A3-990A-8748-1537-7378C601906F}"/>
              </a:ext>
            </a:extLst>
          </p:cNvPr>
          <p:cNvSpPr>
            <a:spLocks noGrp="1"/>
          </p:cNvSpPr>
          <p:nvPr>
            <p:ph type="title" hasCustomPrompt="1"/>
          </p:nvPr>
        </p:nvSpPr>
        <p:spPr>
          <a:xfrm>
            <a:off x="588263" y="457200"/>
            <a:ext cx="2884142" cy="553998"/>
          </a:xfrm>
        </p:spPr>
        <p:txBody>
          <a:bodyPr/>
          <a:lstStyle>
            <a:lvl1pPr>
              <a:defRPr/>
            </a:lvl1pPr>
          </a:lstStyle>
          <a:p>
            <a:r>
              <a:rPr lang="en-US"/>
              <a:t>Title</a:t>
            </a:r>
            <a:endParaRPr lang="en-CA"/>
          </a:p>
        </p:txBody>
      </p:sp>
    </p:spTree>
    <p:extLst>
      <p:ext uri="{BB962C8B-B14F-4D97-AF65-F5344CB8AC3E}">
        <p14:creationId xmlns:p14="http://schemas.microsoft.com/office/powerpoint/2010/main" val="50661037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gradFill>
                  <a:gsLst>
                    <a:gs pos="0">
                      <a:schemeClr val="accent1"/>
                    </a:gs>
                    <a:gs pos="100000">
                      <a:schemeClr val="accent3"/>
                    </a:gs>
                  </a:gsLst>
                  <a:lin ang="2400000" scaled="0"/>
                </a:gra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solidFill>
                  <a:schemeClr val="bg1"/>
                </a:solidFill>
              </a:defRPr>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1"/>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bg1"/>
                </a:solidFill>
              </a:defRPr>
            </a:lvl1pPr>
            <a:lvl2pPr marL="228600" indent="0">
              <a:buNone/>
              <a:defRPr sz="1400">
                <a:solidFill>
                  <a:schemeClr val="bg1"/>
                </a:solidFill>
              </a:defRPr>
            </a:lvl2pPr>
            <a:lvl3pPr marL="457200" indent="0">
              <a:buNone/>
              <a:defRPr sz="1400">
                <a:solidFill>
                  <a:schemeClr val="bg1"/>
                </a:solidFill>
              </a:defRPr>
            </a:lvl3pPr>
            <a:lvl4pPr marL="661988" indent="0">
              <a:buNone/>
              <a:defRPr sz="1400">
                <a:solidFill>
                  <a:schemeClr val="bg1"/>
                </a:solidFill>
              </a:defRPr>
            </a:lvl4pPr>
            <a:lvl5pPr marL="855663" indent="0">
              <a:buNone/>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23697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text side by side 3">
    <p:bg>
      <p:bgPr>
        <a:solidFill>
          <a:schemeClr val="bg1"/>
        </a:solidFill>
        <a:effectLst/>
      </p:bgPr>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8C5A4B86-3999-CC4D-1925-487D3FA19BB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822A3B09-F7BC-3C2B-081B-BD1E3B3A5FF6}"/>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819127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488C947-40F3-D142-3309-D0AE6BEAD3A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11956" y="0"/>
            <a:ext cx="4356100" cy="6858000"/>
          </a:xfrm>
          <a:prstGeom prst="rect">
            <a:avLst/>
          </a:prstGeom>
        </p:spPr>
      </p:pic>
      <p:sp>
        <p:nvSpPr>
          <p:cNvPr id="4" name="Rectangle 3">
            <a:extLst>
              <a:ext uri="{FF2B5EF4-FFF2-40B4-BE49-F238E27FC236}">
                <a16:creationId xmlns:a16="http://schemas.microsoft.com/office/drawing/2014/main" id="{D5BB20F6-3BF0-1EF8-34BB-53E93F5776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255609582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842202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FBA90455-9809-B6D8-2D41-0929AEE07C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64271"/>
          <a:stretch/>
        </p:blipFill>
        <p:spPr>
          <a:xfrm>
            <a:off x="0" y="0"/>
            <a:ext cx="4356100" cy="6858000"/>
          </a:xfrm>
          <a:prstGeom prst="rect">
            <a:avLst/>
          </a:prstGeom>
        </p:spPr>
      </p:pic>
      <p:sp>
        <p:nvSpPr>
          <p:cNvPr id="4" name="Rectangle 3">
            <a:extLst>
              <a:ext uri="{FF2B5EF4-FFF2-40B4-BE49-F238E27FC236}">
                <a16:creationId xmlns:a16="http://schemas.microsoft.com/office/drawing/2014/main" id="{A5F2023B-7AE5-69C3-01A0-9B1BB63BF268}"/>
              </a:ext>
            </a:extLst>
          </p:cNvPr>
          <p:cNvSpPr/>
          <p:nvPr userDrawn="1"/>
        </p:nvSpPr>
        <p:spPr bwMode="auto">
          <a:xfrm>
            <a:off x="0" y="0"/>
            <a:ext cx="4356100"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tx1"/>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bg1"/>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50471830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side by side 03">
    <p:bg>
      <p:bgPr>
        <a:solidFill>
          <a:schemeClr val="bg1"/>
        </a:solidFill>
        <a:effectLst/>
      </p:bgPr>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82217560-9E17-DBA8-D5FA-9ED06F30B0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5751"/>
          <a:stretch/>
        </p:blipFill>
        <p:spPr>
          <a:xfrm>
            <a:off x="0" y="0"/>
            <a:ext cx="7833296" cy="6858000"/>
          </a:xfrm>
          <a:prstGeom prst="rect">
            <a:avLst/>
          </a:prstGeom>
        </p:spPr>
      </p:pic>
      <p:sp>
        <p:nvSpPr>
          <p:cNvPr id="2" name="Rectangle 1">
            <a:extLst>
              <a:ext uri="{FF2B5EF4-FFF2-40B4-BE49-F238E27FC236}">
                <a16:creationId xmlns:a16="http://schemas.microsoft.com/office/drawing/2014/main" id="{37207726-2370-6483-1AFF-42CB361BBAEA}"/>
              </a:ext>
            </a:extLst>
          </p:cNvPr>
          <p:cNvSpPr/>
          <p:nvPr userDrawn="1"/>
        </p:nvSpPr>
        <p:spPr bwMode="auto">
          <a:xfrm>
            <a:off x="-1" y="0"/>
            <a:ext cx="783329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
        <p:nvSpPr>
          <p:cNvPr id="5" name="Title 4">
            <a:extLst>
              <a:ext uri="{FF2B5EF4-FFF2-40B4-BE49-F238E27FC236}">
                <a16:creationId xmlns:a16="http://schemas.microsoft.com/office/drawing/2014/main" id="{F45EB2DC-BE70-8B81-B0B7-6D73ADBFBE0A}"/>
              </a:ext>
            </a:extLst>
          </p:cNvPr>
          <p:cNvSpPr>
            <a:spLocks noGrp="1"/>
          </p:cNvSpPr>
          <p:nvPr>
            <p:ph type="title" hasCustomPrompt="1"/>
          </p:nvPr>
        </p:nvSpPr>
        <p:spPr>
          <a:xfrm>
            <a:off x="588263" y="457200"/>
            <a:ext cx="6084000" cy="553998"/>
          </a:xfrm>
        </p:spPr>
        <p:txBody>
          <a:bodyPr/>
          <a:lstStyle>
            <a:lvl1pPr>
              <a:defRPr>
                <a:solidFill>
                  <a:schemeClr val="tx1"/>
                </a:solidFill>
              </a:defRPr>
            </a:lvl1pPr>
          </a:lstStyle>
          <a:p>
            <a:r>
              <a:rPr lang="en-US"/>
              <a:t>Title</a:t>
            </a:r>
            <a:endParaRPr lang="en-CA"/>
          </a:p>
        </p:txBody>
      </p:sp>
    </p:spTree>
    <p:extLst>
      <p:ext uri="{BB962C8B-B14F-4D97-AF65-F5344CB8AC3E}">
        <p14:creationId xmlns:p14="http://schemas.microsoft.com/office/powerpoint/2010/main" val="730627418"/>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E8E3F90-45CE-A83F-3C0D-8D5FC1BBE78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Rounded Corners 7">
            <a:extLst>
              <a:ext uri="{FF2B5EF4-FFF2-40B4-BE49-F238E27FC236}">
                <a16:creationId xmlns:a16="http://schemas.microsoft.com/office/drawing/2014/main" id="{372437A2-AE69-71ED-390F-3AD72B170687}"/>
              </a:ext>
            </a:extLst>
          </p:cNvPr>
          <p:cNvSpPr/>
          <p:nvPr userDrawn="1"/>
        </p:nvSpPr>
        <p:spPr bwMode="auto">
          <a:xfrm>
            <a:off x="3770290" y="585787"/>
            <a:ext cx="7746520" cy="5683249"/>
          </a:xfrm>
          <a:prstGeom prst="roundRect">
            <a:avLst>
              <a:gd name="adj" fmla="val 3567"/>
            </a:avLst>
          </a:prstGeom>
          <a:gradFill>
            <a:gsLst>
              <a:gs pos="0">
                <a:schemeClr val="tx1"/>
              </a:gs>
              <a:gs pos="100000">
                <a:schemeClr val="accent1">
                  <a:lumMod val="20000"/>
                  <a:lumOff val="80000"/>
                </a:schemeClr>
              </a:gs>
            </a:gsLst>
            <a:lin ang="2400000" scaled="0"/>
          </a:gradFill>
          <a:ln>
            <a:noFill/>
          </a:ln>
          <a:effectLst>
            <a:outerShdw blurRad="2794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solidFill>
                  <a:schemeClr val="bg1"/>
                </a:soli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7369086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text side by side 4">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bg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4" name="Straight Connector 3">
            <a:extLst>
              <a:ext uri="{FF2B5EF4-FFF2-40B4-BE49-F238E27FC236}">
                <a16:creationId xmlns:a16="http://schemas.microsoft.com/office/drawing/2014/main" id="{DCE60B72-F858-4063-747A-49FFC2B61214}"/>
              </a:ext>
              <a:ext uri="{C183D7F6-B498-43B3-948B-1728B52AA6E4}">
                <adec:decorative xmlns:adec="http://schemas.microsoft.com/office/drawing/2017/decorative" val="1"/>
              </a:ext>
            </a:extLst>
          </p:cNvPr>
          <p:cNvCxnSpPr>
            <a:cxnSpLocks/>
          </p:cNvCxnSpPr>
          <p:nvPr userDrawn="1"/>
        </p:nvCxnSpPr>
        <p:spPr>
          <a:xfrm>
            <a:off x="4356100" y="2578100"/>
            <a:ext cx="0" cy="1701800"/>
          </a:xfrm>
          <a:prstGeom prst="line">
            <a:avLst/>
          </a:prstGeom>
          <a:ln w="57150">
            <a:gradFill flip="none" rotWithShape="1">
              <a:gsLst>
                <a:gs pos="0">
                  <a:schemeClr val="accent2"/>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7583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Pr>
        <a:solidFill>
          <a:schemeClr val="tx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38100">
            <a:gradFill flip="none" rotWithShape="1">
              <a:gsLst>
                <a:gs pos="0">
                  <a:schemeClr val="accent1"/>
                </a:gs>
                <a:gs pos="100000">
                  <a:schemeClr val="accent3"/>
                </a:gs>
              </a:gsLst>
              <a:lin ang="540000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bg1"/>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516303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Large Number Divider 1">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246350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615901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chemeClr val="bg1"/>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273305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32251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9_Large Number Divider 1">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defPPr>
              <a:defRPr lang="en-US"/>
            </a:defPPr>
            <a:lvl1pPr>
              <a:defRPr sz="50000" b="1" i="0">
                <a:gradFill>
                  <a:gsLst>
                    <a:gs pos="0">
                      <a:schemeClr val="accent1"/>
                    </a:gs>
                    <a:gs pos="100000">
                      <a:schemeClr val="accent3"/>
                    </a:gs>
                  </a:gsLst>
                  <a:lin ang="2400000" scaled="0"/>
                </a:gradFill>
                <a:latin typeface="Segoe UI" panose="020B0502040204020203" pitchFamily="34" charset="0"/>
                <a:cs typeface="Segoe UI" panose="020B0502040204020203" pitchFamily="34" charset="0"/>
              </a:defRPr>
            </a:lvl1pPr>
          </a:lstStyle>
          <a:p>
            <a:pPr lvl="0"/>
            <a:r>
              <a:rPr lang="en-US"/>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bg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840446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Three Contents, with headers">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val="0"/>
              </a:ext>
            </a:extLst>
          </a:blip>
          <a:srcRect t="2407"/>
          <a:stretch/>
        </p:blipFill>
        <p:spPr>
          <a:xfrm>
            <a:off x="0" y="0"/>
            <a:ext cx="12192000" cy="6718300"/>
          </a:xfrm>
          <a:prstGeom prst="rect">
            <a:avLst/>
          </a:prstGeom>
        </p:spPr>
      </p:pic>
      <p:sp>
        <p:nvSpPr>
          <p:cNvPr id="13" name="Rectangle: Rounded Corners 12">
            <a:extLst>
              <a:ext uri="{FF2B5EF4-FFF2-40B4-BE49-F238E27FC236}">
                <a16:creationId xmlns:a16="http://schemas.microsoft.com/office/drawing/2014/main" id="{2F97E769-CE7C-834C-6E78-FACC556A247F}"/>
              </a:ext>
            </a:extLst>
          </p:cNvPr>
          <p:cNvSpPr/>
          <p:nvPr userDrawn="1"/>
        </p:nvSpPr>
        <p:spPr>
          <a:xfrm>
            <a:off x="54927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Content Placeholder 9">
            <a:extLst>
              <a:ext uri="{FF2B5EF4-FFF2-40B4-BE49-F238E27FC236}">
                <a16:creationId xmlns:a16="http://schemas.microsoft.com/office/drawing/2014/main" id="{2C728C39-0419-E964-E346-BE537CF07099}"/>
              </a:ext>
            </a:extLst>
          </p:cNvPr>
          <p:cNvSpPr>
            <a:spLocks noGrp="1"/>
          </p:cNvSpPr>
          <p:nvPr>
            <p:ph sz="quarter" idx="16"/>
          </p:nvPr>
        </p:nvSpPr>
        <p:spPr>
          <a:xfrm>
            <a:off x="82296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A17C1B5-8C73-489B-B527-0AEF26BAC008}"/>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B9370407-EBCA-77DD-F103-9EE016845C78}"/>
              </a:ext>
            </a:extLst>
          </p:cNvPr>
          <p:cNvSpPr>
            <a:spLocks noGrp="1"/>
          </p:cNvSpPr>
          <p:nvPr>
            <p:ph type="ftr" sz="quarter" idx="11"/>
          </p:nvPr>
        </p:nvSpPr>
        <p:spPr>
          <a:xfrm>
            <a:off x="549274" y="6341190"/>
            <a:ext cx="5480051" cy="246221"/>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rPr>
              <a:t>© Copyright Microsoft Corporation. All rights reserved.</a:t>
            </a:r>
          </a:p>
        </p:txBody>
      </p:sp>
      <p:sp>
        <p:nvSpPr>
          <p:cNvPr id="8" name="Slide Number Placeholder 7">
            <a:extLst>
              <a:ext uri="{FF2B5EF4-FFF2-40B4-BE49-F238E27FC236}">
                <a16:creationId xmlns:a16="http://schemas.microsoft.com/office/drawing/2014/main" id="{5CA02BBB-A5DB-8DFB-47F1-494DD1C45354}"/>
              </a:ext>
            </a:extLst>
          </p:cNvPr>
          <p:cNvSpPr>
            <a:spLocks noGrp="1"/>
          </p:cNvSpPr>
          <p:nvPr>
            <p:ph type="sldNum" sz="quarter" idx="12"/>
          </p:nvPr>
        </p:nvSpPr>
        <p:spPr>
          <a:xfrm>
            <a:off x="9904413" y="6331904"/>
            <a:ext cx="1734079" cy="24622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11280968-7614-5E59-F463-E4CC029276B5}"/>
              </a:ext>
            </a:extLst>
          </p:cNvPr>
          <p:cNvSpPr>
            <a:spLocks noGrp="1"/>
          </p:cNvSpPr>
          <p:nvPr>
            <p:ph sz="quarter" idx="13"/>
          </p:nvPr>
        </p:nvSpPr>
        <p:spPr>
          <a:xfrm>
            <a:off x="82296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7A4E2FA7-78F4-CE92-D223-8C014E6AE8EC}"/>
              </a:ext>
            </a:extLst>
          </p:cNvPr>
          <p:cNvSpPr/>
          <p:nvPr userDrawn="1"/>
        </p:nvSpPr>
        <p:spPr>
          <a:xfrm>
            <a:off x="4292600"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Content Placeholder 9">
            <a:extLst>
              <a:ext uri="{FF2B5EF4-FFF2-40B4-BE49-F238E27FC236}">
                <a16:creationId xmlns:a16="http://schemas.microsoft.com/office/drawing/2014/main" id="{92883E98-232B-B898-414F-DDE5C5E11218}"/>
              </a:ext>
            </a:extLst>
          </p:cNvPr>
          <p:cNvSpPr>
            <a:spLocks noGrp="1"/>
          </p:cNvSpPr>
          <p:nvPr>
            <p:ph sz="quarter" idx="19"/>
          </p:nvPr>
        </p:nvSpPr>
        <p:spPr>
          <a:xfrm>
            <a:off x="4566285"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9">
            <a:extLst>
              <a:ext uri="{FF2B5EF4-FFF2-40B4-BE49-F238E27FC236}">
                <a16:creationId xmlns:a16="http://schemas.microsoft.com/office/drawing/2014/main" id="{5870A569-9AC6-E02F-AF2A-75194B98A477}"/>
              </a:ext>
            </a:extLst>
          </p:cNvPr>
          <p:cNvSpPr>
            <a:spLocks noGrp="1"/>
          </p:cNvSpPr>
          <p:nvPr>
            <p:ph sz="quarter" idx="20"/>
          </p:nvPr>
        </p:nvSpPr>
        <p:spPr>
          <a:xfrm>
            <a:off x="4566285"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Rounded Corners 16">
            <a:extLst>
              <a:ext uri="{FF2B5EF4-FFF2-40B4-BE49-F238E27FC236}">
                <a16:creationId xmlns:a16="http://schemas.microsoft.com/office/drawing/2014/main" id="{A61ABB56-C7EE-A8CD-C650-27C337665104}"/>
              </a:ext>
            </a:extLst>
          </p:cNvPr>
          <p:cNvSpPr/>
          <p:nvPr userDrawn="1"/>
        </p:nvSpPr>
        <p:spPr>
          <a:xfrm>
            <a:off x="803592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Content Placeholder 9">
            <a:extLst>
              <a:ext uri="{FF2B5EF4-FFF2-40B4-BE49-F238E27FC236}">
                <a16:creationId xmlns:a16="http://schemas.microsoft.com/office/drawing/2014/main" id="{74BD3DEB-0F5A-21AC-2073-684743277D6F}"/>
              </a:ext>
            </a:extLst>
          </p:cNvPr>
          <p:cNvSpPr>
            <a:spLocks noGrp="1"/>
          </p:cNvSpPr>
          <p:nvPr>
            <p:ph sz="quarter" idx="21"/>
          </p:nvPr>
        </p:nvSpPr>
        <p:spPr>
          <a:xfrm>
            <a:off x="830961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9">
            <a:extLst>
              <a:ext uri="{FF2B5EF4-FFF2-40B4-BE49-F238E27FC236}">
                <a16:creationId xmlns:a16="http://schemas.microsoft.com/office/drawing/2014/main" id="{E4C0661F-DF3B-0C61-5CBE-9185A9690B3E}"/>
              </a:ext>
            </a:extLst>
          </p:cNvPr>
          <p:cNvSpPr>
            <a:spLocks noGrp="1"/>
          </p:cNvSpPr>
          <p:nvPr>
            <p:ph sz="quarter" idx="22"/>
          </p:nvPr>
        </p:nvSpPr>
        <p:spPr>
          <a:xfrm>
            <a:off x="830961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066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6900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 Texture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664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66980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8355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pendix Blue Bkg">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3152001"/>
            <a:ext cx="5367338" cy="553998"/>
          </a:xfrm>
        </p:spPr>
        <p:txBody>
          <a:bodyPr anchor="b"/>
          <a:lstStyle>
            <a:lvl1pPr marL="0" indent="0">
              <a:buNone/>
              <a:defRPr sz="3600">
                <a:gradFill>
                  <a:gsLst>
                    <a:gs pos="0">
                      <a:schemeClr val="bg2"/>
                    </a:gs>
                    <a:gs pos="100000">
                      <a:schemeClr val="accent3"/>
                    </a:gs>
                  </a:gsLst>
                  <a:lin ang="2400000" scaled="0"/>
                </a:gradFill>
                <a:latin typeface="+mj-lt"/>
              </a:defRPr>
            </a:lvl1pPr>
          </a:lstStyle>
          <a:p>
            <a:pPr lvl="0"/>
            <a:r>
              <a:rPr lang="en-US"/>
              <a:t>Appendix</a:t>
            </a:r>
          </a:p>
        </p:txBody>
      </p:sp>
    </p:spTree>
    <p:extLst>
      <p:ext uri="{BB962C8B-B14F-4D97-AF65-F5344CB8AC3E}">
        <p14:creationId xmlns:p14="http://schemas.microsoft.com/office/powerpoint/2010/main" val="31606951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B75252BC-2A15-9D3D-49E1-459E5722BA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7366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8B5C33E8-E107-AC85-0D68-58D82E07DFB8}"/>
              </a:ext>
            </a:extLst>
          </p:cNvPr>
          <p:cNvSpPr>
            <a:spLocks noGrp="1"/>
          </p:cNvSpPr>
          <p:nvPr>
            <p:ph type="body" sz="quarter" idx="11"/>
          </p:nvPr>
        </p:nvSpPr>
        <p:spPr>
          <a:xfrm>
            <a:off x="585788" y="959260"/>
            <a:ext cx="1101725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9173444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Two Column Bullet text">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B1129D1-6431-564C-8572-607F580F1A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15" name="Rectangle 14">
            <a:extLst>
              <a:ext uri="{FF2B5EF4-FFF2-40B4-BE49-F238E27FC236}">
                <a16:creationId xmlns:a16="http://schemas.microsoft.com/office/drawing/2014/main" id="{7870CCD2-DC01-EA68-D65D-9ACFB35746D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2827164"/>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1967147"/>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254832"/>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2542516"/>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013312"/>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295101"/>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F67BF692-BD25-2DD9-A18C-7088370A79EA}"/>
              </a:ext>
            </a:extLst>
          </p:cNvPr>
          <p:cNvCxnSpPr/>
          <p:nvPr userDrawn="1"/>
        </p:nvCxnSpPr>
        <p:spPr>
          <a:xfrm>
            <a:off x="584200" y="5386333"/>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 name="Title 1">
            <a:extLst>
              <a:ext uri="{FF2B5EF4-FFF2-40B4-BE49-F238E27FC236}">
                <a16:creationId xmlns:a16="http://schemas.microsoft.com/office/drawing/2014/main" id="{82E2A7C5-0FD6-27A3-1FF9-2232EA69696B}"/>
              </a:ext>
            </a:extLst>
          </p:cNvPr>
          <p:cNvSpPr>
            <a:spLocks noGrp="1"/>
          </p:cNvSpPr>
          <p:nvPr>
            <p:ph type="title"/>
          </p:nvPr>
        </p:nvSpPr>
        <p:spPr>
          <a:xfrm>
            <a:off x="584200" y="585791"/>
            <a:ext cx="3307679" cy="845608"/>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7004800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wo Column Bullet text">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53264684-E94D-2ADC-5BC8-30E2407CD8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50725" y="0"/>
            <a:ext cx="7941275" cy="6858000"/>
          </a:xfrm>
          <a:prstGeom prst="rect">
            <a:avLst/>
          </a:prstGeom>
        </p:spPr>
      </p:pic>
      <p:sp>
        <p:nvSpPr>
          <p:cNvPr id="6" name="Rectangle 5">
            <a:extLst>
              <a:ext uri="{FF2B5EF4-FFF2-40B4-BE49-F238E27FC236}">
                <a16:creationId xmlns:a16="http://schemas.microsoft.com/office/drawing/2014/main" id="{61E2496E-EAAA-5AF0-0616-C740A793A618}"/>
              </a:ext>
            </a:extLst>
          </p:cNvPr>
          <p:cNvSpPr/>
          <p:nvPr userDrawn="1"/>
        </p:nvSpPr>
        <p:spPr bwMode="auto">
          <a:xfrm>
            <a:off x="4250725" y="0"/>
            <a:ext cx="7941275"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p:cNvSpPr>
            <a:spLocks noGrp="1"/>
          </p:cNvSpPr>
          <p:nvPr>
            <p:ph type="body" sz="quarter" idx="10"/>
          </p:nvPr>
        </p:nvSpPr>
        <p:spPr>
          <a:xfrm>
            <a:off x="584199" y="3429000"/>
            <a:ext cx="3172989" cy="184666"/>
          </a:xfrm>
        </p:spPr>
        <p:txBody>
          <a:bodyPr wrap="square">
            <a:spAutoFit/>
          </a:bodyPr>
          <a:lstStyle>
            <a:lvl1pPr marL="0" indent="0">
              <a:lnSpc>
                <a:spcPct val="100000"/>
              </a:lnSpc>
              <a:spcBef>
                <a:spcPts val="600"/>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7" name="TextBox 6">
            <a:extLst>
              <a:ext uri="{FF2B5EF4-FFF2-40B4-BE49-F238E27FC236}">
                <a16:creationId xmlns:a16="http://schemas.microsoft.com/office/drawing/2014/main" id="{9ED63FA2-4790-49C1-9B78-C6EC890A16DD}"/>
              </a:ext>
            </a:extLst>
          </p:cNvPr>
          <p:cNvSpPr txBox="1"/>
          <p:nvPr userDrawn="1"/>
        </p:nvSpPr>
        <p:spPr>
          <a:xfrm>
            <a:off x="585231" y="5455510"/>
            <a:ext cx="1560877" cy="276999"/>
          </a:xfrm>
          <a:prstGeom prst="rect">
            <a:avLst/>
          </a:prstGeom>
          <a:noFill/>
        </p:spPr>
        <p:txBody>
          <a:bodyPr wrap="square" lIns="0">
            <a:spAutoFit/>
          </a:bodyPr>
          <a:lstStyle/>
          <a:p>
            <a:r>
              <a:rPr lang="en-GB" sz="1200" b="0">
                <a:solidFill>
                  <a:schemeClr val="accent3"/>
                </a:solidFill>
                <a:latin typeface="+mj-lt"/>
              </a:rPr>
              <a:t>Customer resources</a:t>
            </a:r>
          </a:p>
        </p:txBody>
      </p:sp>
      <p:sp>
        <p:nvSpPr>
          <p:cNvPr id="8" name="TextBox 7">
            <a:extLst>
              <a:ext uri="{FF2B5EF4-FFF2-40B4-BE49-F238E27FC236}">
                <a16:creationId xmlns:a16="http://schemas.microsoft.com/office/drawing/2014/main" id="{E2B81701-DDCA-43B6-9C68-636E43E7EBF6}"/>
              </a:ext>
            </a:extLst>
          </p:cNvPr>
          <p:cNvSpPr txBox="1"/>
          <p:nvPr userDrawn="1"/>
        </p:nvSpPr>
        <p:spPr>
          <a:xfrm>
            <a:off x="2331002" y="5455510"/>
            <a:ext cx="1560877" cy="276999"/>
          </a:xfrm>
          <a:prstGeom prst="rect">
            <a:avLst/>
          </a:prstGeom>
          <a:noFill/>
        </p:spPr>
        <p:txBody>
          <a:bodyPr wrap="square" lIns="0">
            <a:spAutoFit/>
          </a:bodyPr>
          <a:lstStyle/>
          <a:p>
            <a:r>
              <a:rPr lang="en-GB" sz="1200" b="0">
                <a:solidFill>
                  <a:schemeClr val="accent3"/>
                </a:solidFill>
                <a:latin typeface="+mj-lt"/>
              </a:rPr>
              <a:t>Microsoft resources</a:t>
            </a:r>
          </a:p>
        </p:txBody>
      </p:sp>
      <p:sp>
        <p:nvSpPr>
          <p:cNvPr id="10" name="Text Placeholder 9">
            <a:extLst>
              <a:ext uri="{FF2B5EF4-FFF2-40B4-BE49-F238E27FC236}">
                <a16:creationId xmlns:a16="http://schemas.microsoft.com/office/drawing/2014/main" id="{C996942E-E982-4695-91C8-296676E06061}"/>
              </a:ext>
            </a:extLst>
          </p:cNvPr>
          <p:cNvSpPr>
            <a:spLocks noGrp="1"/>
          </p:cNvSpPr>
          <p:nvPr>
            <p:ph type="body" sz="quarter" idx="13"/>
          </p:nvPr>
        </p:nvSpPr>
        <p:spPr>
          <a:xfrm>
            <a:off x="584200"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3" name="Text Placeholder 9">
            <a:extLst>
              <a:ext uri="{FF2B5EF4-FFF2-40B4-BE49-F238E27FC236}">
                <a16:creationId xmlns:a16="http://schemas.microsoft.com/office/drawing/2014/main" id="{D2F6B756-204A-4346-90B3-21CCEA788C54}"/>
              </a:ext>
            </a:extLst>
          </p:cNvPr>
          <p:cNvSpPr>
            <a:spLocks noGrp="1"/>
          </p:cNvSpPr>
          <p:nvPr>
            <p:ph type="body" sz="quarter" idx="14"/>
          </p:nvPr>
        </p:nvSpPr>
        <p:spPr>
          <a:xfrm>
            <a:off x="2331002" y="5725731"/>
            <a:ext cx="1499917" cy="332399"/>
          </a:xfrm>
        </p:spPr>
        <p:txBody>
          <a:bodyPr/>
          <a:lstStyle>
            <a:lvl1pPr marL="0" indent="0">
              <a:lnSpc>
                <a:spcPct val="100000"/>
              </a:lnSpc>
              <a:spcBef>
                <a:spcPts val="0"/>
              </a:spcBef>
              <a:buNone/>
              <a:defRPr sz="1200">
                <a:solidFill>
                  <a:schemeClr val="tx1"/>
                </a:solidFill>
              </a:defRPr>
            </a:lvl1pPr>
            <a:lvl2pPr marL="228600" indent="0">
              <a:lnSpc>
                <a:spcPct val="90000"/>
              </a:lnSpc>
              <a:spcBef>
                <a:spcPts val="600"/>
              </a:spcBef>
              <a:buNone/>
              <a:defRPr sz="1400">
                <a:solidFill>
                  <a:schemeClr val="bg1"/>
                </a:solidFill>
              </a:defRPr>
            </a:lvl2pPr>
            <a:lvl3pPr marL="457200" indent="0">
              <a:lnSpc>
                <a:spcPct val="90000"/>
              </a:lnSpc>
              <a:spcBef>
                <a:spcPts val="600"/>
              </a:spcBef>
              <a:buNone/>
              <a:defRPr sz="1400">
                <a:solidFill>
                  <a:schemeClr val="bg1"/>
                </a:solidFill>
              </a:defRPr>
            </a:lvl3pPr>
            <a:lvl4pPr marL="661988" indent="0">
              <a:lnSpc>
                <a:spcPct val="90000"/>
              </a:lnSpc>
              <a:spcBef>
                <a:spcPts val="600"/>
              </a:spcBef>
              <a:buNone/>
              <a:defRPr sz="1400">
                <a:solidFill>
                  <a:schemeClr val="bg1"/>
                </a:solidFill>
              </a:defRPr>
            </a:lvl4pPr>
            <a:lvl5pPr marL="855663" indent="0">
              <a:lnSpc>
                <a:spcPct val="90000"/>
              </a:lnSpc>
              <a:spcBef>
                <a:spcPts val="600"/>
              </a:spcBef>
              <a:buNone/>
              <a:defRPr sz="1400">
                <a:solidFill>
                  <a:schemeClr val="bg1"/>
                </a:solidFill>
              </a:defRPr>
            </a:lvl5pPr>
          </a:lstStyle>
          <a:p>
            <a:pPr lvl="0"/>
            <a:r>
              <a:rPr lang="en-US"/>
              <a:t>Click to edit Master text styles</a:t>
            </a:r>
          </a:p>
        </p:txBody>
      </p:sp>
      <p:sp>
        <p:nvSpPr>
          <p:cNvPr id="14" name="TextBox 13">
            <a:extLst>
              <a:ext uri="{FF2B5EF4-FFF2-40B4-BE49-F238E27FC236}">
                <a16:creationId xmlns:a16="http://schemas.microsoft.com/office/drawing/2014/main" id="{21DD2AD0-CCED-48C0-9FE6-DBA1904206B6}"/>
              </a:ext>
            </a:extLst>
          </p:cNvPr>
          <p:cNvSpPr txBox="1"/>
          <p:nvPr userDrawn="1"/>
        </p:nvSpPr>
        <p:spPr>
          <a:xfrm>
            <a:off x="585231" y="2568983"/>
            <a:ext cx="1560877" cy="276999"/>
          </a:xfrm>
          <a:prstGeom prst="rect">
            <a:avLst/>
          </a:prstGeom>
          <a:noFill/>
        </p:spPr>
        <p:txBody>
          <a:bodyPr wrap="square" lIns="0">
            <a:spAutoFit/>
          </a:bodyPr>
          <a:lstStyle/>
          <a:p>
            <a:r>
              <a:rPr lang="en-GB" sz="1200" b="0">
                <a:solidFill>
                  <a:schemeClr val="accent3"/>
                </a:solidFill>
                <a:latin typeface="+mj-lt"/>
              </a:rPr>
              <a:t>Preparation:</a:t>
            </a:r>
          </a:p>
        </p:txBody>
      </p:sp>
      <p:sp>
        <p:nvSpPr>
          <p:cNvPr id="18" name="TextBox 17">
            <a:extLst>
              <a:ext uri="{FF2B5EF4-FFF2-40B4-BE49-F238E27FC236}">
                <a16:creationId xmlns:a16="http://schemas.microsoft.com/office/drawing/2014/main" id="{ACA30D9B-ACBA-402A-944D-6980A078F33B}"/>
              </a:ext>
            </a:extLst>
          </p:cNvPr>
          <p:cNvSpPr txBox="1"/>
          <p:nvPr userDrawn="1"/>
        </p:nvSpPr>
        <p:spPr>
          <a:xfrm>
            <a:off x="585231" y="2856668"/>
            <a:ext cx="1560877" cy="276999"/>
          </a:xfrm>
          <a:prstGeom prst="rect">
            <a:avLst/>
          </a:prstGeom>
          <a:noFill/>
        </p:spPr>
        <p:txBody>
          <a:bodyPr wrap="square" lIns="0">
            <a:spAutoFit/>
          </a:bodyPr>
          <a:lstStyle/>
          <a:p>
            <a:r>
              <a:rPr lang="en-GB" sz="1200" b="0">
                <a:solidFill>
                  <a:schemeClr val="accent3"/>
                </a:solidFill>
                <a:latin typeface="+mj-lt"/>
              </a:rPr>
              <a:t>Delivery:</a:t>
            </a:r>
          </a:p>
        </p:txBody>
      </p:sp>
      <p:sp>
        <p:nvSpPr>
          <p:cNvPr id="19" name="TextBox 18">
            <a:extLst>
              <a:ext uri="{FF2B5EF4-FFF2-40B4-BE49-F238E27FC236}">
                <a16:creationId xmlns:a16="http://schemas.microsoft.com/office/drawing/2014/main" id="{F9F2C5F3-81CD-42CD-BCFD-7A3AA6404FD1}"/>
              </a:ext>
            </a:extLst>
          </p:cNvPr>
          <p:cNvSpPr txBox="1"/>
          <p:nvPr userDrawn="1"/>
        </p:nvSpPr>
        <p:spPr>
          <a:xfrm>
            <a:off x="585231" y="3144352"/>
            <a:ext cx="1560877" cy="276999"/>
          </a:xfrm>
          <a:prstGeom prst="rect">
            <a:avLst/>
          </a:prstGeom>
          <a:noFill/>
        </p:spPr>
        <p:txBody>
          <a:bodyPr wrap="square" lIns="0">
            <a:spAutoFit/>
          </a:bodyPr>
          <a:lstStyle/>
          <a:p>
            <a:r>
              <a:rPr lang="en-GB" sz="1200" b="0">
                <a:solidFill>
                  <a:schemeClr val="accent3"/>
                </a:solidFill>
                <a:latin typeface="+mj-lt"/>
              </a:rPr>
              <a:t>Summary:</a:t>
            </a:r>
          </a:p>
        </p:txBody>
      </p:sp>
      <p:sp>
        <p:nvSpPr>
          <p:cNvPr id="23" name="Text Placeholder 3">
            <a:extLst>
              <a:ext uri="{FF2B5EF4-FFF2-40B4-BE49-F238E27FC236}">
                <a16:creationId xmlns:a16="http://schemas.microsoft.com/office/drawing/2014/main" id="{D616DB0C-0C38-4410-9916-301FB5186663}"/>
              </a:ext>
            </a:extLst>
          </p:cNvPr>
          <p:cNvSpPr>
            <a:spLocks noGrp="1"/>
          </p:cNvSpPr>
          <p:nvPr>
            <p:ph type="body" sz="quarter" idx="15"/>
          </p:nvPr>
        </p:nvSpPr>
        <p:spPr>
          <a:xfrm>
            <a:off x="1555768" y="2615148"/>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0A0455A-2312-4C93-BF92-338DE4C1D7A1}"/>
              </a:ext>
            </a:extLst>
          </p:cNvPr>
          <p:cNvSpPr>
            <a:spLocks noGrp="1"/>
          </p:cNvSpPr>
          <p:nvPr>
            <p:ph type="body" sz="quarter" idx="16"/>
          </p:nvPr>
        </p:nvSpPr>
        <p:spPr>
          <a:xfrm>
            <a:off x="1555768" y="2896937"/>
            <a:ext cx="2275152" cy="184666"/>
          </a:xfrm>
        </p:spPr>
        <p:txBody>
          <a:bodyPr wrap="square">
            <a:spAutoFit/>
          </a:bodyPr>
          <a:lstStyle>
            <a:lvl1pPr marL="231775" indent="-231775">
              <a:lnSpc>
                <a:spcPct val="100000"/>
              </a:lnSpc>
              <a:spcBef>
                <a:spcPts val="1224"/>
              </a:spcBef>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8" name="Text Placeholder 3">
            <a:extLst>
              <a:ext uri="{FF2B5EF4-FFF2-40B4-BE49-F238E27FC236}">
                <a16:creationId xmlns:a16="http://schemas.microsoft.com/office/drawing/2014/main" id="{C472BC81-0EF6-4309-A0E8-0C87F6786422}"/>
              </a:ext>
            </a:extLst>
          </p:cNvPr>
          <p:cNvSpPr>
            <a:spLocks noGrp="1"/>
          </p:cNvSpPr>
          <p:nvPr>
            <p:ph type="body" sz="quarter" idx="17"/>
          </p:nvPr>
        </p:nvSpPr>
        <p:spPr>
          <a:xfrm>
            <a:off x="4709426" y="713868"/>
            <a:ext cx="652270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29" name="Text Placeholder 3">
            <a:extLst>
              <a:ext uri="{FF2B5EF4-FFF2-40B4-BE49-F238E27FC236}">
                <a16:creationId xmlns:a16="http://schemas.microsoft.com/office/drawing/2014/main" id="{568FF79F-E395-4ECE-97A4-BEF4293755C2}"/>
              </a:ext>
            </a:extLst>
          </p:cNvPr>
          <p:cNvSpPr>
            <a:spLocks noGrp="1"/>
          </p:cNvSpPr>
          <p:nvPr>
            <p:ph type="body" sz="quarter" idx="18"/>
          </p:nvPr>
        </p:nvSpPr>
        <p:spPr>
          <a:xfrm>
            <a:off x="4709426" y="3285893"/>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0" name="Text Placeholder 3">
            <a:extLst>
              <a:ext uri="{FF2B5EF4-FFF2-40B4-BE49-F238E27FC236}">
                <a16:creationId xmlns:a16="http://schemas.microsoft.com/office/drawing/2014/main" id="{781E55C7-03B8-452B-9281-A2B837B5A86A}"/>
              </a:ext>
            </a:extLst>
          </p:cNvPr>
          <p:cNvSpPr>
            <a:spLocks noGrp="1"/>
          </p:cNvSpPr>
          <p:nvPr>
            <p:ph type="body" sz="quarter" idx="19"/>
          </p:nvPr>
        </p:nvSpPr>
        <p:spPr>
          <a:xfrm>
            <a:off x="4709426" y="5513892"/>
            <a:ext cx="6908789" cy="184666"/>
          </a:xfrm>
        </p:spPr>
        <p:txBody>
          <a:bodyPr wrap="square">
            <a:spAutoFit/>
          </a:bodyPr>
          <a:lstStyle>
            <a:lvl1pPr marL="0" indent="0">
              <a:lnSpc>
                <a:spcPct val="100000"/>
              </a:lnSpc>
              <a:spcBef>
                <a:spcPts val="0"/>
              </a:spcBef>
              <a:spcAft>
                <a:spcPts val="300"/>
              </a:spcAft>
              <a:buClr>
                <a:schemeClr val="tx1"/>
              </a:buClr>
              <a:buFont typeface="Wingdings" panose="05000000000000000000" pitchFamily="2" charset="2"/>
              <a:buNone/>
              <a:defRPr sz="1200" b="0">
                <a:solidFill>
                  <a:schemeClr val="tx1"/>
                </a:solidFill>
                <a:latin typeface="+mn-lt"/>
                <a:cs typeface="Segoe Pro" panose="020B0604020202020204" pitchFamily="34" charset="0"/>
              </a:defRPr>
            </a:lvl1pPr>
            <a:lvl2pPr marL="427038" indent="-171450">
              <a:buFont typeface="Wingdings" panose="05000000000000000000" pitchFamily="2" charset="2"/>
              <a:buNone/>
              <a:defRPr sz="1400" b="0">
                <a:solidFill>
                  <a:schemeClr val="bg1"/>
                </a:solidFill>
              </a:defRPr>
            </a:lvl2pPr>
            <a:lvl3pPr marL="639763" indent="-188913">
              <a:buFont typeface="Wingdings" panose="05000000000000000000" pitchFamily="2" charset="2"/>
              <a:buNone/>
              <a:tabLst/>
              <a:defRPr sz="1400" b="0">
                <a:solidFill>
                  <a:schemeClr val="bg1"/>
                </a:solidFill>
              </a:defRPr>
            </a:lvl3pPr>
            <a:lvl4pPr marL="828675" indent="-176213">
              <a:buFont typeface="Wingdings" panose="05000000000000000000" pitchFamily="2" charset="2"/>
              <a:buNone/>
              <a:defRPr sz="1400" b="0">
                <a:solidFill>
                  <a:schemeClr val="bg1"/>
                </a:solidFill>
              </a:defRPr>
            </a:lvl4pPr>
            <a:lvl5pPr marL="1023938" indent="-169863">
              <a:buFont typeface="Wingdings" panose="05000000000000000000" pitchFamily="2" charset="2"/>
              <a:buNone/>
              <a:tabLst/>
              <a:defRPr sz="1400" b="0">
                <a:solidFill>
                  <a:schemeClr val="bg1"/>
                </a:solidFill>
              </a:defRPr>
            </a:lvl5pPr>
          </a:lstStyle>
          <a:p>
            <a:pPr lvl="0"/>
            <a:r>
              <a:rPr lang="en-US"/>
              <a:t>Click to edit Master text styles</a:t>
            </a:r>
          </a:p>
        </p:txBody>
      </p:sp>
      <p:sp>
        <p:nvSpPr>
          <p:cNvPr id="32" name="Diagonal Stripe 10">
            <a:extLst>
              <a:ext uri="{FF2B5EF4-FFF2-40B4-BE49-F238E27FC236}">
                <a16:creationId xmlns:a16="http://schemas.microsoft.com/office/drawing/2014/main" id="{E00E7889-4B8A-46BC-8C6E-BC7F3A2CE0DE}"/>
              </a:ext>
            </a:extLst>
          </p:cNvPr>
          <p:cNvSpPr/>
          <p:nvPr/>
        </p:nvSpPr>
        <p:spPr bwMode="auto">
          <a:xfrm rot="5400000">
            <a:off x="10893594" y="-79215"/>
            <a:ext cx="1219186" cy="1377615"/>
          </a:xfrm>
          <a:prstGeom prst="diagStripe">
            <a:avLst/>
          </a:prstGeom>
          <a:solidFill>
            <a:schemeClr val="bg1"/>
          </a:solidFill>
          <a:ln w="10795" cap="flat" cmpd="sng" algn="ctr">
            <a:noFill/>
            <a:prstDash val="solid"/>
          </a:ln>
          <a:effectLst>
            <a:outerShdw blurRad="152400" sx="101000" sy="101000" algn="tl" rotWithShape="0">
              <a:prstClr val="black">
                <a:alpha val="29000"/>
              </a:prstClr>
            </a:outerShdw>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de-AT" sz="2000">
              <a:solidFill>
                <a:schemeClr val="accent1"/>
              </a:solidFill>
              <a:cs typeface="Segoe UI" pitchFamily="34" charset="0"/>
            </a:endParaRPr>
          </a:p>
        </p:txBody>
      </p:sp>
      <p:sp>
        <p:nvSpPr>
          <p:cNvPr id="33" name="TextBox 11">
            <a:extLst>
              <a:ext uri="{FF2B5EF4-FFF2-40B4-BE49-F238E27FC236}">
                <a16:creationId xmlns:a16="http://schemas.microsoft.com/office/drawing/2014/main" id="{2283F741-B0D6-4F96-8028-D69088C5FFAE}"/>
              </a:ext>
            </a:extLst>
          </p:cNvPr>
          <p:cNvSpPr txBox="1"/>
          <p:nvPr userDrawn="1"/>
        </p:nvSpPr>
        <p:spPr>
          <a:xfrm rot="2474928">
            <a:off x="11125817" y="344277"/>
            <a:ext cx="1097095" cy="246221"/>
          </a:xfrm>
          <a:prstGeom prst="rect">
            <a:avLst/>
          </a:prstGeom>
          <a:noFill/>
        </p:spPr>
        <p:txBody>
          <a:bodyPr wrap="none" lIns="0" tIns="0" rIns="0" bIns="0" rtlCol="0">
            <a:spAutoFit/>
          </a:bodyPr>
          <a:lstStyle/>
          <a:p>
            <a:pPr defTabSz="932509">
              <a:defRPr/>
            </a:pPr>
            <a:r>
              <a:rPr lang="en-US" sz="1600" spc="-71">
                <a:solidFill>
                  <a:schemeClr val="accent1"/>
                </a:solidFill>
                <a:latin typeface="+mj-lt"/>
              </a:rPr>
              <a:t>Core module</a:t>
            </a:r>
            <a:endParaRPr lang="de-AT" sz="2000" spc="-71">
              <a:solidFill>
                <a:schemeClr val="accent1"/>
              </a:solidFill>
              <a:latin typeface="+mj-lt"/>
            </a:endParaRPr>
          </a:p>
        </p:txBody>
      </p:sp>
      <p:cxnSp>
        <p:nvCxnSpPr>
          <p:cNvPr id="3" name="Straight Connector 2">
            <a:extLst>
              <a:ext uri="{FF2B5EF4-FFF2-40B4-BE49-F238E27FC236}">
                <a16:creationId xmlns:a16="http://schemas.microsoft.com/office/drawing/2014/main" id="{7855DF87-88F5-EAFB-CACB-7D167D1C8B45}"/>
              </a:ext>
            </a:extLst>
          </p:cNvPr>
          <p:cNvCxnSpPr/>
          <p:nvPr userDrawn="1"/>
        </p:nvCxnSpPr>
        <p:spPr>
          <a:xfrm>
            <a:off x="584200" y="5393828"/>
            <a:ext cx="3291840" cy="0"/>
          </a:xfrm>
          <a:prstGeom prst="line">
            <a:avLst/>
          </a:prstGeom>
          <a:noFill/>
          <a:ln>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1" name="Title 1">
            <a:extLst>
              <a:ext uri="{FF2B5EF4-FFF2-40B4-BE49-F238E27FC236}">
                <a16:creationId xmlns:a16="http://schemas.microsoft.com/office/drawing/2014/main" id="{D4E23952-CC05-53B7-6AE1-B541D8D062E3}"/>
              </a:ext>
            </a:extLst>
          </p:cNvPr>
          <p:cNvSpPr>
            <a:spLocks noGrp="1"/>
          </p:cNvSpPr>
          <p:nvPr>
            <p:ph type="title"/>
          </p:nvPr>
        </p:nvSpPr>
        <p:spPr>
          <a:xfrm>
            <a:off x="584200" y="585216"/>
            <a:ext cx="3307679" cy="861773"/>
          </a:xfrm>
        </p:spPr>
        <p:txBody>
          <a:bodyPr anchor="t" anchorCtr="0"/>
          <a:lst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399359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11025188" cy="498598"/>
          </a:xfrm>
          <a:noFill/>
        </p:spPr>
        <p:txBody>
          <a:bodyPr vert="horz" wrap="square" lIns="0" tIns="0" rIns="0" bIns="0" rtlCol="0" anchor="b" anchorCtr="0">
            <a:spAutoFit/>
          </a:bodyPr>
          <a:lstStyle>
            <a:lvl1pPr>
              <a:defRPr lang="en-US" sz="3600" b="0" cap="none" spc="-50" dirty="0">
                <a:ln w="3175">
                  <a:noFill/>
                </a:ln>
                <a:gradFill>
                  <a:gsLst>
                    <a:gs pos="22000">
                      <a:schemeClr val="accent2"/>
                    </a:gs>
                    <a:gs pos="100000">
                      <a:schemeClr val="accent3"/>
                    </a:gs>
                  </a:gsLst>
                  <a:lin ang="2400000" scaled="0"/>
                </a:gradFill>
                <a:effectLst/>
                <a:latin typeface="+mj-lt"/>
              </a:defRPr>
            </a:lvl1pPr>
          </a:lstStyle>
          <a:p>
            <a:pPr lvl="0">
              <a:lnSpc>
                <a:spcPct val="90000"/>
              </a:lnSpc>
              <a:spcBef>
                <a:spcPct val="0"/>
              </a:spcBef>
              <a:buNone/>
            </a:pPr>
            <a:r>
              <a:rPr lang="en-US"/>
              <a:t>Click to edit Master text styles</a:t>
            </a:r>
          </a:p>
        </p:txBody>
      </p:sp>
    </p:spTree>
    <p:extLst>
      <p:ext uri="{BB962C8B-B14F-4D97-AF65-F5344CB8AC3E}">
        <p14:creationId xmlns:p14="http://schemas.microsoft.com/office/powerpoint/2010/main" val="41838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4514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844368"/>
            <a:ext cx="12379568" cy="3302698"/>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5">
            <a:extLst>
              <a:ext uri="{FF2B5EF4-FFF2-40B4-BE49-F238E27FC236}">
                <a16:creationId xmlns:a16="http://schemas.microsoft.com/office/drawing/2014/main" id="{0CE6E8CE-8F11-3F60-9DA8-1FD661975170}"/>
              </a:ext>
            </a:extLst>
          </p:cNvPr>
          <p:cNvSpPr>
            <a:spLocks noGrp="1"/>
          </p:cNvSpPr>
          <p:nvPr>
            <p:ph type="body" sz="quarter" idx="10"/>
          </p:nvPr>
        </p:nvSpPr>
        <p:spPr>
          <a:xfrm>
            <a:off x="594949" y="3033223"/>
            <a:ext cx="11025188" cy="498598"/>
          </a:xfrm>
          <a:noFill/>
        </p:spPr>
        <p:txBody>
          <a:bodyPr vert="horz" wrap="square" lIns="0" tIns="0" rIns="0" bIns="0" rtlCol="0" anchor="b" anchorCtr="0">
            <a:spAutoFit/>
          </a:bodyPr>
          <a:lstStyle>
            <a:lvl1pPr>
              <a:defRPr lang="en-US" sz="3600" b="0" cap="none" spc="-50" dirty="0">
                <a:ln w="3175">
                  <a:noFill/>
                </a:ln>
                <a:gradFill>
                  <a:gsLst>
                    <a:gs pos="22000">
                      <a:schemeClr val="accent2"/>
                    </a:gs>
                    <a:gs pos="100000">
                      <a:schemeClr val="accent3"/>
                    </a:gs>
                  </a:gsLst>
                  <a:lin ang="2400000" scaled="0"/>
                </a:gradFill>
                <a:effectLst/>
                <a:latin typeface="+mj-lt"/>
              </a:defRPr>
            </a:lvl1pPr>
          </a:lstStyle>
          <a:p>
            <a:pPr lvl="0">
              <a:lnSpc>
                <a:spcPct val="90000"/>
              </a:lnSpc>
              <a:spcBef>
                <a:spcPct val="0"/>
              </a:spcBef>
              <a:buNone/>
            </a:pPr>
            <a:r>
              <a:rPr lang="en-US"/>
              <a:t>Click to edit Master text styles</a:t>
            </a:r>
          </a:p>
        </p:txBody>
      </p:sp>
    </p:spTree>
    <p:extLst>
      <p:ext uri="{BB962C8B-B14F-4D97-AF65-F5344CB8AC3E}">
        <p14:creationId xmlns:p14="http://schemas.microsoft.com/office/powerpoint/2010/main" val="3135606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 Main Hero">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572B204-BCCE-7ECF-F80E-C2E2E2E2809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179559"/>
            <a:ext cx="4412673" cy="1354217"/>
          </a:xfrm>
          <a:noFill/>
        </p:spPr>
        <p:txBody>
          <a:bodyPr wrap="square" lIns="0" tIns="0" rIns="0" bIns="0" anchor="b" anchorCtr="0">
            <a:spAutoFit/>
          </a:bodyPr>
          <a:lstStyle>
            <a:lvl1pPr>
              <a:defRPr lang="en-US" sz="4400" kern="1200" dirty="0">
                <a:solidFill>
                  <a:schemeClr val="tx1"/>
                </a:solidFill>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95370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1064D9-920A-AAC7-DE35-4B5BB13C8619}"/>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15452810"/>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0CED5C-09CE-086B-058F-E86642850C00}"/>
              </a:ext>
              <a:ext uri="{C183D7F6-B498-43B3-948B-1728B52AA6E4}">
                <adec:decorative xmlns:adec="http://schemas.microsoft.com/office/drawing/2017/decorative" val="1"/>
              </a:ext>
            </a:extLst>
          </p:cNvPr>
          <p:cNvPicPr>
            <a:picLocks noChangeAspect="1"/>
          </p:cNvPicPr>
          <p:nvPr userDrawn="1"/>
        </p:nvPicPr>
        <p:blipFill rotWithShape="1">
          <a:blip r:embed="rId2"/>
          <a:srcRect l="10595" t="987" r="1059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7EADC449-E006-2BF9-CAC5-11C2B170B2D9}"/>
              </a:ext>
              <a:ext uri="{C183D7F6-B498-43B3-948B-1728B52AA6E4}">
                <adec:decorative xmlns:adec="http://schemas.microsoft.com/office/drawing/2017/decorative" val="1"/>
              </a:ext>
            </a:extLst>
          </p:cNvPr>
          <p:cNvSpPr/>
          <p:nvPr userDrawn="1"/>
        </p:nvSpPr>
        <p:spPr bwMode="auto">
          <a:xfrm rot="5400000">
            <a:off x="4897820" y="-4897821"/>
            <a:ext cx="2396359" cy="12192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 name="Title 1">
            <a:extLst>
              <a:ext uri="{FF2B5EF4-FFF2-40B4-BE49-F238E27FC236}">
                <a16:creationId xmlns:a16="http://schemas.microsoft.com/office/drawing/2014/main" id="{4242D82A-9DB1-584C-2E16-3D8B4469A143}"/>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5" name="Content Placeholder 3">
            <a:extLst>
              <a:ext uri="{FF2B5EF4-FFF2-40B4-BE49-F238E27FC236}">
                <a16:creationId xmlns:a16="http://schemas.microsoft.com/office/drawing/2014/main" id="{E6965A68-D388-7DD3-A305-B934A332BC28}"/>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5310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C6509B-1FCD-4661-D324-0322BAD4A3C0}"/>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93597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078AE-0BC3-48F9-87EC-2DB0CCE7E2AE}"/>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92A20DF-0829-4336-B59F-FF9D7AA9D8B6}"/>
              </a:ext>
            </a:extLst>
          </p:cNvPr>
          <p:cNvSpPr>
            <a:spLocks noGrp="1"/>
          </p:cNvSpPr>
          <p:nvPr>
            <p:ph sz="half" idx="1"/>
          </p:nvPr>
        </p:nvSpPr>
        <p:spPr>
          <a:xfrm>
            <a:off x="1115568"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935D01C-CF67-4DF6-B96C-FFC9D5BF847B}"/>
              </a:ext>
            </a:extLst>
          </p:cNvPr>
          <p:cNvSpPr>
            <a:spLocks noGrp="1"/>
          </p:cNvSpPr>
          <p:nvPr>
            <p:ph sz="half" idx="2"/>
          </p:nvPr>
        </p:nvSpPr>
        <p:spPr>
          <a:xfrm>
            <a:off x="6345936" y="2478024"/>
            <a:ext cx="4937760"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BBD797-6031-4F82-8726-EAB757027FF5}"/>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6/11/2025</a:t>
            </a:fld>
            <a:endParaRPr lang="en-US"/>
          </a:p>
        </p:txBody>
      </p:sp>
      <p:sp>
        <p:nvSpPr>
          <p:cNvPr id="6" name="Footer Placeholder 5">
            <a:extLst>
              <a:ext uri="{FF2B5EF4-FFF2-40B4-BE49-F238E27FC236}">
                <a16:creationId xmlns:a16="http://schemas.microsoft.com/office/drawing/2014/main" id="{76B3F71C-B897-4909-A75E-8716AD49C1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78BC14-5BB1-405F-A6F3-C07230F085C8}"/>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35514288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58CF-0758-490A-A084-C46443B9ABE8}"/>
              </a:ext>
            </a:extLst>
          </p:cNvPr>
          <p:cNvSpPr>
            <a:spLocks noGrp="1"/>
          </p:cNvSpPr>
          <p:nvPr>
            <p:ph type="title"/>
          </p:nvPr>
        </p:nvSpPr>
        <p:spPr>
          <a:xfrm>
            <a:off x="1115568" y="548640"/>
            <a:ext cx="10168128" cy="1179576"/>
          </a:xfrm>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1671183-B3CE-4F45-92FB-98290CA0E2CA}"/>
              </a:ext>
            </a:extLst>
          </p:cNvPr>
          <p:cNvSpPr>
            <a:spLocks noGrp="1"/>
          </p:cNvSpPr>
          <p:nvPr>
            <p:ph idx="1"/>
          </p:nvPr>
        </p:nvSpPr>
        <p:spPr>
          <a:xfrm>
            <a:off x="1115568" y="2478024"/>
            <a:ext cx="10168128" cy="3694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7DED67-27EC-4D43-A21C-093C1DB04813}"/>
              </a:ext>
            </a:extLst>
          </p:cNvPr>
          <p:cNvSpPr>
            <a:spLocks noGrp="1"/>
          </p:cNvSpPr>
          <p:nvPr>
            <p:ph type="dt" sz="half" idx="10"/>
          </p:nvPr>
        </p:nvSpPr>
        <p:spPr>
          <a:xfrm>
            <a:off x="1115568" y="6356350"/>
            <a:ext cx="2743200" cy="365125"/>
          </a:xfrm>
        </p:spPr>
        <p:txBody>
          <a:bodyPr/>
          <a:lstStyle/>
          <a:p>
            <a:fld id="{02AC24A9-CCB6-4F8D-B8DB-C2F3692CFA5A}" type="datetimeFigureOut">
              <a:rPr lang="en-US" smtClean="0"/>
              <a:t>6/11/2025</a:t>
            </a:fld>
            <a:endParaRPr lang="en-US"/>
          </a:p>
        </p:txBody>
      </p:sp>
      <p:sp>
        <p:nvSpPr>
          <p:cNvPr id="5" name="Footer Placeholder 4">
            <a:extLst>
              <a:ext uri="{FF2B5EF4-FFF2-40B4-BE49-F238E27FC236}">
                <a16:creationId xmlns:a16="http://schemas.microsoft.com/office/drawing/2014/main" id="{36747CE3-4890-4BC1-94DB-5D49D02C99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C5AD3-D79A-4D46-B25B-822FE0252511}"/>
              </a:ext>
            </a:extLst>
          </p:cNvPr>
          <p:cNvSpPr>
            <a:spLocks noGrp="1"/>
          </p:cNvSpPr>
          <p:nvPr>
            <p:ph type="sldNum" sz="quarter" idx="12"/>
          </p:nvPr>
        </p:nvSpPr>
        <p:spPr>
          <a:xfrm>
            <a:off x="8540496" y="6356350"/>
            <a:ext cx="2743200" cy="365125"/>
          </a:xfrm>
        </p:spPr>
        <p:txBody>
          <a:bodyPr/>
          <a:lstStyle/>
          <a:p>
            <a:fld id="{B2DC25EE-239B-4C5F-AAD1-255A7D5F1EE2}" type="slidenum">
              <a:rPr lang="en-US" smtClean="0"/>
              <a:t>‹#›</a:t>
            </a:fld>
            <a:endParaRPr lang="en-US"/>
          </a:p>
        </p:txBody>
      </p:sp>
    </p:spTree>
    <p:extLst>
      <p:ext uri="{BB962C8B-B14F-4D97-AF65-F5344CB8AC3E}">
        <p14:creationId xmlns:p14="http://schemas.microsoft.com/office/powerpoint/2010/main" val="17140647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78484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userDrawn="1"/>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81943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4047356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5F6D8AE-12E3-3B11-B34F-E2C5860AB9EB}"/>
              </a:ext>
            </a:extLst>
          </p:cNvPr>
          <p:cNvSpPr>
            <a:spLocks noGrp="1"/>
          </p:cNvSpPr>
          <p:nvPr>
            <p:ph type="title" hasCustomPrompt="1"/>
          </p:nvPr>
        </p:nvSpPr>
        <p:spPr>
          <a:xfrm>
            <a:off x="585216" y="3033223"/>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Section divider</a:t>
            </a:r>
          </a:p>
        </p:txBody>
      </p:sp>
      <p:sp>
        <p:nvSpPr>
          <p:cNvPr id="7" name="Text Placeholder 4">
            <a:extLst>
              <a:ext uri="{FF2B5EF4-FFF2-40B4-BE49-F238E27FC236}">
                <a16:creationId xmlns:a16="http://schemas.microsoft.com/office/drawing/2014/main" id="{E745F133-79AD-2D10-2A29-D251C1E6B085}"/>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 or speaker name</a:t>
            </a:r>
          </a:p>
        </p:txBody>
      </p:sp>
    </p:spTree>
    <p:extLst>
      <p:ext uri="{BB962C8B-B14F-4D97-AF65-F5344CB8AC3E}">
        <p14:creationId xmlns:p14="http://schemas.microsoft.com/office/powerpoint/2010/main" val="14288521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697730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Tree>
    <p:extLst>
      <p:ext uri="{BB962C8B-B14F-4D97-AF65-F5344CB8AC3E}">
        <p14:creationId xmlns:p14="http://schemas.microsoft.com/office/powerpoint/2010/main" val="24895475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8123F49-93E0-6565-D751-6118D59E7A6F}"/>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560363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1"/>
            <a:ext cx="12191998" cy="6857999"/>
          </a:xfrm>
          <a:prstGeom prst="rect">
            <a:avLst/>
          </a:prstGeom>
        </p:spPr>
      </p:pic>
      <p:sp>
        <p:nvSpPr>
          <p:cNvPr id="2" name="Rectangle 1">
            <a:extLst>
              <a:ext uri="{FF2B5EF4-FFF2-40B4-BE49-F238E27FC236}">
                <a16:creationId xmlns:a16="http://schemas.microsoft.com/office/drawing/2014/main" id="{D1865211-64D4-C70B-9C4D-A49F8FEDABB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94071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2" name="Rectangle 1">
            <a:extLst>
              <a:ext uri="{FF2B5EF4-FFF2-40B4-BE49-F238E27FC236}">
                <a16:creationId xmlns:a16="http://schemas.microsoft.com/office/drawing/2014/main" id="{8911239C-96A0-8D2F-7362-97B5CA6FDC5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1830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15CA8489-A6A1-F0B5-19F6-A9740E2EAD2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14590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675">
          <p15:clr>
            <a:srgbClr val="FBAE40"/>
          </p15:clr>
        </p15:guide>
        <p15:guide id="2" orient="horz" pos="397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
        <p:nvSpPr>
          <p:cNvPr id="2" name="Rectangle 1">
            <a:extLst>
              <a:ext uri="{FF2B5EF4-FFF2-40B4-BE49-F238E27FC236}">
                <a16:creationId xmlns:a16="http://schemas.microsoft.com/office/drawing/2014/main" id="{23690FFF-6441-3296-3242-C495BB3E7E72}"/>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65185465"/>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3474771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58549561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636251083"/>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132" name="Picture 131">
            <a:extLst>
              <a:ext uri="{FF2B5EF4-FFF2-40B4-BE49-F238E27FC236}">
                <a16:creationId xmlns:a16="http://schemas.microsoft.com/office/drawing/2014/main" id="{6154137B-4A79-F8ED-4C5F-1087F1779AC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133" name="Graphic 2">
            <a:extLst>
              <a:ext uri="{FF2B5EF4-FFF2-40B4-BE49-F238E27FC236}">
                <a16:creationId xmlns:a16="http://schemas.microsoft.com/office/drawing/2014/main" id="{3C212610-741A-76F3-5333-B79C74EAEEC2}"/>
              </a:ext>
            </a:extLst>
          </p:cNvPr>
          <p:cNvGrpSpPr>
            <a:grpSpLocks noChangeAspect="1"/>
          </p:cNvGrpSpPr>
          <p:nvPr userDrawn="1"/>
        </p:nvGrpSpPr>
        <p:grpSpPr>
          <a:xfrm>
            <a:off x="1601947" y="2667276"/>
            <a:ext cx="2742618" cy="1508760"/>
            <a:chOff x="4778216" y="2874073"/>
            <a:chExt cx="2635377" cy="1181290"/>
          </a:xfrm>
          <a:gradFill>
            <a:gsLst>
              <a:gs pos="0">
                <a:srgbClr val="FFFFFF"/>
              </a:gs>
              <a:gs pos="34000">
                <a:srgbClr val="FFF9EA"/>
              </a:gs>
              <a:gs pos="69000">
                <a:srgbClr val="F8E3BB"/>
              </a:gs>
            </a:gsLst>
            <a:lin ang="2700000" scaled="1"/>
          </a:gradFill>
        </p:grpSpPr>
        <p:sp>
          <p:nvSpPr>
            <p:cNvPr id="134" name="Freeform: Shape 133">
              <a:extLst>
                <a:ext uri="{FF2B5EF4-FFF2-40B4-BE49-F238E27FC236}">
                  <a16:creationId xmlns:a16="http://schemas.microsoft.com/office/drawing/2014/main" id="{E3569518-C452-E85B-D77C-6407D8F5B763}"/>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sz="562"/>
            </a:p>
          </p:txBody>
        </p:sp>
        <p:sp>
          <p:nvSpPr>
            <p:cNvPr id="135" name="Freeform: Shape 134">
              <a:extLst>
                <a:ext uri="{FF2B5EF4-FFF2-40B4-BE49-F238E27FC236}">
                  <a16:creationId xmlns:a16="http://schemas.microsoft.com/office/drawing/2014/main" id="{F53E8EF6-A7F3-B66A-A8BC-89D57E8F6CBE}"/>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sz="562"/>
            </a:p>
          </p:txBody>
        </p:sp>
        <p:sp>
          <p:nvSpPr>
            <p:cNvPr id="136" name="Freeform: Shape 135">
              <a:extLst>
                <a:ext uri="{FF2B5EF4-FFF2-40B4-BE49-F238E27FC236}">
                  <a16:creationId xmlns:a16="http://schemas.microsoft.com/office/drawing/2014/main" id="{D0AD0FEA-5EFB-9EC0-B4B8-67798738C25E}"/>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sz="562"/>
            </a:p>
          </p:txBody>
        </p:sp>
        <p:sp>
          <p:nvSpPr>
            <p:cNvPr id="137" name="Freeform: Shape 136">
              <a:extLst>
                <a:ext uri="{FF2B5EF4-FFF2-40B4-BE49-F238E27FC236}">
                  <a16:creationId xmlns:a16="http://schemas.microsoft.com/office/drawing/2014/main" id="{C236DCE1-9904-F776-59DF-FB9F107ED692}"/>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sz="562"/>
            </a:p>
          </p:txBody>
        </p:sp>
        <p:sp>
          <p:nvSpPr>
            <p:cNvPr id="138" name="Freeform: Shape 137">
              <a:extLst>
                <a:ext uri="{FF2B5EF4-FFF2-40B4-BE49-F238E27FC236}">
                  <a16:creationId xmlns:a16="http://schemas.microsoft.com/office/drawing/2014/main" id="{7974FE59-1A75-CE46-B02E-EEE87CA116BD}"/>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sz="562"/>
            </a:p>
          </p:txBody>
        </p:sp>
        <p:sp>
          <p:nvSpPr>
            <p:cNvPr id="139" name="Freeform: Shape 138">
              <a:extLst>
                <a:ext uri="{FF2B5EF4-FFF2-40B4-BE49-F238E27FC236}">
                  <a16:creationId xmlns:a16="http://schemas.microsoft.com/office/drawing/2014/main" id="{8062235B-A475-56F5-474E-A4D8AF23BAF5}"/>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sz="562"/>
            </a:p>
          </p:txBody>
        </p:sp>
        <p:sp>
          <p:nvSpPr>
            <p:cNvPr id="140" name="Freeform: Shape 139">
              <a:extLst>
                <a:ext uri="{FF2B5EF4-FFF2-40B4-BE49-F238E27FC236}">
                  <a16:creationId xmlns:a16="http://schemas.microsoft.com/office/drawing/2014/main" id="{8B6DD58F-CBDB-6676-A3DE-6583443EC3DA}"/>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sz="562"/>
            </a:p>
          </p:txBody>
        </p:sp>
        <p:sp>
          <p:nvSpPr>
            <p:cNvPr id="141" name="Freeform: Shape 140">
              <a:extLst>
                <a:ext uri="{FF2B5EF4-FFF2-40B4-BE49-F238E27FC236}">
                  <a16:creationId xmlns:a16="http://schemas.microsoft.com/office/drawing/2014/main" id="{3D15C1C4-1403-E374-E2E5-0BBB09801CB4}"/>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sz="562"/>
            </a:p>
          </p:txBody>
        </p:sp>
        <p:sp>
          <p:nvSpPr>
            <p:cNvPr id="142" name="Freeform: Shape 141">
              <a:extLst>
                <a:ext uri="{FF2B5EF4-FFF2-40B4-BE49-F238E27FC236}">
                  <a16:creationId xmlns:a16="http://schemas.microsoft.com/office/drawing/2014/main" id="{6B21F03E-4396-7E4E-99FB-42504548DA31}"/>
                </a:ext>
              </a:extLst>
            </p:cNvPr>
            <p:cNvSpPr/>
            <p:nvPr/>
          </p:nvSpPr>
          <p:spPr>
            <a:xfrm>
              <a:off x="7197757"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sz="562"/>
            </a:p>
          </p:txBody>
        </p:sp>
        <p:sp>
          <p:nvSpPr>
            <p:cNvPr id="143" name="Freeform: Shape 142">
              <a:extLst>
                <a:ext uri="{FF2B5EF4-FFF2-40B4-BE49-F238E27FC236}">
                  <a16:creationId xmlns:a16="http://schemas.microsoft.com/office/drawing/2014/main" id="{7AB93971-2905-607A-19F1-CE54BBD4B3B6}"/>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sz="562"/>
            </a:p>
          </p:txBody>
        </p:sp>
        <p:sp>
          <p:nvSpPr>
            <p:cNvPr id="145" name="Freeform: Shape 144">
              <a:extLst>
                <a:ext uri="{FF2B5EF4-FFF2-40B4-BE49-F238E27FC236}">
                  <a16:creationId xmlns:a16="http://schemas.microsoft.com/office/drawing/2014/main" id="{49636720-DE55-BC6F-FA94-789D29C2FC45}"/>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sz="562"/>
            </a:p>
          </p:txBody>
        </p:sp>
        <p:sp>
          <p:nvSpPr>
            <p:cNvPr id="146" name="Freeform: Shape 145">
              <a:extLst>
                <a:ext uri="{FF2B5EF4-FFF2-40B4-BE49-F238E27FC236}">
                  <a16:creationId xmlns:a16="http://schemas.microsoft.com/office/drawing/2014/main" id="{97B056FE-D70E-333D-9338-AE3F2F9008B5}"/>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sz="562"/>
            </a:p>
          </p:txBody>
        </p:sp>
        <p:sp>
          <p:nvSpPr>
            <p:cNvPr id="147" name="Freeform: Shape 146">
              <a:extLst>
                <a:ext uri="{FF2B5EF4-FFF2-40B4-BE49-F238E27FC236}">
                  <a16:creationId xmlns:a16="http://schemas.microsoft.com/office/drawing/2014/main" id="{5E1CFC15-7A7E-EE7A-2911-5D04489B5C4B}"/>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sz="562"/>
            </a:p>
          </p:txBody>
        </p:sp>
        <p:sp>
          <p:nvSpPr>
            <p:cNvPr id="148" name="Freeform: Shape 147">
              <a:extLst>
                <a:ext uri="{FF2B5EF4-FFF2-40B4-BE49-F238E27FC236}">
                  <a16:creationId xmlns:a16="http://schemas.microsoft.com/office/drawing/2014/main" id="{643111E7-438F-EC3A-8FF4-73D47A7F1108}"/>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sz="562"/>
            </a:p>
          </p:txBody>
        </p:sp>
      </p:grpSp>
      <p:pic>
        <p:nvPicPr>
          <p:cNvPr id="149" name="MS logo white - EMF" descr="Microsoft logo white text version">
            <a:extLst>
              <a:ext uri="{FF2B5EF4-FFF2-40B4-BE49-F238E27FC236}">
                <a16:creationId xmlns:a16="http://schemas.microsoft.com/office/drawing/2014/main" id="{CF1BCD0B-B70D-1811-3610-C5E7B49A93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604904" y="585789"/>
            <a:ext cx="1113236" cy="292608"/>
          </a:xfrm>
          <a:prstGeom prst="rect">
            <a:avLst/>
          </a:prstGeom>
        </p:spPr>
      </p:pic>
    </p:spTree>
    <p:extLst>
      <p:ext uri="{BB962C8B-B14F-4D97-AF65-F5344CB8AC3E}">
        <p14:creationId xmlns:p14="http://schemas.microsoft.com/office/powerpoint/2010/main" val="304968176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4235476"/>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289124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396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2586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1731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942952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59451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Tree>
    <p:extLst>
      <p:ext uri="{BB962C8B-B14F-4D97-AF65-F5344CB8AC3E}">
        <p14:creationId xmlns:p14="http://schemas.microsoft.com/office/powerpoint/2010/main" val="275302209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6740"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4075634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606070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lkin_CENTER SCREEN ONLY">
    <p:spTree>
      <p:nvGrpSpPr>
        <p:cNvPr id="1" name=""/>
        <p:cNvGrpSpPr/>
        <p:nvPr/>
      </p:nvGrpSpPr>
      <p:grpSpPr>
        <a:xfrm>
          <a:off x="0" y="0"/>
          <a:ext cx="0" cy="0"/>
          <a:chOff x="0" y="0"/>
          <a:chExt cx="0" cy="0"/>
        </a:xfrm>
      </p:grpSpPr>
      <p:pic>
        <p:nvPicPr>
          <p:cNvPr id="132" name="Picture 131">
            <a:extLst>
              <a:ext uri="{FF2B5EF4-FFF2-40B4-BE49-F238E27FC236}">
                <a16:creationId xmlns:a16="http://schemas.microsoft.com/office/drawing/2014/main" id="{6154137B-4A79-F8ED-4C5F-1087F1779AC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133" name="Graphic 2">
            <a:extLst>
              <a:ext uri="{FF2B5EF4-FFF2-40B4-BE49-F238E27FC236}">
                <a16:creationId xmlns:a16="http://schemas.microsoft.com/office/drawing/2014/main" id="{3C212610-741A-76F3-5333-B79C74EAEEC2}"/>
              </a:ext>
            </a:extLst>
          </p:cNvPr>
          <p:cNvGrpSpPr>
            <a:grpSpLocks noChangeAspect="1"/>
          </p:cNvGrpSpPr>
          <p:nvPr userDrawn="1"/>
        </p:nvGrpSpPr>
        <p:grpSpPr>
          <a:xfrm>
            <a:off x="585947" y="2667276"/>
            <a:ext cx="2742618" cy="1508760"/>
            <a:chOff x="4778216" y="2874073"/>
            <a:chExt cx="2635377" cy="1181290"/>
          </a:xfrm>
          <a:gradFill>
            <a:gsLst>
              <a:gs pos="0">
                <a:srgbClr val="FFFFFF"/>
              </a:gs>
              <a:gs pos="34000">
                <a:srgbClr val="FFF9EA"/>
              </a:gs>
              <a:gs pos="69000">
                <a:srgbClr val="F8E3BB"/>
              </a:gs>
            </a:gsLst>
            <a:lin ang="2700000" scaled="1"/>
          </a:gradFill>
        </p:grpSpPr>
        <p:sp>
          <p:nvSpPr>
            <p:cNvPr id="134" name="Freeform: Shape 133">
              <a:extLst>
                <a:ext uri="{FF2B5EF4-FFF2-40B4-BE49-F238E27FC236}">
                  <a16:creationId xmlns:a16="http://schemas.microsoft.com/office/drawing/2014/main" id="{E3569518-C452-E85B-D77C-6407D8F5B763}"/>
                </a:ext>
              </a:extLst>
            </p:cNvPr>
            <p:cNvSpPr/>
            <p:nvPr/>
          </p:nvSpPr>
          <p:spPr>
            <a:xfrm>
              <a:off x="4778216" y="2905696"/>
              <a:ext cx="467391" cy="432339"/>
            </a:xfrm>
            <a:custGeom>
              <a:avLst/>
              <a:gdLst>
                <a:gd name="connsiteX0" fmla="*/ 467392 w 467391"/>
                <a:gd name="connsiteY0" fmla="*/ 432340 h 432339"/>
                <a:gd name="connsiteX1" fmla="*/ 394145 w 467391"/>
                <a:gd name="connsiteY1" fmla="*/ 432340 h 432339"/>
                <a:gd name="connsiteX2" fmla="*/ 394145 w 467391"/>
                <a:gd name="connsiteY2" fmla="*/ 158020 h 432339"/>
                <a:gd name="connsiteX3" fmla="*/ 394621 w 467391"/>
                <a:gd name="connsiteY3" fmla="*/ 124968 h 432339"/>
                <a:gd name="connsiteX4" fmla="*/ 395383 w 467391"/>
                <a:gd name="connsiteY4" fmla="*/ 88964 h 432339"/>
                <a:gd name="connsiteX5" fmla="*/ 393573 w 467391"/>
                <a:gd name="connsiteY5" fmla="*/ 88964 h 432339"/>
                <a:gd name="connsiteX6" fmla="*/ 388430 w 467391"/>
                <a:gd name="connsiteY6" fmla="*/ 104775 h 432339"/>
                <a:gd name="connsiteX7" fmla="*/ 383000 w 467391"/>
                <a:gd name="connsiteY7" fmla="*/ 119062 h 432339"/>
                <a:gd name="connsiteX8" fmla="*/ 258509 w 467391"/>
                <a:gd name="connsiteY8" fmla="*/ 432340 h 432339"/>
                <a:gd name="connsiteX9" fmla="*/ 206312 w 467391"/>
                <a:gd name="connsiteY9" fmla="*/ 432340 h 432339"/>
                <a:gd name="connsiteX10" fmla="*/ 80867 w 467391"/>
                <a:gd name="connsiteY10" fmla="*/ 121825 h 432339"/>
                <a:gd name="connsiteX11" fmla="*/ 75914 w 467391"/>
                <a:gd name="connsiteY11" fmla="*/ 107823 h 432339"/>
                <a:gd name="connsiteX12" fmla="*/ 69437 w 467391"/>
                <a:gd name="connsiteY12" fmla="*/ 88964 h 432339"/>
                <a:gd name="connsiteX13" fmla="*/ 67628 w 467391"/>
                <a:gd name="connsiteY13" fmla="*/ 88964 h 432339"/>
                <a:gd name="connsiteX14" fmla="*/ 68485 w 467391"/>
                <a:gd name="connsiteY14" fmla="*/ 126778 h 432339"/>
                <a:gd name="connsiteX15" fmla="*/ 68771 w 467391"/>
                <a:gd name="connsiteY15" fmla="*/ 167926 h 432339"/>
                <a:gd name="connsiteX16" fmla="*/ 68771 w 467391"/>
                <a:gd name="connsiteY16" fmla="*/ 432340 h 432339"/>
                <a:gd name="connsiteX17" fmla="*/ 0 w 467391"/>
                <a:gd name="connsiteY17" fmla="*/ 432340 h 432339"/>
                <a:gd name="connsiteX18" fmla="*/ 0 w 467391"/>
                <a:gd name="connsiteY18" fmla="*/ 0 h 432339"/>
                <a:gd name="connsiteX19" fmla="*/ 105251 w 467391"/>
                <a:gd name="connsiteY19" fmla="*/ 0 h 432339"/>
                <a:gd name="connsiteX20" fmla="*/ 215932 w 467391"/>
                <a:gd name="connsiteY20" fmla="*/ 278892 h 432339"/>
                <a:gd name="connsiteX21" fmla="*/ 226028 w 467391"/>
                <a:gd name="connsiteY21" fmla="*/ 304991 h 432339"/>
                <a:gd name="connsiteX22" fmla="*/ 233458 w 467391"/>
                <a:gd name="connsiteY22" fmla="*/ 328612 h 432339"/>
                <a:gd name="connsiteX23" fmla="*/ 235267 w 467391"/>
                <a:gd name="connsiteY23" fmla="*/ 328612 h 432339"/>
                <a:gd name="connsiteX24" fmla="*/ 245078 w 467391"/>
                <a:gd name="connsiteY24" fmla="*/ 302419 h 432339"/>
                <a:gd name="connsiteX25" fmla="*/ 254317 w 467391"/>
                <a:gd name="connsiteY25" fmla="*/ 278035 h 432339"/>
                <a:gd name="connsiteX26" fmla="*/ 366427 w 467391"/>
                <a:gd name="connsiteY26" fmla="*/ 95 h 432339"/>
                <a:gd name="connsiteX27" fmla="*/ 467392 w 467391"/>
                <a:gd name="connsiteY27" fmla="*/ 95 h 432339"/>
                <a:gd name="connsiteX28" fmla="*/ 467392 w 467391"/>
                <a:gd name="connsiteY28" fmla="*/ 432340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67391" h="432339">
                  <a:moveTo>
                    <a:pt x="467392" y="432340"/>
                  </a:moveTo>
                  <a:lnTo>
                    <a:pt x="394145" y="432340"/>
                  </a:lnTo>
                  <a:lnTo>
                    <a:pt x="394145" y="158020"/>
                  </a:lnTo>
                  <a:cubicBezTo>
                    <a:pt x="394145" y="146590"/>
                    <a:pt x="394335" y="135541"/>
                    <a:pt x="394621" y="124968"/>
                  </a:cubicBezTo>
                  <a:cubicBezTo>
                    <a:pt x="394907" y="114395"/>
                    <a:pt x="395192" y="102394"/>
                    <a:pt x="395383" y="88964"/>
                  </a:cubicBezTo>
                  <a:lnTo>
                    <a:pt x="393573" y="88964"/>
                  </a:lnTo>
                  <a:cubicBezTo>
                    <a:pt x="391763" y="94964"/>
                    <a:pt x="390049" y="100298"/>
                    <a:pt x="388430" y="104775"/>
                  </a:cubicBezTo>
                  <a:cubicBezTo>
                    <a:pt x="386810" y="109252"/>
                    <a:pt x="385001" y="114109"/>
                    <a:pt x="383000" y="119062"/>
                  </a:cubicBezTo>
                  <a:lnTo>
                    <a:pt x="258509" y="432340"/>
                  </a:lnTo>
                  <a:lnTo>
                    <a:pt x="206312" y="432340"/>
                  </a:lnTo>
                  <a:lnTo>
                    <a:pt x="80867" y="121825"/>
                  </a:lnTo>
                  <a:cubicBezTo>
                    <a:pt x="79248" y="117157"/>
                    <a:pt x="77629" y="112490"/>
                    <a:pt x="75914" y="107823"/>
                  </a:cubicBezTo>
                  <a:cubicBezTo>
                    <a:pt x="74200" y="103061"/>
                    <a:pt x="72009" y="96774"/>
                    <a:pt x="69437" y="88964"/>
                  </a:cubicBezTo>
                  <a:lnTo>
                    <a:pt x="67628" y="88964"/>
                  </a:lnTo>
                  <a:cubicBezTo>
                    <a:pt x="68009" y="101441"/>
                    <a:pt x="68294" y="114014"/>
                    <a:pt x="68485" y="126778"/>
                  </a:cubicBezTo>
                  <a:cubicBezTo>
                    <a:pt x="68675" y="139541"/>
                    <a:pt x="68771" y="153257"/>
                    <a:pt x="68771" y="167926"/>
                  </a:cubicBezTo>
                  <a:lnTo>
                    <a:pt x="68771" y="432340"/>
                  </a:lnTo>
                  <a:lnTo>
                    <a:pt x="0" y="432340"/>
                  </a:lnTo>
                  <a:lnTo>
                    <a:pt x="0" y="0"/>
                  </a:lnTo>
                  <a:lnTo>
                    <a:pt x="105251" y="0"/>
                  </a:lnTo>
                  <a:lnTo>
                    <a:pt x="215932" y="278892"/>
                  </a:lnTo>
                  <a:cubicBezTo>
                    <a:pt x="220123" y="289179"/>
                    <a:pt x="223552" y="297847"/>
                    <a:pt x="226028" y="304991"/>
                  </a:cubicBezTo>
                  <a:cubicBezTo>
                    <a:pt x="228505" y="312134"/>
                    <a:pt x="230981" y="320040"/>
                    <a:pt x="233458" y="328612"/>
                  </a:cubicBezTo>
                  <a:lnTo>
                    <a:pt x="235267" y="328612"/>
                  </a:lnTo>
                  <a:cubicBezTo>
                    <a:pt x="238887" y="318992"/>
                    <a:pt x="242126" y="310229"/>
                    <a:pt x="245078" y="302419"/>
                  </a:cubicBezTo>
                  <a:cubicBezTo>
                    <a:pt x="248031" y="294608"/>
                    <a:pt x="251079" y="286417"/>
                    <a:pt x="254317" y="278035"/>
                  </a:cubicBezTo>
                  <a:lnTo>
                    <a:pt x="366427" y="95"/>
                  </a:lnTo>
                  <a:lnTo>
                    <a:pt x="467392" y="95"/>
                  </a:lnTo>
                  <a:lnTo>
                    <a:pt x="467392" y="432340"/>
                  </a:lnTo>
                  <a:close/>
                </a:path>
              </a:pathLst>
            </a:custGeom>
            <a:grpFill/>
            <a:ln w="9525" cap="flat">
              <a:noFill/>
              <a:prstDash val="solid"/>
              <a:miter/>
            </a:ln>
          </p:spPr>
          <p:txBody>
            <a:bodyPr rtlCol="0" anchor="ctr"/>
            <a:lstStyle/>
            <a:p>
              <a:pPr lvl="0"/>
              <a:endParaRPr lang="en-US" sz="562"/>
            </a:p>
          </p:txBody>
        </p:sp>
        <p:sp>
          <p:nvSpPr>
            <p:cNvPr id="135" name="Freeform: Shape 134">
              <a:extLst>
                <a:ext uri="{FF2B5EF4-FFF2-40B4-BE49-F238E27FC236}">
                  <a16:creationId xmlns:a16="http://schemas.microsoft.com/office/drawing/2014/main" id="{F53E8EF6-A7F3-B66A-A8BC-89D57E8F6CBE}"/>
                </a:ext>
              </a:extLst>
            </p:cNvPr>
            <p:cNvSpPr/>
            <p:nvPr/>
          </p:nvSpPr>
          <p:spPr>
            <a:xfrm>
              <a:off x="5311139" y="2885503"/>
              <a:ext cx="89344" cy="452532"/>
            </a:xfrm>
            <a:custGeom>
              <a:avLst/>
              <a:gdLst>
                <a:gd name="connsiteX0" fmla="*/ 44387 w 89344"/>
                <a:gd name="connsiteY0" fmla="*/ 86297 h 452532"/>
                <a:gd name="connsiteX1" fmla="*/ 12383 w 89344"/>
                <a:gd name="connsiteY1" fmla="*/ 73438 h 452532"/>
                <a:gd name="connsiteX2" fmla="*/ 0 w 89344"/>
                <a:gd name="connsiteY2" fmla="*/ 42863 h 452532"/>
                <a:gd name="connsiteX3" fmla="*/ 12383 w 89344"/>
                <a:gd name="connsiteY3" fmla="*/ 12383 h 452532"/>
                <a:gd name="connsiteX4" fmla="*/ 44387 w 89344"/>
                <a:gd name="connsiteY4" fmla="*/ 0 h 452532"/>
                <a:gd name="connsiteX5" fmla="*/ 76962 w 89344"/>
                <a:gd name="connsiteY5" fmla="*/ 12383 h 452532"/>
                <a:gd name="connsiteX6" fmla="*/ 89345 w 89344"/>
                <a:gd name="connsiteY6" fmla="*/ 43148 h 452532"/>
                <a:gd name="connsiteX7" fmla="*/ 76962 w 89344"/>
                <a:gd name="connsiteY7" fmla="*/ 73914 h 452532"/>
                <a:gd name="connsiteX8" fmla="*/ 44387 w 89344"/>
                <a:gd name="connsiteY8" fmla="*/ 86297 h 452532"/>
                <a:gd name="connsiteX9" fmla="*/ 80296 w 89344"/>
                <a:gd name="connsiteY9" fmla="*/ 452533 h 452532"/>
                <a:gd name="connsiteX10" fmla="*/ 8287 w 89344"/>
                <a:gd name="connsiteY10" fmla="*/ 452533 h 452532"/>
                <a:gd name="connsiteX11" fmla="*/ 8287 w 89344"/>
                <a:gd name="connsiteY11" fmla="*/ 143828 h 452532"/>
                <a:gd name="connsiteX12" fmla="*/ 80296 w 89344"/>
                <a:gd name="connsiteY12" fmla="*/ 143828 h 452532"/>
                <a:gd name="connsiteX13" fmla="*/ 80296 w 89344"/>
                <a:gd name="connsiteY13" fmla="*/ 452533 h 45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532">
                  <a:moveTo>
                    <a:pt x="44387" y="86297"/>
                  </a:moveTo>
                  <a:cubicBezTo>
                    <a:pt x="31337" y="86297"/>
                    <a:pt x="20669" y="82010"/>
                    <a:pt x="12383" y="73438"/>
                  </a:cubicBezTo>
                  <a:cubicBezTo>
                    <a:pt x="4096" y="64865"/>
                    <a:pt x="0" y="54674"/>
                    <a:pt x="0" y="42863"/>
                  </a:cubicBezTo>
                  <a:cubicBezTo>
                    <a:pt x="0" y="30766"/>
                    <a:pt x="4096" y="20669"/>
                    <a:pt x="12383" y="12383"/>
                  </a:cubicBezTo>
                  <a:cubicBezTo>
                    <a:pt x="20574" y="4191"/>
                    <a:pt x="31242" y="0"/>
                    <a:pt x="44387" y="0"/>
                  </a:cubicBezTo>
                  <a:cubicBezTo>
                    <a:pt x="57817" y="0"/>
                    <a:pt x="68675" y="4096"/>
                    <a:pt x="76962" y="12383"/>
                  </a:cubicBezTo>
                  <a:cubicBezTo>
                    <a:pt x="85154" y="20669"/>
                    <a:pt x="89345" y="30861"/>
                    <a:pt x="89345" y="43148"/>
                  </a:cubicBezTo>
                  <a:cubicBezTo>
                    <a:pt x="89345" y="55435"/>
                    <a:pt x="85249" y="65627"/>
                    <a:pt x="76962" y="73914"/>
                  </a:cubicBezTo>
                  <a:cubicBezTo>
                    <a:pt x="68771" y="82106"/>
                    <a:pt x="57912" y="86297"/>
                    <a:pt x="44387" y="86297"/>
                  </a:cubicBezTo>
                  <a:close/>
                  <a:moveTo>
                    <a:pt x="80296" y="452533"/>
                  </a:moveTo>
                  <a:lnTo>
                    <a:pt x="8287" y="452533"/>
                  </a:lnTo>
                  <a:lnTo>
                    <a:pt x="8287" y="143828"/>
                  </a:lnTo>
                  <a:lnTo>
                    <a:pt x="80296" y="143828"/>
                  </a:lnTo>
                  <a:lnTo>
                    <a:pt x="80296" y="452533"/>
                  </a:lnTo>
                  <a:close/>
                </a:path>
              </a:pathLst>
            </a:custGeom>
            <a:grpFill/>
            <a:ln w="9525" cap="flat">
              <a:noFill/>
              <a:prstDash val="solid"/>
              <a:miter/>
            </a:ln>
          </p:spPr>
          <p:txBody>
            <a:bodyPr rtlCol="0" anchor="ctr"/>
            <a:lstStyle/>
            <a:p>
              <a:pPr lvl="0"/>
              <a:endParaRPr lang="en-US" sz="562"/>
            </a:p>
          </p:txBody>
        </p:sp>
        <p:sp>
          <p:nvSpPr>
            <p:cNvPr id="136" name="Freeform: Shape 135">
              <a:extLst>
                <a:ext uri="{FF2B5EF4-FFF2-40B4-BE49-F238E27FC236}">
                  <a16:creationId xmlns:a16="http://schemas.microsoft.com/office/drawing/2014/main" id="{D0AD0FEA-5EFB-9EC0-B4B8-67798738C25E}"/>
                </a:ext>
              </a:extLst>
            </p:cNvPr>
            <p:cNvSpPr/>
            <p:nvPr/>
          </p:nvSpPr>
          <p:spPr>
            <a:xfrm>
              <a:off x="5449728" y="3022187"/>
              <a:ext cx="284035" cy="323087"/>
            </a:xfrm>
            <a:custGeom>
              <a:avLst/>
              <a:gdLst>
                <a:gd name="connsiteX0" fmla="*/ 284036 w 284035"/>
                <a:gd name="connsiteY0" fmla="*/ 257080 h 323087"/>
                <a:gd name="connsiteX1" fmla="*/ 230791 w 284035"/>
                <a:gd name="connsiteY1" fmla="*/ 306800 h 323087"/>
                <a:gd name="connsiteX2" fmla="*/ 158020 w 284035"/>
                <a:gd name="connsiteY2" fmla="*/ 323088 h 323087"/>
                <a:gd name="connsiteX3" fmla="*/ 41910 w 284035"/>
                <a:gd name="connsiteY3" fmla="*/ 280321 h 323087"/>
                <a:gd name="connsiteX4" fmla="*/ 0 w 284035"/>
                <a:gd name="connsiteY4" fmla="*/ 166973 h 323087"/>
                <a:gd name="connsiteX5" fmla="*/ 44577 w 284035"/>
                <a:gd name="connsiteY5" fmla="*/ 44767 h 323087"/>
                <a:gd name="connsiteX6" fmla="*/ 160306 w 284035"/>
                <a:gd name="connsiteY6" fmla="*/ 0 h 323087"/>
                <a:gd name="connsiteX7" fmla="*/ 233458 w 284035"/>
                <a:gd name="connsiteY7" fmla="*/ 17335 h 323087"/>
                <a:gd name="connsiteX8" fmla="*/ 282130 w 284035"/>
                <a:gd name="connsiteY8" fmla="*/ 68390 h 323087"/>
                <a:gd name="connsiteX9" fmla="*/ 225457 w 284035"/>
                <a:gd name="connsiteY9" fmla="*/ 96393 h 323087"/>
                <a:gd name="connsiteX10" fmla="*/ 195263 w 284035"/>
                <a:gd name="connsiteY10" fmla="*/ 66865 h 323087"/>
                <a:gd name="connsiteX11" fmla="*/ 157925 w 284035"/>
                <a:gd name="connsiteY11" fmla="*/ 58102 h 323087"/>
                <a:gd name="connsiteX12" fmla="*/ 97346 w 284035"/>
                <a:gd name="connsiteY12" fmla="*/ 85534 h 323087"/>
                <a:gd name="connsiteX13" fmla="*/ 73533 w 284035"/>
                <a:gd name="connsiteY13" fmla="*/ 162115 h 323087"/>
                <a:gd name="connsiteX14" fmla="*/ 97060 w 284035"/>
                <a:gd name="connsiteY14" fmla="*/ 236887 h 323087"/>
                <a:gd name="connsiteX15" fmla="*/ 159734 w 284035"/>
                <a:gd name="connsiteY15" fmla="*/ 263081 h 323087"/>
                <a:gd name="connsiteX16" fmla="*/ 197453 w 284035"/>
                <a:gd name="connsiteY16" fmla="*/ 254508 h 323087"/>
                <a:gd name="connsiteX17" fmla="*/ 228219 w 284035"/>
                <a:gd name="connsiteY17" fmla="*/ 225742 h 323087"/>
                <a:gd name="connsiteX18" fmla="*/ 284036 w 284035"/>
                <a:gd name="connsiteY18" fmla="*/ 257080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4035" h="323087">
                  <a:moveTo>
                    <a:pt x="284036" y="257080"/>
                  </a:moveTo>
                  <a:cubicBezTo>
                    <a:pt x="270319" y="279368"/>
                    <a:pt x="252603" y="295942"/>
                    <a:pt x="230791" y="306800"/>
                  </a:cubicBezTo>
                  <a:cubicBezTo>
                    <a:pt x="208978" y="317659"/>
                    <a:pt x="184690" y="323088"/>
                    <a:pt x="158020" y="323088"/>
                  </a:cubicBezTo>
                  <a:cubicBezTo>
                    <a:pt x="108585" y="323088"/>
                    <a:pt x="69913" y="308800"/>
                    <a:pt x="41910" y="280321"/>
                  </a:cubicBezTo>
                  <a:cubicBezTo>
                    <a:pt x="14002" y="251746"/>
                    <a:pt x="0" y="214027"/>
                    <a:pt x="0" y="166973"/>
                  </a:cubicBezTo>
                  <a:cubicBezTo>
                    <a:pt x="0" y="115348"/>
                    <a:pt x="14859" y="74581"/>
                    <a:pt x="44577" y="44767"/>
                  </a:cubicBezTo>
                  <a:cubicBezTo>
                    <a:pt x="74295" y="14954"/>
                    <a:pt x="112871" y="0"/>
                    <a:pt x="160306" y="0"/>
                  </a:cubicBezTo>
                  <a:cubicBezTo>
                    <a:pt x="187452" y="0"/>
                    <a:pt x="211836" y="5810"/>
                    <a:pt x="233458" y="17335"/>
                  </a:cubicBezTo>
                  <a:cubicBezTo>
                    <a:pt x="255079" y="28861"/>
                    <a:pt x="271272" y="45910"/>
                    <a:pt x="282130" y="68390"/>
                  </a:cubicBezTo>
                  <a:lnTo>
                    <a:pt x="225457" y="96393"/>
                  </a:lnTo>
                  <a:cubicBezTo>
                    <a:pt x="216217" y="82486"/>
                    <a:pt x="206121" y="72676"/>
                    <a:pt x="195263" y="66865"/>
                  </a:cubicBezTo>
                  <a:cubicBezTo>
                    <a:pt x="184404" y="61055"/>
                    <a:pt x="171926" y="58102"/>
                    <a:pt x="157925" y="58102"/>
                  </a:cubicBezTo>
                  <a:cubicBezTo>
                    <a:pt x="133445" y="58102"/>
                    <a:pt x="113157" y="67246"/>
                    <a:pt x="97346" y="85534"/>
                  </a:cubicBezTo>
                  <a:cubicBezTo>
                    <a:pt x="81439" y="103823"/>
                    <a:pt x="73533" y="129350"/>
                    <a:pt x="73533" y="162115"/>
                  </a:cubicBezTo>
                  <a:cubicBezTo>
                    <a:pt x="73533" y="194500"/>
                    <a:pt x="81344" y="219361"/>
                    <a:pt x="97060" y="236887"/>
                  </a:cubicBezTo>
                  <a:cubicBezTo>
                    <a:pt x="112776" y="254413"/>
                    <a:pt x="133636" y="263081"/>
                    <a:pt x="159734" y="263081"/>
                  </a:cubicBezTo>
                  <a:cubicBezTo>
                    <a:pt x="173355" y="263081"/>
                    <a:pt x="185928" y="260223"/>
                    <a:pt x="197453" y="254508"/>
                  </a:cubicBezTo>
                  <a:cubicBezTo>
                    <a:pt x="208978" y="248793"/>
                    <a:pt x="219170" y="239173"/>
                    <a:pt x="228219" y="225742"/>
                  </a:cubicBezTo>
                  <a:lnTo>
                    <a:pt x="284036" y="257080"/>
                  </a:lnTo>
                  <a:close/>
                </a:path>
              </a:pathLst>
            </a:custGeom>
            <a:grpFill/>
            <a:ln w="9525" cap="flat">
              <a:noFill/>
              <a:prstDash val="solid"/>
              <a:miter/>
            </a:ln>
          </p:spPr>
          <p:txBody>
            <a:bodyPr rtlCol="0" anchor="ctr"/>
            <a:lstStyle/>
            <a:p>
              <a:pPr lvl="0"/>
              <a:endParaRPr lang="en-US" sz="562"/>
            </a:p>
          </p:txBody>
        </p:sp>
        <p:sp>
          <p:nvSpPr>
            <p:cNvPr id="137" name="Freeform: Shape 136">
              <a:extLst>
                <a:ext uri="{FF2B5EF4-FFF2-40B4-BE49-F238E27FC236}">
                  <a16:creationId xmlns:a16="http://schemas.microsoft.com/office/drawing/2014/main" id="{C236DCE1-9904-F776-59DF-FB9F107ED692}"/>
                </a:ext>
              </a:extLst>
            </p:cNvPr>
            <p:cNvSpPr/>
            <p:nvPr/>
          </p:nvSpPr>
          <p:spPr>
            <a:xfrm>
              <a:off x="5790057" y="3023997"/>
              <a:ext cx="197262" cy="314134"/>
            </a:xfrm>
            <a:custGeom>
              <a:avLst/>
              <a:gdLst>
                <a:gd name="connsiteX0" fmla="*/ 177832 w 197262"/>
                <a:gd name="connsiteY0" fmla="*/ 70199 h 314134"/>
                <a:gd name="connsiteX1" fmla="*/ 160210 w 197262"/>
                <a:gd name="connsiteY1" fmla="*/ 64960 h 314134"/>
                <a:gd name="connsiteX2" fmla="*/ 141351 w 197262"/>
                <a:gd name="connsiteY2" fmla="*/ 62960 h 314134"/>
                <a:gd name="connsiteX3" fmla="*/ 91154 w 197262"/>
                <a:gd name="connsiteY3" fmla="*/ 90106 h 314134"/>
                <a:gd name="connsiteX4" fmla="*/ 72009 w 197262"/>
                <a:gd name="connsiteY4" fmla="*/ 161544 h 314134"/>
                <a:gd name="connsiteX5" fmla="*/ 72009 w 197262"/>
                <a:gd name="connsiteY5" fmla="*/ 314134 h 314134"/>
                <a:gd name="connsiteX6" fmla="*/ 0 w 197262"/>
                <a:gd name="connsiteY6" fmla="*/ 314134 h 314134"/>
                <a:gd name="connsiteX7" fmla="*/ 0 w 197262"/>
                <a:gd name="connsiteY7" fmla="*/ 5334 h 314134"/>
                <a:gd name="connsiteX8" fmla="*/ 72009 w 197262"/>
                <a:gd name="connsiteY8" fmla="*/ 5334 h 314134"/>
                <a:gd name="connsiteX9" fmla="*/ 72009 w 197262"/>
                <a:gd name="connsiteY9" fmla="*/ 61150 h 314134"/>
                <a:gd name="connsiteX10" fmla="*/ 73247 w 197262"/>
                <a:gd name="connsiteY10" fmla="*/ 61150 h 314134"/>
                <a:gd name="connsiteX11" fmla="*/ 105251 w 197262"/>
                <a:gd name="connsiteY11" fmla="*/ 15811 h 314134"/>
                <a:gd name="connsiteX12" fmla="*/ 154114 w 197262"/>
                <a:gd name="connsiteY12" fmla="*/ 0 h 314134"/>
                <a:gd name="connsiteX13" fmla="*/ 175831 w 197262"/>
                <a:gd name="connsiteY13" fmla="*/ 1810 h 314134"/>
                <a:gd name="connsiteX14" fmla="*/ 197263 w 197262"/>
                <a:gd name="connsiteY14" fmla="*/ 8763 h 314134"/>
                <a:gd name="connsiteX15" fmla="*/ 177832 w 197262"/>
                <a:gd name="connsiteY15" fmla="*/ 70199 h 31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7262" h="314134">
                  <a:moveTo>
                    <a:pt x="177832" y="70199"/>
                  </a:moveTo>
                  <a:cubicBezTo>
                    <a:pt x="172021" y="68008"/>
                    <a:pt x="166116" y="66199"/>
                    <a:pt x="160210" y="64960"/>
                  </a:cubicBezTo>
                  <a:cubicBezTo>
                    <a:pt x="154305" y="63627"/>
                    <a:pt x="148018" y="62960"/>
                    <a:pt x="141351" y="62960"/>
                  </a:cubicBezTo>
                  <a:cubicBezTo>
                    <a:pt x="120682" y="62960"/>
                    <a:pt x="103918" y="72009"/>
                    <a:pt x="91154" y="90106"/>
                  </a:cubicBezTo>
                  <a:cubicBezTo>
                    <a:pt x="78391" y="108204"/>
                    <a:pt x="72009" y="132016"/>
                    <a:pt x="72009" y="161544"/>
                  </a:cubicBezTo>
                  <a:lnTo>
                    <a:pt x="72009" y="314134"/>
                  </a:lnTo>
                  <a:lnTo>
                    <a:pt x="0" y="314134"/>
                  </a:lnTo>
                  <a:lnTo>
                    <a:pt x="0" y="5334"/>
                  </a:lnTo>
                  <a:lnTo>
                    <a:pt x="72009" y="5334"/>
                  </a:lnTo>
                  <a:lnTo>
                    <a:pt x="72009" y="61150"/>
                  </a:lnTo>
                  <a:lnTo>
                    <a:pt x="73247" y="61150"/>
                  </a:lnTo>
                  <a:cubicBezTo>
                    <a:pt x="80486" y="41434"/>
                    <a:pt x="91154" y="26289"/>
                    <a:pt x="105251" y="15811"/>
                  </a:cubicBezTo>
                  <a:cubicBezTo>
                    <a:pt x="119348" y="5239"/>
                    <a:pt x="135636" y="0"/>
                    <a:pt x="154114" y="0"/>
                  </a:cubicBezTo>
                  <a:cubicBezTo>
                    <a:pt x="161925" y="0"/>
                    <a:pt x="169164" y="571"/>
                    <a:pt x="175831" y="1810"/>
                  </a:cubicBezTo>
                  <a:cubicBezTo>
                    <a:pt x="182499" y="3048"/>
                    <a:pt x="189547" y="5334"/>
                    <a:pt x="197263" y="8763"/>
                  </a:cubicBezTo>
                  <a:lnTo>
                    <a:pt x="177832" y="70199"/>
                  </a:lnTo>
                  <a:close/>
                </a:path>
              </a:pathLst>
            </a:custGeom>
            <a:grpFill/>
            <a:ln w="9525" cap="flat">
              <a:noFill/>
              <a:prstDash val="solid"/>
              <a:miter/>
            </a:ln>
          </p:spPr>
          <p:txBody>
            <a:bodyPr rtlCol="0" anchor="ctr"/>
            <a:lstStyle/>
            <a:p>
              <a:pPr lvl="0"/>
              <a:endParaRPr lang="en-US" sz="562"/>
            </a:p>
          </p:txBody>
        </p:sp>
        <p:sp>
          <p:nvSpPr>
            <p:cNvPr id="138" name="Freeform: Shape 137">
              <a:extLst>
                <a:ext uri="{FF2B5EF4-FFF2-40B4-BE49-F238E27FC236}">
                  <a16:creationId xmlns:a16="http://schemas.microsoft.com/office/drawing/2014/main" id="{7974FE59-1A75-CE46-B02E-EEE87CA116BD}"/>
                </a:ext>
              </a:extLst>
            </p:cNvPr>
            <p:cNvSpPr/>
            <p:nvPr/>
          </p:nvSpPr>
          <p:spPr>
            <a:xfrm>
              <a:off x="6004274"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687 w 322611"/>
                <a:gd name="connsiteY9" fmla="*/ 265081 h 323278"/>
                <a:gd name="connsiteX10" fmla="*/ 226124 w 322611"/>
                <a:gd name="connsiteY10" fmla="*/ 236696 h 323278"/>
                <a:gd name="connsiteX11" fmla="*/ 248603 w 322611"/>
                <a:gd name="connsiteY11" fmla="*/ 160687 h 323278"/>
                <a:gd name="connsiteX12" fmla="*/ 226028 w 322611"/>
                <a:gd name="connsiteY12" fmla="*/ 86487 h 323278"/>
                <a:gd name="connsiteX13" fmla="*/ 162401 w 322611"/>
                <a:gd name="connsiteY13" fmla="*/ 58484 h 323278"/>
                <a:gd name="connsiteX14" fmla="*/ 97727 w 322611"/>
                <a:gd name="connsiteY14" fmla="*/ 87440 h 323278"/>
                <a:gd name="connsiteX15" fmla="*/ 73438 w 322611"/>
                <a:gd name="connsiteY15" fmla="*/ 162497 h 323278"/>
                <a:gd name="connsiteX16" fmla="*/ 97441 w 322611"/>
                <a:gd name="connsiteY16" fmla="*/ 237554 h 323278"/>
                <a:gd name="connsiteX17" fmla="*/ 162687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126" y="307848"/>
                    <a:pt x="208883" y="323279"/>
                    <a:pt x="160020" y="323279"/>
                  </a:cubicBezTo>
                  <a:close/>
                  <a:moveTo>
                    <a:pt x="162687" y="265081"/>
                  </a:moveTo>
                  <a:cubicBezTo>
                    <a:pt x="190024" y="265081"/>
                    <a:pt x="211169" y="255651"/>
                    <a:pt x="226124" y="236696"/>
                  </a:cubicBezTo>
                  <a:cubicBezTo>
                    <a:pt x="241078" y="217837"/>
                    <a:pt x="248603" y="192500"/>
                    <a:pt x="248603" y="160687"/>
                  </a:cubicBezTo>
                  <a:cubicBezTo>
                    <a:pt x="248603" y="129921"/>
                    <a:pt x="241078" y="105251"/>
                    <a:pt x="226028" y="86487"/>
                  </a:cubicBezTo>
                  <a:cubicBezTo>
                    <a:pt x="210979" y="67818"/>
                    <a:pt x="189738" y="58484"/>
                    <a:pt x="162401" y="58484"/>
                  </a:cubicBezTo>
                  <a:cubicBezTo>
                    <a:pt x="135446" y="58484"/>
                    <a:pt x="113919" y="68104"/>
                    <a:pt x="97727" y="87440"/>
                  </a:cubicBezTo>
                  <a:cubicBezTo>
                    <a:pt x="81534" y="106775"/>
                    <a:pt x="73438" y="131731"/>
                    <a:pt x="73438" y="162497"/>
                  </a:cubicBezTo>
                  <a:cubicBezTo>
                    <a:pt x="73438" y="194215"/>
                    <a:pt x="81439" y="219266"/>
                    <a:pt x="97441" y="237554"/>
                  </a:cubicBezTo>
                  <a:cubicBezTo>
                    <a:pt x="113443" y="255937"/>
                    <a:pt x="135160" y="265081"/>
                    <a:pt x="162687" y="265081"/>
                  </a:cubicBezTo>
                  <a:close/>
                </a:path>
              </a:pathLst>
            </a:custGeom>
            <a:grpFill/>
            <a:ln w="9525" cap="flat">
              <a:noFill/>
              <a:prstDash val="solid"/>
              <a:miter/>
            </a:ln>
          </p:spPr>
          <p:txBody>
            <a:bodyPr rtlCol="0" anchor="ctr"/>
            <a:lstStyle/>
            <a:p>
              <a:pPr lvl="0"/>
              <a:endParaRPr lang="en-US" sz="562"/>
            </a:p>
          </p:txBody>
        </p:sp>
        <p:sp>
          <p:nvSpPr>
            <p:cNvPr id="139" name="Freeform: Shape 138">
              <a:extLst>
                <a:ext uri="{FF2B5EF4-FFF2-40B4-BE49-F238E27FC236}">
                  <a16:creationId xmlns:a16="http://schemas.microsoft.com/office/drawing/2014/main" id="{8062235B-A475-56F5-474E-A4D8AF23BAF5}"/>
                </a:ext>
              </a:extLst>
            </p:cNvPr>
            <p:cNvSpPr/>
            <p:nvPr/>
          </p:nvSpPr>
          <p:spPr>
            <a:xfrm>
              <a:off x="6365557" y="3022187"/>
              <a:ext cx="237934" cy="323087"/>
            </a:xfrm>
            <a:custGeom>
              <a:avLst/>
              <a:gdLst>
                <a:gd name="connsiteX0" fmla="*/ 0 w 237934"/>
                <a:gd name="connsiteY0" fmla="*/ 266414 h 323087"/>
                <a:gd name="connsiteX1" fmla="*/ 43434 w 237934"/>
                <a:gd name="connsiteY1" fmla="*/ 227552 h 323087"/>
                <a:gd name="connsiteX2" fmla="*/ 79438 w 237934"/>
                <a:gd name="connsiteY2" fmla="*/ 259366 h 323087"/>
                <a:gd name="connsiteX3" fmla="*/ 119729 w 237934"/>
                <a:gd name="connsiteY3" fmla="*/ 268891 h 323087"/>
                <a:gd name="connsiteX4" fmla="*/ 156781 w 237934"/>
                <a:gd name="connsiteY4" fmla="*/ 258794 h 323087"/>
                <a:gd name="connsiteX5" fmla="*/ 170021 w 237934"/>
                <a:gd name="connsiteY5" fmla="*/ 230315 h 323087"/>
                <a:gd name="connsiteX6" fmla="*/ 157543 w 237934"/>
                <a:gd name="connsiteY6" fmla="*/ 205169 h 323087"/>
                <a:gd name="connsiteX7" fmla="*/ 120301 w 237934"/>
                <a:gd name="connsiteY7" fmla="*/ 190500 h 323087"/>
                <a:gd name="connsiteX8" fmla="*/ 35719 w 237934"/>
                <a:gd name="connsiteY8" fmla="*/ 156019 h 323087"/>
                <a:gd name="connsiteX9" fmla="*/ 11716 w 237934"/>
                <a:gd name="connsiteY9" fmla="*/ 96774 h 323087"/>
                <a:gd name="connsiteX10" fmla="*/ 44291 w 237934"/>
                <a:gd name="connsiteY10" fmla="*/ 25813 h 323087"/>
                <a:gd name="connsiteX11" fmla="*/ 126301 w 237934"/>
                <a:gd name="connsiteY11" fmla="*/ 0 h 323087"/>
                <a:gd name="connsiteX12" fmla="*/ 185356 w 237934"/>
                <a:gd name="connsiteY12" fmla="*/ 11144 h 323087"/>
                <a:gd name="connsiteX13" fmla="*/ 230314 w 237934"/>
                <a:gd name="connsiteY13" fmla="*/ 44863 h 323087"/>
                <a:gd name="connsiteX14" fmla="*/ 188404 w 237934"/>
                <a:gd name="connsiteY14" fmla="*/ 82867 h 323087"/>
                <a:gd name="connsiteX15" fmla="*/ 159639 w 237934"/>
                <a:gd name="connsiteY15" fmla="*/ 61150 h 323087"/>
                <a:gd name="connsiteX16" fmla="*/ 124206 w 237934"/>
                <a:gd name="connsiteY16" fmla="*/ 53911 h 323087"/>
                <a:gd name="connsiteX17" fmla="*/ 90773 w 237934"/>
                <a:gd name="connsiteY17" fmla="*/ 63532 h 323087"/>
                <a:gd name="connsiteX18" fmla="*/ 79343 w 237934"/>
                <a:gd name="connsiteY18" fmla="*/ 88582 h 323087"/>
                <a:gd name="connsiteX19" fmla="*/ 91250 w 237934"/>
                <a:gd name="connsiteY19" fmla="*/ 112109 h 323087"/>
                <a:gd name="connsiteX20" fmla="*/ 136017 w 237934"/>
                <a:gd name="connsiteY20" fmla="*/ 126873 h 323087"/>
                <a:gd name="connsiteX21" fmla="*/ 212598 w 237934"/>
                <a:gd name="connsiteY21" fmla="*/ 159734 h 323087"/>
                <a:gd name="connsiteX22" fmla="*/ 237934 w 237934"/>
                <a:gd name="connsiteY22" fmla="*/ 223647 h 323087"/>
                <a:gd name="connsiteX23" fmla="*/ 205073 w 237934"/>
                <a:gd name="connsiteY23" fmla="*/ 295656 h 323087"/>
                <a:gd name="connsiteX24" fmla="*/ 119158 w 237934"/>
                <a:gd name="connsiteY24" fmla="*/ 323088 h 323087"/>
                <a:gd name="connsiteX25" fmla="*/ 48958 w 237934"/>
                <a:gd name="connsiteY25" fmla="*/ 308610 h 323087"/>
                <a:gd name="connsiteX26" fmla="*/ 0 w 237934"/>
                <a:gd name="connsiteY26" fmla="*/ 266414 h 32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7934" h="323087">
                  <a:moveTo>
                    <a:pt x="0" y="266414"/>
                  </a:moveTo>
                  <a:lnTo>
                    <a:pt x="43434" y="227552"/>
                  </a:lnTo>
                  <a:cubicBezTo>
                    <a:pt x="54673" y="242411"/>
                    <a:pt x="66675" y="252984"/>
                    <a:pt x="79438" y="259366"/>
                  </a:cubicBezTo>
                  <a:cubicBezTo>
                    <a:pt x="92202" y="265652"/>
                    <a:pt x="105632" y="268891"/>
                    <a:pt x="119729" y="268891"/>
                  </a:cubicBezTo>
                  <a:cubicBezTo>
                    <a:pt x="135636" y="268891"/>
                    <a:pt x="147923" y="265557"/>
                    <a:pt x="156781" y="258794"/>
                  </a:cubicBezTo>
                  <a:cubicBezTo>
                    <a:pt x="165640" y="252031"/>
                    <a:pt x="170021" y="242602"/>
                    <a:pt x="170021" y="230315"/>
                  </a:cubicBezTo>
                  <a:cubicBezTo>
                    <a:pt x="170021" y="220313"/>
                    <a:pt x="165830" y="211836"/>
                    <a:pt x="157543" y="205169"/>
                  </a:cubicBezTo>
                  <a:cubicBezTo>
                    <a:pt x="149162" y="198406"/>
                    <a:pt x="136779" y="193548"/>
                    <a:pt x="120301" y="190500"/>
                  </a:cubicBezTo>
                  <a:cubicBezTo>
                    <a:pt x="79915" y="183452"/>
                    <a:pt x="51721" y="171926"/>
                    <a:pt x="35719" y="156019"/>
                  </a:cubicBezTo>
                  <a:cubicBezTo>
                    <a:pt x="19717" y="140017"/>
                    <a:pt x="11716" y="120301"/>
                    <a:pt x="11716" y="96774"/>
                  </a:cubicBezTo>
                  <a:cubicBezTo>
                    <a:pt x="11716" y="66580"/>
                    <a:pt x="22574" y="42958"/>
                    <a:pt x="44291" y="25813"/>
                  </a:cubicBezTo>
                  <a:cubicBezTo>
                    <a:pt x="66008" y="8668"/>
                    <a:pt x="93345" y="0"/>
                    <a:pt x="126301" y="0"/>
                  </a:cubicBezTo>
                  <a:cubicBezTo>
                    <a:pt x="147447" y="0"/>
                    <a:pt x="167068" y="3715"/>
                    <a:pt x="185356" y="11144"/>
                  </a:cubicBezTo>
                  <a:cubicBezTo>
                    <a:pt x="203644" y="18574"/>
                    <a:pt x="218599" y="29813"/>
                    <a:pt x="230314" y="44863"/>
                  </a:cubicBezTo>
                  <a:lnTo>
                    <a:pt x="188404" y="82867"/>
                  </a:lnTo>
                  <a:cubicBezTo>
                    <a:pt x="179165" y="73247"/>
                    <a:pt x="169545" y="66008"/>
                    <a:pt x="159639" y="61150"/>
                  </a:cubicBezTo>
                  <a:cubicBezTo>
                    <a:pt x="149733" y="56293"/>
                    <a:pt x="137827" y="53911"/>
                    <a:pt x="124206" y="53911"/>
                  </a:cubicBezTo>
                  <a:cubicBezTo>
                    <a:pt x="109538" y="53911"/>
                    <a:pt x="98393" y="57150"/>
                    <a:pt x="90773" y="63532"/>
                  </a:cubicBezTo>
                  <a:cubicBezTo>
                    <a:pt x="83153" y="70009"/>
                    <a:pt x="79343" y="78296"/>
                    <a:pt x="79343" y="88582"/>
                  </a:cubicBezTo>
                  <a:cubicBezTo>
                    <a:pt x="79343" y="98679"/>
                    <a:pt x="83344" y="106490"/>
                    <a:pt x="91250" y="112109"/>
                  </a:cubicBezTo>
                  <a:cubicBezTo>
                    <a:pt x="99155" y="117729"/>
                    <a:pt x="114109" y="122682"/>
                    <a:pt x="136017" y="126873"/>
                  </a:cubicBezTo>
                  <a:cubicBezTo>
                    <a:pt x="170212" y="132683"/>
                    <a:pt x="195739" y="143637"/>
                    <a:pt x="212598" y="159734"/>
                  </a:cubicBezTo>
                  <a:cubicBezTo>
                    <a:pt x="229457" y="175831"/>
                    <a:pt x="237934" y="197072"/>
                    <a:pt x="237934" y="223647"/>
                  </a:cubicBezTo>
                  <a:cubicBezTo>
                    <a:pt x="237934" y="253365"/>
                    <a:pt x="226981" y="277368"/>
                    <a:pt x="205073" y="295656"/>
                  </a:cubicBezTo>
                  <a:cubicBezTo>
                    <a:pt x="183166" y="313944"/>
                    <a:pt x="154496" y="323088"/>
                    <a:pt x="119158" y="323088"/>
                  </a:cubicBezTo>
                  <a:cubicBezTo>
                    <a:pt x="93440" y="323088"/>
                    <a:pt x="70009" y="318230"/>
                    <a:pt x="48958" y="308610"/>
                  </a:cubicBezTo>
                  <a:cubicBezTo>
                    <a:pt x="27718" y="298990"/>
                    <a:pt x="11430" y="284893"/>
                    <a:pt x="0" y="266414"/>
                  </a:cubicBezTo>
                  <a:close/>
                </a:path>
              </a:pathLst>
            </a:custGeom>
            <a:grpFill/>
            <a:ln w="9525" cap="flat">
              <a:noFill/>
              <a:prstDash val="solid"/>
              <a:miter/>
            </a:ln>
          </p:spPr>
          <p:txBody>
            <a:bodyPr rtlCol="0" anchor="ctr"/>
            <a:lstStyle/>
            <a:p>
              <a:pPr lvl="0"/>
              <a:endParaRPr lang="en-US" sz="562"/>
            </a:p>
          </p:txBody>
        </p:sp>
        <p:sp>
          <p:nvSpPr>
            <p:cNvPr id="140" name="Freeform: Shape 139">
              <a:extLst>
                <a:ext uri="{FF2B5EF4-FFF2-40B4-BE49-F238E27FC236}">
                  <a16:creationId xmlns:a16="http://schemas.microsoft.com/office/drawing/2014/main" id="{8B6DD58F-CBDB-6676-A3DE-6583443EC3DA}"/>
                </a:ext>
              </a:extLst>
            </p:cNvPr>
            <p:cNvSpPr/>
            <p:nvPr/>
          </p:nvSpPr>
          <p:spPr>
            <a:xfrm>
              <a:off x="6654831" y="3021996"/>
              <a:ext cx="322611" cy="323278"/>
            </a:xfrm>
            <a:custGeom>
              <a:avLst/>
              <a:gdLst>
                <a:gd name="connsiteX0" fmla="*/ 160020 w 322611"/>
                <a:gd name="connsiteY0" fmla="*/ 323279 h 323278"/>
                <a:gd name="connsiteX1" fmla="*/ 43244 w 322611"/>
                <a:gd name="connsiteY1" fmla="*/ 280130 h 323278"/>
                <a:gd name="connsiteX2" fmla="*/ 0 w 322611"/>
                <a:gd name="connsiteY2" fmla="*/ 164021 h 323278"/>
                <a:gd name="connsiteX3" fmla="*/ 45815 w 322611"/>
                <a:gd name="connsiteY3" fmla="*/ 45053 h 323278"/>
                <a:gd name="connsiteX4" fmla="*/ 164306 w 322611"/>
                <a:gd name="connsiteY4" fmla="*/ 0 h 323278"/>
                <a:gd name="connsiteX5" fmla="*/ 280225 w 322611"/>
                <a:gd name="connsiteY5" fmla="*/ 44291 h 323278"/>
                <a:gd name="connsiteX6" fmla="*/ 322612 w 322611"/>
                <a:gd name="connsiteY6" fmla="*/ 158877 h 323278"/>
                <a:gd name="connsiteX7" fmla="*/ 278035 w 322611"/>
                <a:gd name="connsiteY7" fmla="*/ 276892 h 323278"/>
                <a:gd name="connsiteX8" fmla="*/ 160020 w 322611"/>
                <a:gd name="connsiteY8" fmla="*/ 323279 h 323278"/>
                <a:gd name="connsiteX9" fmla="*/ 162782 w 322611"/>
                <a:gd name="connsiteY9" fmla="*/ 265081 h 323278"/>
                <a:gd name="connsiteX10" fmla="*/ 226219 w 322611"/>
                <a:gd name="connsiteY10" fmla="*/ 236696 h 323278"/>
                <a:gd name="connsiteX11" fmla="*/ 248698 w 322611"/>
                <a:gd name="connsiteY11" fmla="*/ 160687 h 323278"/>
                <a:gd name="connsiteX12" fmla="*/ 226124 w 322611"/>
                <a:gd name="connsiteY12" fmla="*/ 86487 h 323278"/>
                <a:gd name="connsiteX13" fmla="*/ 162496 w 322611"/>
                <a:gd name="connsiteY13" fmla="*/ 58484 h 323278"/>
                <a:gd name="connsiteX14" fmla="*/ 97822 w 322611"/>
                <a:gd name="connsiteY14" fmla="*/ 87440 h 323278"/>
                <a:gd name="connsiteX15" fmla="*/ 73533 w 322611"/>
                <a:gd name="connsiteY15" fmla="*/ 162497 h 323278"/>
                <a:gd name="connsiteX16" fmla="*/ 97536 w 322611"/>
                <a:gd name="connsiteY16" fmla="*/ 237554 h 323278"/>
                <a:gd name="connsiteX17" fmla="*/ 162782 w 322611"/>
                <a:gd name="connsiteY17" fmla="*/ 265081 h 32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2611" h="323278">
                  <a:moveTo>
                    <a:pt x="160020" y="323279"/>
                  </a:moveTo>
                  <a:cubicBezTo>
                    <a:pt x="110966" y="323279"/>
                    <a:pt x="72009" y="308896"/>
                    <a:pt x="43244" y="280130"/>
                  </a:cubicBezTo>
                  <a:cubicBezTo>
                    <a:pt x="14383" y="251365"/>
                    <a:pt x="0" y="212693"/>
                    <a:pt x="0" y="164021"/>
                  </a:cubicBezTo>
                  <a:cubicBezTo>
                    <a:pt x="191" y="114776"/>
                    <a:pt x="15526" y="75152"/>
                    <a:pt x="45815" y="45053"/>
                  </a:cubicBezTo>
                  <a:cubicBezTo>
                    <a:pt x="76200" y="15050"/>
                    <a:pt x="115633" y="0"/>
                    <a:pt x="164306" y="0"/>
                  </a:cubicBezTo>
                  <a:cubicBezTo>
                    <a:pt x="213360" y="0"/>
                    <a:pt x="252032" y="14764"/>
                    <a:pt x="280225" y="44291"/>
                  </a:cubicBezTo>
                  <a:cubicBezTo>
                    <a:pt x="308420" y="73819"/>
                    <a:pt x="322612" y="112014"/>
                    <a:pt x="322612" y="158877"/>
                  </a:cubicBezTo>
                  <a:cubicBezTo>
                    <a:pt x="322612" y="206693"/>
                    <a:pt x="307753" y="246031"/>
                    <a:pt x="278035" y="276892"/>
                  </a:cubicBezTo>
                  <a:cubicBezTo>
                    <a:pt x="248221" y="307848"/>
                    <a:pt x="208883" y="323279"/>
                    <a:pt x="160020" y="323279"/>
                  </a:cubicBezTo>
                  <a:close/>
                  <a:moveTo>
                    <a:pt x="162782" y="265081"/>
                  </a:moveTo>
                  <a:cubicBezTo>
                    <a:pt x="190119" y="265081"/>
                    <a:pt x="211265" y="255651"/>
                    <a:pt x="226219" y="236696"/>
                  </a:cubicBezTo>
                  <a:cubicBezTo>
                    <a:pt x="241173" y="217837"/>
                    <a:pt x="248698" y="192500"/>
                    <a:pt x="248698" y="160687"/>
                  </a:cubicBezTo>
                  <a:cubicBezTo>
                    <a:pt x="248698" y="129921"/>
                    <a:pt x="241173" y="105251"/>
                    <a:pt x="226124" y="86487"/>
                  </a:cubicBezTo>
                  <a:cubicBezTo>
                    <a:pt x="211074" y="67818"/>
                    <a:pt x="189833" y="58484"/>
                    <a:pt x="162496" y="58484"/>
                  </a:cubicBezTo>
                  <a:cubicBezTo>
                    <a:pt x="135541" y="58484"/>
                    <a:pt x="114014" y="68104"/>
                    <a:pt x="97822" y="87440"/>
                  </a:cubicBezTo>
                  <a:cubicBezTo>
                    <a:pt x="81629" y="106775"/>
                    <a:pt x="73533" y="131731"/>
                    <a:pt x="73533" y="162497"/>
                  </a:cubicBezTo>
                  <a:cubicBezTo>
                    <a:pt x="73533" y="194215"/>
                    <a:pt x="81534" y="219266"/>
                    <a:pt x="97536" y="237554"/>
                  </a:cubicBezTo>
                  <a:cubicBezTo>
                    <a:pt x="113443" y="255937"/>
                    <a:pt x="135255" y="265081"/>
                    <a:pt x="162782" y="265081"/>
                  </a:cubicBezTo>
                  <a:close/>
                </a:path>
              </a:pathLst>
            </a:custGeom>
            <a:grpFill/>
            <a:ln w="9525" cap="flat">
              <a:noFill/>
              <a:prstDash val="solid"/>
              <a:miter/>
            </a:ln>
          </p:spPr>
          <p:txBody>
            <a:bodyPr rtlCol="0" anchor="ctr"/>
            <a:lstStyle/>
            <a:p>
              <a:pPr lvl="0"/>
              <a:endParaRPr lang="en-US" sz="562"/>
            </a:p>
          </p:txBody>
        </p:sp>
        <p:sp>
          <p:nvSpPr>
            <p:cNvPr id="141" name="Freeform: Shape 140">
              <a:extLst>
                <a:ext uri="{FF2B5EF4-FFF2-40B4-BE49-F238E27FC236}">
                  <a16:creationId xmlns:a16="http://schemas.microsoft.com/office/drawing/2014/main" id="{3D15C1C4-1403-E374-E2E5-0BBB09801CB4}"/>
                </a:ext>
              </a:extLst>
            </p:cNvPr>
            <p:cNvSpPr/>
            <p:nvPr/>
          </p:nvSpPr>
          <p:spPr>
            <a:xfrm>
              <a:off x="7005351" y="2874073"/>
              <a:ext cx="228314" cy="464057"/>
            </a:xfrm>
            <a:custGeom>
              <a:avLst/>
              <a:gdLst>
                <a:gd name="connsiteX0" fmla="*/ 198596 w 228314"/>
                <a:gd name="connsiteY0" fmla="*/ 68770 h 464057"/>
                <a:gd name="connsiteX1" fmla="*/ 182499 w 228314"/>
                <a:gd name="connsiteY1" fmla="*/ 60769 h 464057"/>
                <a:gd name="connsiteX2" fmla="*/ 164306 w 228314"/>
                <a:gd name="connsiteY2" fmla="*/ 57912 h 464057"/>
                <a:gd name="connsiteX3" fmla="*/ 134588 w 228314"/>
                <a:gd name="connsiteY3" fmla="*/ 70009 h 464057"/>
                <a:gd name="connsiteX4" fmla="*/ 124206 w 228314"/>
                <a:gd name="connsiteY4" fmla="*/ 106204 h 464057"/>
                <a:gd name="connsiteX5" fmla="*/ 124206 w 228314"/>
                <a:gd name="connsiteY5" fmla="*/ 155353 h 464057"/>
                <a:gd name="connsiteX6" fmla="*/ 195644 w 228314"/>
                <a:gd name="connsiteY6" fmla="*/ 155353 h 464057"/>
                <a:gd name="connsiteX7" fmla="*/ 195644 w 228314"/>
                <a:gd name="connsiteY7" fmla="*/ 211455 h 464057"/>
                <a:gd name="connsiteX8" fmla="*/ 124206 w 228314"/>
                <a:gd name="connsiteY8" fmla="*/ 211455 h 464057"/>
                <a:gd name="connsiteX9" fmla="*/ 124206 w 228314"/>
                <a:gd name="connsiteY9" fmla="*/ 464058 h 464057"/>
                <a:gd name="connsiteX10" fmla="*/ 52483 w 228314"/>
                <a:gd name="connsiteY10" fmla="*/ 464058 h 464057"/>
                <a:gd name="connsiteX11" fmla="*/ 52483 w 228314"/>
                <a:gd name="connsiteY11" fmla="*/ 211360 h 464057"/>
                <a:gd name="connsiteX12" fmla="*/ 0 w 228314"/>
                <a:gd name="connsiteY12" fmla="*/ 211360 h 464057"/>
                <a:gd name="connsiteX13" fmla="*/ 0 w 228314"/>
                <a:gd name="connsiteY13" fmla="*/ 155258 h 464057"/>
                <a:gd name="connsiteX14" fmla="*/ 52483 w 228314"/>
                <a:gd name="connsiteY14" fmla="*/ 155258 h 464057"/>
                <a:gd name="connsiteX15" fmla="*/ 52483 w 228314"/>
                <a:gd name="connsiteY15" fmla="*/ 105537 h 464057"/>
                <a:gd name="connsiteX16" fmla="*/ 80963 w 228314"/>
                <a:gd name="connsiteY16" fmla="*/ 28384 h 464057"/>
                <a:gd name="connsiteX17" fmla="*/ 161354 w 228314"/>
                <a:gd name="connsiteY17" fmla="*/ 0 h 464057"/>
                <a:gd name="connsiteX18" fmla="*/ 195739 w 228314"/>
                <a:gd name="connsiteY18" fmla="*/ 4096 h 464057"/>
                <a:gd name="connsiteX19" fmla="*/ 228314 w 228314"/>
                <a:gd name="connsiteY19" fmla="*/ 16573 h 464057"/>
                <a:gd name="connsiteX20" fmla="*/ 198596 w 228314"/>
                <a:gd name="connsiteY20" fmla="*/ 68770 h 46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8314" h="464057">
                  <a:moveTo>
                    <a:pt x="198596" y="68770"/>
                  </a:moveTo>
                  <a:cubicBezTo>
                    <a:pt x="193357" y="65341"/>
                    <a:pt x="188023" y="62674"/>
                    <a:pt x="182499" y="60769"/>
                  </a:cubicBezTo>
                  <a:cubicBezTo>
                    <a:pt x="176974" y="58864"/>
                    <a:pt x="170879" y="57912"/>
                    <a:pt x="164306" y="57912"/>
                  </a:cubicBezTo>
                  <a:cubicBezTo>
                    <a:pt x="151447" y="57912"/>
                    <a:pt x="141541" y="61913"/>
                    <a:pt x="134588" y="70009"/>
                  </a:cubicBezTo>
                  <a:cubicBezTo>
                    <a:pt x="127635" y="78010"/>
                    <a:pt x="124206" y="90106"/>
                    <a:pt x="124206" y="106204"/>
                  </a:cubicBezTo>
                  <a:lnTo>
                    <a:pt x="124206" y="155353"/>
                  </a:lnTo>
                  <a:lnTo>
                    <a:pt x="195644" y="155353"/>
                  </a:lnTo>
                  <a:lnTo>
                    <a:pt x="195644" y="211455"/>
                  </a:lnTo>
                  <a:lnTo>
                    <a:pt x="124206" y="211455"/>
                  </a:lnTo>
                  <a:lnTo>
                    <a:pt x="124206" y="464058"/>
                  </a:lnTo>
                  <a:lnTo>
                    <a:pt x="52483" y="464058"/>
                  </a:lnTo>
                  <a:lnTo>
                    <a:pt x="52483" y="211360"/>
                  </a:lnTo>
                  <a:lnTo>
                    <a:pt x="0" y="211360"/>
                  </a:lnTo>
                  <a:lnTo>
                    <a:pt x="0" y="155258"/>
                  </a:lnTo>
                  <a:lnTo>
                    <a:pt x="52483" y="155258"/>
                  </a:lnTo>
                  <a:lnTo>
                    <a:pt x="52483" y="105537"/>
                  </a:lnTo>
                  <a:cubicBezTo>
                    <a:pt x="52483" y="72962"/>
                    <a:pt x="62008" y="47244"/>
                    <a:pt x="80963" y="28384"/>
                  </a:cubicBezTo>
                  <a:cubicBezTo>
                    <a:pt x="99917" y="9525"/>
                    <a:pt x="126682" y="0"/>
                    <a:pt x="161354" y="0"/>
                  </a:cubicBezTo>
                  <a:cubicBezTo>
                    <a:pt x="173164" y="0"/>
                    <a:pt x="184690" y="1333"/>
                    <a:pt x="195739" y="4096"/>
                  </a:cubicBezTo>
                  <a:cubicBezTo>
                    <a:pt x="206788" y="6763"/>
                    <a:pt x="217646" y="10954"/>
                    <a:pt x="228314" y="16573"/>
                  </a:cubicBezTo>
                  <a:lnTo>
                    <a:pt x="198596" y="68770"/>
                  </a:lnTo>
                  <a:close/>
                </a:path>
              </a:pathLst>
            </a:custGeom>
            <a:grpFill/>
            <a:ln w="9525" cap="flat">
              <a:noFill/>
              <a:prstDash val="solid"/>
              <a:miter/>
            </a:ln>
          </p:spPr>
          <p:txBody>
            <a:bodyPr rtlCol="0" anchor="ctr"/>
            <a:lstStyle/>
            <a:p>
              <a:pPr lvl="0"/>
              <a:endParaRPr lang="en-US" sz="562"/>
            </a:p>
          </p:txBody>
        </p:sp>
        <p:sp>
          <p:nvSpPr>
            <p:cNvPr id="142" name="Freeform: Shape 141">
              <a:extLst>
                <a:ext uri="{FF2B5EF4-FFF2-40B4-BE49-F238E27FC236}">
                  <a16:creationId xmlns:a16="http://schemas.microsoft.com/office/drawing/2014/main" id="{6B21F03E-4396-7E4E-99FB-42504548DA31}"/>
                </a:ext>
              </a:extLst>
            </p:cNvPr>
            <p:cNvSpPr/>
            <p:nvPr/>
          </p:nvSpPr>
          <p:spPr>
            <a:xfrm>
              <a:off x="7197757" y="2941034"/>
              <a:ext cx="215836" cy="404240"/>
            </a:xfrm>
            <a:custGeom>
              <a:avLst/>
              <a:gdLst>
                <a:gd name="connsiteX0" fmla="*/ 215836 w 215836"/>
                <a:gd name="connsiteY0" fmla="*/ 382524 h 404240"/>
                <a:gd name="connsiteX1" fmla="*/ 184309 w 215836"/>
                <a:gd name="connsiteY1" fmla="*/ 398335 h 404240"/>
                <a:gd name="connsiteX2" fmla="*/ 142875 w 215836"/>
                <a:gd name="connsiteY2" fmla="*/ 404241 h 404240"/>
                <a:gd name="connsiteX3" fmla="*/ 74485 w 215836"/>
                <a:gd name="connsiteY3" fmla="*/ 381000 h 404240"/>
                <a:gd name="connsiteX4" fmla="*/ 51530 w 215836"/>
                <a:gd name="connsiteY4" fmla="*/ 313182 h 404240"/>
                <a:gd name="connsiteX5" fmla="*/ 51530 w 215836"/>
                <a:gd name="connsiteY5" fmla="*/ 144399 h 404240"/>
                <a:gd name="connsiteX6" fmla="*/ 0 w 215836"/>
                <a:gd name="connsiteY6" fmla="*/ 144399 h 404240"/>
                <a:gd name="connsiteX7" fmla="*/ 0 w 215836"/>
                <a:gd name="connsiteY7" fmla="*/ 88297 h 404240"/>
                <a:gd name="connsiteX8" fmla="*/ 51530 w 215836"/>
                <a:gd name="connsiteY8" fmla="*/ 88297 h 404240"/>
                <a:gd name="connsiteX9" fmla="*/ 51530 w 215836"/>
                <a:gd name="connsiteY9" fmla="*/ 12668 h 404240"/>
                <a:gd name="connsiteX10" fmla="*/ 123539 w 215836"/>
                <a:gd name="connsiteY10" fmla="*/ 0 h 404240"/>
                <a:gd name="connsiteX11" fmla="*/ 123539 w 215836"/>
                <a:gd name="connsiteY11" fmla="*/ 88297 h 404240"/>
                <a:gd name="connsiteX12" fmla="*/ 202216 w 215836"/>
                <a:gd name="connsiteY12" fmla="*/ 88297 h 404240"/>
                <a:gd name="connsiteX13" fmla="*/ 202216 w 215836"/>
                <a:gd name="connsiteY13" fmla="*/ 144399 h 404240"/>
                <a:gd name="connsiteX14" fmla="*/ 123539 w 215836"/>
                <a:gd name="connsiteY14" fmla="*/ 144399 h 404240"/>
                <a:gd name="connsiteX15" fmla="*/ 123539 w 215836"/>
                <a:gd name="connsiteY15" fmla="*/ 302990 h 404240"/>
                <a:gd name="connsiteX16" fmla="*/ 132588 w 215836"/>
                <a:gd name="connsiteY16" fmla="*/ 336328 h 404240"/>
                <a:gd name="connsiteX17" fmla="*/ 157924 w 215836"/>
                <a:gd name="connsiteY17" fmla="*/ 346996 h 404240"/>
                <a:gd name="connsiteX18" fmla="*/ 174784 w 215836"/>
                <a:gd name="connsiteY18" fmla="*/ 343948 h 404240"/>
                <a:gd name="connsiteX19" fmla="*/ 193453 w 215836"/>
                <a:gd name="connsiteY19" fmla="*/ 333661 h 404240"/>
                <a:gd name="connsiteX20" fmla="*/ 215836 w 215836"/>
                <a:gd name="connsiteY20" fmla="*/ 382524 h 40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836" h="404240">
                  <a:moveTo>
                    <a:pt x="215836" y="382524"/>
                  </a:moveTo>
                  <a:cubicBezTo>
                    <a:pt x="207550" y="389191"/>
                    <a:pt x="197072" y="394430"/>
                    <a:pt x="184309" y="398335"/>
                  </a:cubicBezTo>
                  <a:cubicBezTo>
                    <a:pt x="171545" y="402241"/>
                    <a:pt x="157734" y="404241"/>
                    <a:pt x="142875" y="404241"/>
                  </a:cubicBezTo>
                  <a:cubicBezTo>
                    <a:pt x="112490" y="404241"/>
                    <a:pt x="89725" y="396526"/>
                    <a:pt x="74485" y="381000"/>
                  </a:cubicBezTo>
                  <a:cubicBezTo>
                    <a:pt x="59246" y="365570"/>
                    <a:pt x="51530" y="342900"/>
                    <a:pt x="51530" y="313182"/>
                  </a:cubicBezTo>
                  <a:lnTo>
                    <a:pt x="51530" y="144399"/>
                  </a:lnTo>
                  <a:lnTo>
                    <a:pt x="0" y="144399"/>
                  </a:lnTo>
                  <a:lnTo>
                    <a:pt x="0" y="88297"/>
                  </a:lnTo>
                  <a:lnTo>
                    <a:pt x="51530" y="88297"/>
                  </a:lnTo>
                  <a:lnTo>
                    <a:pt x="51530" y="12668"/>
                  </a:lnTo>
                  <a:lnTo>
                    <a:pt x="123539" y="0"/>
                  </a:lnTo>
                  <a:lnTo>
                    <a:pt x="123539" y="88297"/>
                  </a:lnTo>
                  <a:lnTo>
                    <a:pt x="202216" y="88297"/>
                  </a:lnTo>
                  <a:lnTo>
                    <a:pt x="202216" y="144399"/>
                  </a:lnTo>
                  <a:lnTo>
                    <a:pt x="123539" y="144399"/>
                  </a:lnTo>
                  <a:lnTo>
                    <a:pt x="123539" y="302990"/>
                  </a:lnTo>
                  <a:cubicBezTo>
                    <a:pt x="123539" y="318040"/>
                    <a:pt x="126587" y="329184"/>
                    <a:pt x="132588" y="336328"/>
                  </a:cubicBezTo>
                  <a:cubicBezTo>
                    <a:pt x="138589" y="343472"/>
                    <a:pt x="147066" y="346996"/>
                    <a:pt x="157924" y="346996"/>
                  </a:cubicBezTo>
                  <a:cubicBezTo>
                    <a:pt x="163544" y="346996"/>
                    <a:pt x="169164" y="345948"/>
                    <a:pt x="174784" y="343948"/>
                  </a:cubicBezTo>
                  <a:cubicBezTo>
                    <a:pt x="180403" y="341947"/>
                    <a:pt x="186595" y="338518"/>
                    <a:pt x="193453" y="333661"/>
                  </a:cubicBezTo>
                  <a:lnTo>
                    <a:pt x="215836" y="382524"/>
                  </a:lnTo>
                  <a:close/>
                </a:path>
              </a:pathLst>
            </a:custGeom>
            <a:grpFill/>
            <a:ln w="9525" cap="flat">
              <a:noFill/>
              <a:prstDash val="solid"/>
              <a:miter/>
            </a:ln>
          </p:spPr>
          <p:txBody>
            <a:bodyPr rtlCol="0" anchor="ctr"/>
            <a:lstStyle/>
            <a:p>
              <a:pPr lvl="0"/>
              <a:endParaRPr lang="en-US" sz="562"/>
            </a:p>
          </p:txBody>
        </p:sp>
        <p:sp>
          <p:nvSpPr>
            <p:cNvPr id="143" name="Freeform: Shape 142">
              <a:extLst>
                <a:ext uri="{FF2B5EF4-FFF2-40B4-BE49-F238E27FC236}">
                  <a16:creationId xmlns:a16="http://schemas.microsoft.com/office/drawing/2014/main" id="{7AB93971-2905-607A-19F1-CE54BBD4B3B6}"/>
                </a:ext>
              </a:extLst>
            </p:cNvPr>
            <p:cNvSpPr/>
            <p:nvPr/>
          </p:nvSpPr>
          <p:spPr>
            <a:xfrm>
              <a:off x="4778406" y="3615785"/>
              <a:ext cx="295465" cy="432339"/>
            </a:xfrm>
            <a:custGeom>
              <a:avLst/>
              <a:gdLst>
                <a:gd name="connsiteX0" fmla="*/ 0 w 295465"/>
                <a:gd name="connsiteY0" fmla="*/ 432340 h 432339"/>
                <a:gd name="connsiteX1" fmla="*/ 0 w 295465"/>
                <a:gd name="connsiteY1" fmla="*/ 0 h 432339"/>
                <a:gd name="connsiteX2" fmla="*/ 142018 w 295465"/>
                <a:gd name="connsiteY2" fmla="*/ 0 h 432339"/>
                <a:gd name="connsiteX3" fmla="*/ 243650 w 295465"/>
                <a:gd name="connsiteY3" fmla="*/ 27908 h 432339"/>
                <a:gd name="connsiteX4" fmla="*/ 279178 w 295465"/>
                <a:gd name="connsiteY4" fmla="*/ 107633 h 432339"/>
                <a:gd name="connsiteX5" fmla="*/ 260033 w 295465"/>
                <a:gd name="connsiteY5" fmla="*/ 166116 h 432339"/>
                <a:gd name="connsiteX6" fmla="*/ 211074 w 295465"/>
                <a:gd name="connsiteY6" fmla="*/ 201644 h 432339"/>
                <a:gd name="connsiteX7" fmla="*/ 211074 w 295465"/>
                <a:gd name="connsiteY7" fmla="*/ 202883 h 432339"/>
                <a:gd name="connsiteX8" fmla="*/ 272891 w 295465"/>
                <a:gd name="connsiteY8" fmla="*/ 238125 h 432339"/>
                <a:gd name="connsiteX9" fmla="*/ 295466 w 295465"/>
                <a:gd name="connsiteY9" fmla="*/ 305657 h 432339"/>
                <a:gd name="connsiteX10" fmla="*/ 254794 w 295465"/>
                <a:gd name="connsiteY10" fmla="*/ 397764 h 432339"/>
                <a:gd name="connsiteX11" fmla="*/ 145923 w 295465"/>
                <a:gd name="connsiteY11" fmla="*/ 432245 h 432339"/>
                <a:gd name="connsiteX12" fmla="*/ 0 w 295465"/>
                <a:gd name="connsiteY12" fmla="*/ 432245 h 432339"/>
                <a:gd name="connsiteX13" fmla="*/ 73819 w 295465"/>
                <a:gd name="connsiteY13" fmla="*/ 60008 h 432339"/>
                <a:gd name="connsiteX14" fmla="*/ 73819 w 295465"/>
                <a:gd name="connsiteY14" fmla="*/ 181546 h 432339"/>
                <a:gd name="connsiteX15" fmla="*/ 123539 w 295465"/>
                <a:gd name="connsiteY15" fmla="*/ 181546 h 432339"/>
                <a:gd name="connsiteX16" fmla="*/ 180404 w 295465"/>
                <a:gd name="connsiteY16" fmla="*/ 164973 h 432339"/>
                <a:gd name="connsiteX17" fmla="*/ 201359 w 295465"/>
                <a:gd name="connsiteY17" fmla="*/ 116110 h 432339"/>
                <a:gd name="connsiteX18" fmla="*/ 183833 w 295465"/>
                <a:gd name="connsiteY18" fmla="*/ 74390 h 432339"/>
                <a:gd name="connsiteX19" fmla="*/ 133160 w 295465"/>
                <a:gd name="connsiteY19" fmla="*/ 60103 h 432339"/>
                <a:gd name="connsiteX20" fmla="*/ 73819 w 295465"/>
                <a:gd name="connsiteY20" fmla="*/ 60103 h 432339"/>
                <a:gd name="connsiteX21" fmla="*/ 73819 w 295465"/>
                <a:gd name="connsiteY21" fmla="*/ 240316 h 432339"/>
                <a:gd name="connsiteX22" fmla="*/ 73819 w 295465"/>
                <a:gd name="connsiteY22" fmla="*/ 372332 h 432339"/>
                <a:gd name="connsiteX23" fmla="*/ 135350 w 295465"/>
                <a:gd name="connsiteY23" fmla="*/ 372332 h 432339"/>
                <a:gd name="connsiteX24" fmla="*/ 196406 w 295465"/>
                <a:gd name="connsiteY24" fmla="*/ 354235 h 432339"/>
                <a:gd name="connsiteX25" fmla="*/ 217646 w 295465"/>
                <a:gd name="connsiteY25" fmla="*/ 304800 h 432339"/>
                <a:gd name="connsiteX26" fmla="*/ 195167 w 295465"/>
                <a:gd name="connsiteY26" fmla="*/ 256889 h 432339"/>
                <a:gd name="connsiteX27" fmla="*/ 129635 w 295465"/>
                <a:gd name="connsiteY27" fmla="*/ 240316 h 432339"/>
                <a:gd name="connsiteX28" fmla="*/ 73819 w 295465"/>
                <a:gd name="connsiteY28" fmla="*/ 240316 h 43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5465" h="432339">
                  <a:moveTo>
                    <a:pt x="0" y="432340"/>
                  </a:moveTo>
                  <a:lnTo>
                    <a:pt x="0" y="0"/>
                  </a:lnTo>
                  <a:lnTo>
                    <a:pt x="142018" y="0"/>
                  </a:lnTo>
                  <a:cubicBezTo>
                    <a:pt x="186023" y="0"/>
                    <a:pt x="219932" y="9334"/>
                    <a:pt x="243650" y="27908"/>
                  </a:cubicBezTo>
                  <a:cubicBezTo>
                    <a:pt x="267367" y="46482"/>
                    <a:pt x="279178" y="73057"/>
                    <a:pt x="279178" y="107633"/>
                  </a:cubicBezTo>
                  <a:cubicBezTo>
                    <a:pt x="279178" y="129730"/>
                    <a:pt x="272796" y="149257"/>
                    <a:pt x="260033" y="166116"/>
                  </a:cubicBezTo>
                  <a:cubicBezTo>
                    <a:pt x="247269" y="182975"/>
                    <a:pt x="230981" y="194882"/>
                    <a:pt x="211074" y="201644"/>
                  </a:cubicBezTo>
                  <a:lnTo>
                    <a:pt x="211074" y="202883"/>
                  </a:lnTo>
                  <a:cubicBezTo>
                    <a:pt x="237173" y="207740"/>
                    <a:pt x="257842" y="219456"/>
                    <a:pt x="272891" y="238125"/>
                  </a:cubicBezTo>
                  <a:cubicBezTo>
                    <a:pt x="287941" y="256794"/>
                    <a:pt x="295466" y="279368"/>
                    <a:pt x="295466" y="305657"/>
                  </a:cubicBezTo>
                  <a:cubicBezTo>
                    <a:pt x="295466" y="344043"/>
                    <a:pt x="281940" y="374713"/>
                    <a:pt x="254794" y="397764"/>
                  </a:cubicBezTo>
                  <a:cubicBezTo>
                    <a:pt x="227648" y="420814"/>
                    <a:pt x="191357" y="432245"/>
                    <a:pt x="145923" y="432245"/>
                  </a:cubicBezTo>
                  <a:lnTo>
                    <a:pt x="0" y="432245"/>
                  </a:lnTo>
                  <a:close/>
                  <a:moveTo>
                    <a:pt x="73819" y="60008"/>
                  </a:moveTo>
                  <a:lnTo>
                    <a:pt x="73819" y="181546"/>
                  </a:lnTo>
                  <a:lnTo>
                    <a:pt x="123539" y="181546"/>
                  </a:lnTo>
                  <a:cubicBezTo>
                    <a:pt x="147447" y="181546"/>
                    <a:pt x="166402" y="176022"/>
                    <a:pt x="180404" y="164973"/>
                  </a:cubicBezTo>
                  <a:cubicBezTo>
                    <a:pt x="194405" y="153924"/>
                    <a:pt x="201359" y="137636"/>
                    <a:pt x="201359" y="116110"/>
                  </a:cubicBezTo>
                  <a:cubicBezTo>
                    <a:pt x="201359" y="97822"/>
                    <a:pt x="195548" y="83915"/>
                    <a:pt x="183833" y="74390"/>
                  </a:cubicBezTo>
                  <a:cubicBezTo>
                    <a:pt x="172212" y="64865"/>
                    <a:pt x="155258" y="60103"/>
                    <a:pt x="133160" y="60103"/>
                  </a:cubicBezTo>
                  <a:lnTo>
                    <a:pt x="73819" y="60103"/>
                  </a:lnTo>
                  <a:close/>
                  <a:moveTo>
                    <a:pt x="73819" y="240316"/>
                  </a:moveTo>
                  <a:lnTo>
                    <a:pt x="73819" y="372332"/>
                  </a:lnTo>
                  <a:lnTo>
                    <a:pt x="135350" y="372332"/>
                  </a:lnTo>
                  <a:cubicBezTo>
                    <a:pt x="161925" y="372332"/>
                    <a:pt x="182213" y="366332"/>
                    <a:pt x="196406" y="354235"/>
                  </a:cubicBezTo>
                  <a:cubicBezTo>
                    <a:pt x="210598" y="342138"/>
                    <a:pt x="217646" y="325660"/>
                    <a:pt x="217646" y="304800"/>
                  </a:cubicBezTo>
                  <a:cubicBezTo>
                    <a:pt x="217646" y="283940"/>
                    <a:pt x="210122" y="267938"/>
                    <a:pt x="195167" y="256889"/>
                  </a:cubicBezTo>
                  <a:cubicBezTo>
                    <a:pt x="180213" y="245840"/>
                    <a:pt x="158306" y="240316"/>
                    <a:pt x="129635" y="240316"/>
                  </a:cubicBezTo>
                  <a:lnTo>
                    <a:pt x="73819" y="240316"/>
                  </a:lnTo>
                  <a:close/>
                </a:path>
              </a:pathLst>
            </a:custGeom>
            <a:grpFill/>
            <a:ln w="9525" cap="flat">
              <a:noFill/>
              <a:prstDash val="solid"/>
              <a:miter/>
            </a:ln>
          </p:spPr>
          <p:txBody>
            <a:bodyPr rtlCol="0" anchor="ctr"/>
            <a:lstStyle/>
            <a:p>
              <a:pPr lvl="0"/>
              <a:endParaRPr lang="en-US" sz="562"/>
            </a:p>
          </p:txBody>
        </p:sp>
        <p:sp>
          <p:nvSpPr>
            <p:cNvPr id="145" name="Freeform: Shape 144">
              <a:extLst>
                <a:ext uri="{FF2B5EF4-FFF2-40B4-BE49-F238E27FC236}">
                  <a16:creationId xmlns:a16="http://schemas.microsoft.com/office/drawing/2014/main" id="{49636720-DE55-BC6F-FA94-789D29C2FC45}"/>
                </a:ext>
              </a:extLst>
            </p:cNvPr>
            <p:cNvSpPr/>
            <p:nvPr/>
          </p:nvSpPr>
          <p:spPr>
            <a:xfrm>
              <a:off x="5127307" y="3739419"/>
              <a:ext cx="277082" cy="315944"/>
            </a:xfrm>
            <a:custGeom>
              <a:avLst/>
              <a:gdLst>
                <a:gd name="connsiteX0" fmla="*/ 277082 w 277082"/>
                <a:gd name="connsiteY0" fmla="*/ 308705 h 315944"/>
                <a:gd name="connsiteX1" fmla="*/ 205073 w 277082"/>
                <a:gd name="connsiteY1" fmla="*/ 308705 h 315944"/>
                <a:gd name="connsiteX2" fmla="*/ 205073 w 277082"/>
                <a:gd name="connsiteY2" fmla="*/ 266795 h 315944"/>
                <a:gd name="connsiteX3" fmla="*/ 203549 w 277082"/>
                <a:gd name="connsiteY3" fmla="*/ 266795 h 315944"/>
                <a:gd name="connsiteX4" fmla="*/ 162973 w 277082"/>
                <a:gd name="connsiteY4" fmla="*/ 302514 h 315944"/>
                <a:gd name="connsiteX5" fmla="*/ 109442 w 277082"/>
                <a:gd name="connsiteY5" fmla="*/ 315944 h 315944"/>
                <a:gd name="connsiteX6" fmla="*/ 27623 w 277082"/>
                <a:gd name="connsiteY6" fmla="*/ 283845 h 315944"/>
                <a:gd name="connsiteX7" fmla="*/ 0 w 277082"/>
                <a:gd name="connsiteY7" fmla="*/ 189929 h 315944"/>
                <a:gd name="connsiteX8" fmla="*/ 0 w 277082"/>
                <a:gd name="connsiteY8" fmla="*/ 0 h 315944"/>
                <a:gd name="connsiteX9" fmla="*/ 71723 w 277082"/>
                <a:gd name="connsiteY9" fmla="*/ 0 h 315944"/>
                <a:gd name="connsiteX10" fmla="*/ 71723 w 277082"/>
                <a:gd name="connsiteY10" fmla="*/ 180308 h 315944"/>
                <a:gd name="connsiteX11" fmla="*/ 86487 w 277082"/>
                <a:gd name="connsiteY11" fmla="*/ 238316 h 315944"/>
                <a:gd name="connsiteX12" fmla="*/ 132588 w 277082"/>
                <a:gd name="connsiteY12" fmla="*/ 257746 h 315944"/>
                <a:gd name="connsiteX13" fmla="*/ 184785 w 277082"/>
                <a:gd name="connsiteY13" fmla="*/ 234506 h 315944"/>
                <a:gd name="connsiteX14" fmla="*/ 204978 w 277082"/>
                <a:gd name="connsiteY14" fmla="*/ 176022 h 315944"/>
                <a:gd name="connsiteX15" fmla="*/ 204978 w 277082"/>
                <a:gd name="connsiteY15" fmla="*/ 0 h 315944"/>
                <a:gd name="connsiteX16" fmla="*/ 276987 w 277082"/>
                <a:gd name="connsiteY16" fmla="*/ 0 h 315944"/>
                <a:gd name="connsiteX17" fmla="*/ 276987 w 277082"/>
                <a:gd name="connsiteY17" fmla="*/ 308705 h 31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7082" h="315944">
                  <a:moveTo>
                    <a:pt x="277082" y="308705"/>
                  </a:moveTo>
                  <a:lnTo>
                    <a:pt x="205073" y="308705"/>
                  </a:lnTo>
                  <a:lnTo>
                    <a:pt x="205073" y="266795"/>
                  </a:lnTo>
                  <a:lnTo>
                    <a:pt x="203549" y="266795"/>
                  </a:lnTo>
                  <a:cubicBezTo>
                    <a:pt x="193739" y="281654"/>
                    <a:pt x="180213" y="293561"/>
                    <a:pt x="162973" y="302514"/>
                  </a:cubicBezTo>
                  <a:cubicBezTo>
                    <a:pt x="145828" y="311467"/>
                    <a:pt x="127921" y="315944"/>
                    <a:pt x="109442" y="315944"/>
                  </a:cubicBezTo>
                  <a:cubicBezTo>
                    <a:pt x="73247" y="315944"/>
                    <a:pt x="46006" y="305276"/>
                    <a:pt x="27623" y="283845"/>
                  </a:cubicBezTo>
                  <a:cubicBezTo>
                    <a:pt x="9239" y="262414"/>
                    <a:pt x="0" y="231172"/>
                    <a:pt x="0" y="189929"/>
                  </a:cubicBezTo>
                  <a:lnTo>
                    <a:pt x="0" y="0"/>
                  </a:lnTo>
                  <a:lnTo>
                    <a:pt x="71723" y="0"/>
                  </a:lnTo>
                  <a:lnTo>
                    <a:pt x="71723" y="180308"/>
                  </a:lnTo>
                  <a:cubicBezTo>
                    <a:pt x="71723" y="206026"/>
                    <a:pt x="76676" y="225362"/>
                    <a:pt x="86487" y="238316"/>
                  </a:cubicBezTo>
                  <a:cubicBezTo>
                    <a:pt x="96298" y="251270"/>
                    <a:pt x="111728" y="257746"/>
                    <a:pt x="132588" y="257746"/>
                  </a:cubicBezTo>
                  <a:cubicBezTo>
                    <a:pt x="153924" y="257746"/>
                    <a:pt x="171260" y="250031"/>
                    <a:pt x="184785" y="234506"/>
                  </a:cubicBezTo>
                  <a:cubicBezTo>
                    <a:pt x="198215" y="219075"/>
                    <a:pt x="204978" y="199549"/>
                    <a:pt x="204978" y="176022"/>
                  </a:cubicBezTo>
                  <a:lnTo>
                    <a:pt x="204978" y="0"/>
                  </a:lnTo>
                  <a:lnTo>
                    <a:pt x="276987" y="0"/>
                  </a:lnTo>
                  <a:lnTo>
                    <a:pt x="276987" y="308705"/>
                  </a:lnTo>
                  <a:close/>
                </a:path>
              </a:pathLst>
            </a:custGeom>
            <a:grpFill/>
            <a:ln w="9525" cap="flat">
              <a:noFill/>
              <a:prstDash val="solid"/>
              <a:miter/>
            </a:ln>
          </p:spPr>
          <p:txBody>
            <a:bodyPr rtlCol="0" anchor="ctr"/>
            <a:lstStyle/>
            <a:p>
              <a:pPr lvl="0"/>
              <a:endParaRPr lang="en-US" sz="562"/>
            </a:p>
          </p:txBody>
        </p:sp>
        <p:sp>
          <p:nvSpPr>
            <p:cNvPr id="146" name="Freeform: Shape 145">
              <a:extLst>
                <a:ext uri="{FF2B5EF4-FFF2-40B4-BE49-F238E27FC236}">
                  <a16:creationId xmlns:a16="http://schemas.microsoft.com/office/drawing/2014/main" id="{97B056FE-D70E-333D-9338-AE3F2F9008B5}"/>
                </a:ext>
              </a:extLst>
            </p:cNvPr>
            <p:cNvSpPr/>
            <p:nvPr/>
          </p:nvSpPr>
          <p:spPr>
            <a:xfrm>
              <a:off x="5474112" y="3595497"/>
              <a:ext cx="89344" cy="452627"/>
            </a:xfrm>
            <a:custGeom>
              <a:avLst/>
              <a:gdLst>
                <a:gd name="connsiteX0" fmla="*/ 44387 w 89344"/>
                <a:gd name="connsiteY0" fmla="*/ 86296 h 452627"/>
                <a:gd name="connsiteX1" fmla="*/ 12383 w 89344"/>
                <a:gd name="connsiteY1" fmla="*/ 73438 h 452627"/>
                <a:gd name="connsiteX2" fmla="*/ 0 w 89344"/>
                <a:gd name="connsiteY2" fmla="*/ 42862 h 452627"/>
                <a:gd name="connsiteX3" fmla="*/ 12383 w 89344"/>
                <a:gd name="connsiteY3" fmla="*/ 12382 h 452627"/>
                <a:gd name="connsiteX4" fmla="*/ 44387 w 89344"/>
                <a:gd name="connsiteY4" fmla="*/ 0 h 452627"/>
                <a:gd name="connsiteX5" fmla="*/ 76962 w 89344"/>
                <a:gd name="connsiteY5" fmla="*/ 12382 h 452627"/>
                <a:gd name="connsiteX6" fmla="*/ 89344 w 89344"/>
                <a:gd name="connsiteY6" fmla="*/ 43148 h 452627"/>
                <a:gd name="connsiteX7" fmla="*/ 76962 w 89344"/>
                <a:gd name="connsiteY7" fmla="*/ 73914 h 452627"/>
                <a:gd name="connsiteX8" fmla="*/ 44387 w 89344"/>
                <a:gd name="connsiteY8" fmla="*/ 86296 h 452627"/>
                <a:gd name="connsiteX9" fmla="*/ 80296 w 89344"/>
                <a:gd name="connsiteY9" fmla="*/ 452628 h 452627"/>
                <a:gd name="connsiteX10" fmla="*/ 8287 w 89344"/>
                <a:gd name="connsiteY10" fmla="*/ 452628 h 452627"/>
                <a:gd name="connsiteX11" fmla="*/ 8287 w 89344"/>
                <a:gd name="connsiteY11" fmla="*/ 143923 h 452627"/>
                <a:gd name="connsiteX12" fmla="*/ 80296 w 89344"/>
                <a:gd name="connsiteY12" fmla="*/ 143923 h 452627"/>
                <a:gd name="connsiteX13" fmla="*/ 80296 w 89344"/>
                <a:gd name="connsiteY13" fmla="*/ 452628 h 45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344" h="452627">
                  <a:moveTo>
                    <a:pt x="44387" y="86296"/>
                  </a:moveTo>
                  <a:cubicBezTo>
                    <a:pt x="31337" y="86296"/>
                    <a:pt x="20669" y="82010"/>
                    <a:pt x="12383" y="73438"/>
                  </a:cubicBezTo>
                  <a:cubicBezTo>
                    <a:pt x="4191" y="64865"/>
                    <a:pt x="0" y="54673"/>
                    <a:pt x="0" y="42862"/>
                  </a:cubicBezTo>
                  <a:cubicBezTo>
                    <a:pt x="0" y="30766"/>
                    <a:pt x="4096" y="20669"/>
                    <a:pt x="12383" y="12382"/>
                  </a:cubicBezTo>
                  <a:cubicBezTo>
                    <a:pt x="20574" y="4191"/>
                    <a:pt x="31242" y="0"/>
                    <a:pt x="44387" y="0"/>
                  </a:cubicBezTo>
                  <a:cubicBezTo>
                    <a:pt x="57817" y="0"/>
                    <a:pt x="68675" y="4096"/>
                    <a:pt x="76962" y="12382"/>
                  </a:cubicBezTo>
                  <a:cubicBezTo>
                    <a:pt x="85154" y="20669"/>
                    <a:pt x="89344" y="30861"/>
                    <a:pt x="89344" y="43148"/>
                  </a:cubicBezTo>
                  <a:cubicBezTo>
                    <a:pt x="89344" y="55435"/>
                    <a:pt x="85249" y="65627"/>
                    <a:pt x="76962" y="73914"/>
                  </a:cubicBezTo>
                  <a:cubicBezTo>
                    <a:pt x="68675" y="82201"/>
                    <a:pt x="57817" y="86296"/>
                    <a:pt x="44387" y="86296"/>
                  </a:cubicBezTo>
                  <a:close/>
                  <a:moveTo>
                    <a:pt x="80296" y="452628"/>
                  </a:moveTo>
                  <a:lnTo>
                    <a:pt x="8287" y="452628"/>
                  </a:lnTo>
                  <a:lnTo>
                    <a:pt x="8287" y="143923"/>
                  </a:lnTo>
                  <a:lnTo>
                    <a:pt x="80296" y="143923"/>
                  </a:lnTo>
                  <a:lnTo>
                    <a:pt x="80296" y="452628"/>
                  </a:lnTo>
                  <a:close/>
                </a:path>
              </a:pathLst>
            </a:custGeom>
            <a:grpFill/>
            <a:ln w="9525" cap="flat">
              <a:noFill/>
              <a:prstDash val="solid"/>
              <a:miter/>
            </a:ln>
          </p:spPr>
          <p:txBody>
            <a:bodyPr rtlCol="0" anchor="ctr"/>
            <a:lstStyle/>
            <a:p>
              <a:pPr lvl="0"/>
              <a:endParaRPr lang="en-US" sz="562"/>
            </a:p>
          </p:txBody>
        </p:sp>
        <p:sp>
          <p:nvSpPr>
            <p:cNvPr id="147" name="Freeform: Shape 146">
              <a:extLst>
                <a:ext uri="{FF2B5EF4-FFF2-40B4-BE49-F238E27FC236}">
                  <a16:creationId xmlns:a16="http://schemas.microsoft.com/office/drawing/2014/main" id="{5E1CFC15-7A7E-EE7A-2911-5D04489B5C4B}"/>
                </a:ext>
              </a:extLst>
            </p:cNvPr>
            <p:cNvSpPr/>
            <p:nvPr/>
          </p:nvSpPr>
          <p:spPr>
            <a:xfrm>
              <a:off x="5632608" y="3591115"/>
              <a:ext cx="72009" cy="457009"/>
            </a:xfrm>
            <a:custGeom>
              <a:avLst/>
              <a:gdLst>
                <a:gd name="connsiteX0" fmla="*/ 0 w 72009"/>
                <a:gd name="connsiteY0" fmla="*/ 457010 h 457009"/>
                <a:gd name="connsiteX1" fmla="*/ 0 w 72009"/>
                <a:gd name="connsiteY1" fmla="*/ 0 h 457009"/>
                <a:gd name="connsiteX2" fmla="*/ 72009 w 72009"/>
                <a:gd name="connsiteY2" fmla="*/ 0 h 457009"/>
                <a:gd name="connsiteX3" fmla="*/ 72009 w 72009"/>
                <a:gd name="connsiteY3" fmla="*/ 457010 h 457009"/>
                <a:gd name="connsiteX4" fmla="*/ 0 w 72009"/>
                <a:gd name="connsiteY4" fmla="*/ 457010 h 45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9" h="457009">
                  <a:moveTo>
                    <a:pt x="0" y="457010"/>
                  </a:moveTo>
                  <a:lnTo>
                    <a:pt x="0" y="0"/>
                  </a:lnTo>
                  <a:lnTo>
                    <a:pt x="72009" y="0"/>
                  </a:lnTo>
                  <a:lnTo>
                    <a:pt x="72009" y="457010"/>
                  </a:lnTo>
                  <a:lnTo>
                    <a:pt x="0" y="457010"/>
                  </a:lnTo>
                  <a:close/>
                </a:path>
              </a:pathLst>
            </a:custGeom>
            <a:grpFill/>
            <a:ln w="9525" cap="flat">
              <a:noFill/>
              <a:prstDash val="solid"/>
              <a:miter/>
            </a:ln>
          </p:spPr>
          <p:txBody>
            <a:bodyPr rtlCol="0" anchor="ctr"/>
            <a:lstStyle/>
            <a:p>
              <a:pPr lvl="0"/>
              <a:endParaRPr lang="en-US" sz="562"/>
            </a:p>
          </p:txBody>
        </p:sp>
        <p:sp>
          <p:nvSpPr>
            <p:cNvPr id="148" name="Freeform: Shape 147">
              <a:extLst>
                <a:ext uri="{FF2B5EF4-FFF2-40B4-BE49-F238E27FC236}">
                  <a16:creationId xmlns:a16="http://schemas.microsoft.com/office/drawing/2014/main" id="{643111E7-438F-EC3A-8FF4-73D47A7F1108}"/>
                </a:ext>
              </a:extLst>
            </p:cNvPr>
            <p:cNvSpPr/>
            <p:nvPr/>
          </p:nvSpPr>
          <p:spPr>
            <a:xfrm>
              <a:off x="5763006" y="3591020"/>
              <a:ext cx="307181" cy="464248"/>
            </a:xfrm>
            <a:custGeom>
              <a:avLst/>
              <a:gdLst>
                <a:gd name="connsiteX0" fmla="*/ 233934 w 307181"/>
                <a:gd name="connsiteY0" fmla="*/ 414242 h 464248"/>
                <a:gd name="connsiteX1" fmla="*/ 191548 w 307181"/>
                <a:gd name="connsiteY1" fmla="*/ 451580 h 464248"/>
                <a:gd name="connsiteX2" fmla="*/ 133255 w 307181"/>
                <a:gd name="connsiteY2" fmla="*/ 464248 h 464248"/>
                <a:gd name="connsiteX3" fmla="*/ 35719 w 307181"/>
                <a:gd name="connsiteY3" fmla="*/ 423100 h 464248"/>
                <a:gd name="connsiteX4" fmla="*/ 0 w 307181"/>
                <a:gd name="connsiteY4" fmla="*/ 309944 h 464248"/>
                <a:gd name="connsiteX5" fmla="*/ 39910 w 307181"/>
                <a:gd name="connsiteY5" fmla="*/ 186785 h 464248"/>
                <a:gd name="connsiteX6" fmla="*/ 146494 w 307181"/>
                <a:gd name="connsiteY6" fmla="*/ 141065 h 464248"/>
                <a:gd name="connsiteX7" fmla="*/ 198691 w 307181"/>
                <a:gd name="connsiteY7" fmla="*/ 152686 h 464248"/>
                <a:gd name="connsiteX8" fmla="*/ 233934 w 307181"/>
                <a:gd name="connsiteY8" fmla="*/ 181451 h 464248"/>
                <a:gd name="connsiteX9" fmla="*/ 235172 w 307181"/>
                <a:gd name="connsiteY9" fmla="*/ 181451 h 464248"/>
                <a:gd name="connsiteX10" fmla="*/ 235172 w 307181"/>
                <a:gd name="connsiteY10" fmla="*/ 0 h 464248"/>
                <a:gd name="connsiteX11" fmla="*/ 307181 w 307181"/>
                <a:gd name="connsiteY11" fmla="*/ 0 h 464248"/>
                <a:gd name="connsiteX12" fmla="*/ 307181 w 307181"/>
                <a:gd name="connsiteY12" fmla="*/ 457105 h 464248"/>
                <a:gd name="connsiteX13" fmla="*/ 235172 w 307181"/>
                <a:gd name="connsiteY13" fmla="*/ 457105 h 464248"/>
                <a:gd name="connsiteX14" fmla="*/ 235172 w 307181"/>
                <a:gd name="connsiteY14" fmla="*/ 414337 h 464248"/>
                <a:gd name="connsiteX15" fmla="*/ 233934 w 307181"/>
                <a:gd name="connsiteY15" fmla="*/ 414337 h 464248"/>
                <a:gd name="connsiteX16" fmla="*/ 73533 w 307181"/>
                <a:gd name="connsiteY16" fmla="*/ 307277 h 464248"/>
                <a:gd name="connsiteX17" fmla="*/ 94678 w 307181"/>
                <a:gd name="connsiteY17" fmla="*/ 379762 h 464248"/>
                <a:gd name="connsiteX18" fmla="*/ 152876 w 307181"/>
                <a:gd name="connsiteY18" fmla="*/ 406146 h 464248"/>
                <a:gd name="connsiteX19" fmla="*/ 213360 w 307181"/>
                <a:gd name="connsiteY19" fmla="*/ 379952 h 464248"/>
                <a:gd name="connsiteX20" fmla="*/ 236125 w 307181"/>
                <a:gd name="connsiteY20" fmla="*/ 312420 h 464248"/>
                <a:gd name="connsiteX21" fmla="*/ 236125 w 307181"/>
                <a:gd name="connsiteY21" fmla="*/ 277749 h 464248"/>
                <a:gd name="connsiteX22" fmla="*/ 214312 w 307181"/>
                <a:gd name="connsiteY22" fmla="*/ 221932 h 464248"/>
                <a:gd name="connsiteX23" fmla="*/ 157448 w 307181"/>
                <a:gd name="connsiteY23" fmla="*/ 199358 h 464248"/>
                <a:gd name="connsiteX24" fmla="*/ 96107 w 307181"/>
                <a:gd name="connsiteY24" fmla="*/ 227552 h 464248"/>
                <a:gd name="connsiteX25" fmla="*/ 73533 w 307181"/>
                <a:gd name="connsiteY25" fmla="*/ 307277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7181" h="464248">
                  <a:moveTo>
                    <a:pt x="233934" y="414242"/>
                  </a:moveTo>
                  <a:cubicBezTo>
                    <a:pt x="222694" y="430720"/>
                    <a:pt x="208598" y="443198"/>
                    <a:pt x="191548" y="451580"/>
                  </a:cubicBezTo>
                  <a:cubicBezTo>
                    <a:pt x="174593" y="460057"/>
                    <a:pt x="155067" y="464248"/>
                    <a:pt x="133255" y="464248"/>
                  </a:cubicBezTo>
                  <a:cubicBezTo>
                    <a:pt x="92011" y="464248"/>
                    <a:pt x="59531" y="450532"/>
                    <a:pt x="35719" y="423100"/>
                  </a:cubicBezTo>
                  <a:cubicBezTo>
                    <a:pt x="11906" y="395669"/>
                    <a:pt x="0" y="357949"/>
                    <a:pt x="0" y="309944"/>
                  </a:cubicBezTo>
                  <a:cubicBezTo>
                    <a:pt x="0" y="258318"/>
                    <a:pt x="13335" y="217265"/>
                    <a:pt x="39910" y="186785"/>
                  </a:cubicBezTo>
                  <a:cubicBezTo>
                    <a:pt x="66580" y="156305"/>
                    <a:pt x="102013" y="141065"/>
                    <a:pt x="146494" y="141065"/>
                  </a:cubicBezTo>
                  <a:cubicBezTo>
                    <a:pt x="165830" y="141065"/>
                    <a:pt x="183166" y="144970"/>
                    <a:pt x="198691" y="152686"/>
                  </a:cubicBezTo>
                  <a:cubicBezTo>
                    <a:pt x="214122" y="160401"/>
                    <a:pt x="225933" y="170021"/>
                    <a:pt x="233934" y="181451"/>
                  </a:cubicBezTo>
                  <a:lnTo>
                    <a:pt x="235172" y="181451"/>
                  </a:lnTo>
                  <a:lnTo>
                    <a:pt x="235172" y="0"/>
                  </a:lnTo>
                  <a:lnTo>
                    <a:pt x="307181" y="0"/>
                  </a:lnTo>
                  <a:lnTo>
                    <a:pt x="307181" y="457105"/>
                  </a:lnTo>
                  <a:lnTo>
                    <a:pt x="235172" y="457105"/>
                  </a:lnTo>
                  <a:lnTo>
                    <a:pt x="235172" y="414337"/>
                  </a:lnTo>
                  <a:lnTo>
                    <a:pt x="233934" y="414337"/>
                  </a:lnTo>
                  <a:close/>
                  <a:moveTo>
                    <a:pt x="73533" y="307277"/>
                  </a:moveTo>
                  <a:cubicBezTo>
                    <a:pt x="73533" y="338042"/>
                    <a:pt x="80581" y="362236"/>
                    <a:pt x="94678" y="379762"/>
                  </a:cubicBezTo>
                  <a:cubicBezTo>
                    <a:pt x="108776" y="397383"/>
                    <a:pt x="128111" y="406146"/>
                    <a:pt x="152876" y="406146"/>
                  </a:cubicBezTo>
                  <a:cubicBezTo>
                    <a:pt x="178022" y="406146"/>
                    <a:pt x="198120" y="397383"/>
                    <a:pt x="213360" y="379952"/>
                  </a:cubicBezTo>
                  <a:cubicBezTo>
                    <a:pt x="228505" y="362426"/>
                    <a:pt x="236125" y="339947"/>
                    <a:pt x="236125" y="312420"/>
                  </a:cubicBezTo>
                  <a:lnTo>
                    <a:pt x="236125" y="277749"/>
                  </a:lnTo>
                  <a:cubicBezTo>
                    <a:pt x="236125" y="255651"/>
                    <a:pt x="228790" y="237077"/>
                    <a:pt x="214312" y="221932"/>
                  </a:cubicBezTo>
                  <a:cubicBezTo>
                    <a:pt x="199739" y="206883"/>
                    <a:pt x="180785" y="199358"/>
                    <a:pt x="157448" y="199358"/>
                  </a:cubicBezTo>
                  <a:cubicBezTo>
                    <a:pt x="131540" y="199358"/>
                    <a:pt x="111061" y="208788"/>
                    <a:pt x="96107" y="227552"/>
                  </a:cubicBezTo>
                  <a:cubicBezTo>
                    <a:pt x="81058" y="246316"/>
                    <a:pt x="73533" y="272891"/>
                    <a:pt x="73533" y="307277"/>
                  </a:cubicBezTo>
                  <a:close/>
                </a:path>
              </a:pathLst>
            </a:custGeom>
            <a:grpFill/>
            <a:ln w="9525" cap="flat">
              <a:noFill/>
              <a:prstDash val="solid"/>
              <a:miter/>
            </a:ln>
          </p:spPr>
          <p:txBody>
            <a:bodyPr rtlCol="0" anchor="ctr"/>
            <a:lstStyle/>
            <a:p>
              <a:pPr lvl="0"/>
              <a:endParaRPr lang="en-US" sz="562"/>
            </a:p>
          </p:txBody>
        </p:sp>
      </p:grpSp>
      <p:pic>
        <p:nvPicPr>
          <p:cNvPr id="149" name="MS logo white - EMF" descr="Microsoft logo white text version">
            <a:extLst>
              <a:ext uri="{FF2B5EF4-FFF2-40B4-BE49-F238E27FC236}">
                <a16:creationId xmlns:a16="http://schemas.microsoft.com/office/drawing/2014/main" id="{CF1BCD0B-B70D-1811-3610-C5E7B49A930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8904" y="585789"/>
            <a:ext cx="1113236" cy="292608"/>
          </a:xfrm>
          <a:prstGeom prst="rect">
            <a:avLst/>
          </a:prstGeom>
        </p:spPr>
      </p:pic>
    </p:spTree>
    <p:extLst>
      <p:ext uri="{BB962C8B-B14F-4D97-AF65-F5344CB8AC3E}">
        <p14:creationId xmlns:p14="http://schemas.microsoft.com/office/powerpoint/2010/main" val="809587805"/>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735483550"/>
      </p:ext>
    </p:extLst>
  </p:cSld>
  <p:clrMapOvr>
    <a:masterClrMapping/>
  </p:clrMapOvr>
  <p:transition>
    <p:fade/>
  </p:transition>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Only">
  <p:cSld name="Title Only_N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0C2C4-9465-E7E0-7BE9-86A26DFC42F2}"/>
              </a:ext>
            </a:extLst>
          </p:cNvPr>
          <p:cNvSpPr>
            <a:spLocks noGrp="1"/>
          </p:cNvSpPr>
          <p:nvPr>
            <p:ph type="title"/>
          </p:nvPr>
        </p:nvSpPr>
        <p:spPr>
          <a:xfrm>
            <a:off x="500856" y="951639"/>
            <a:ext cx="5595144" cy="802903"/>
          </a:xfrm>
        </p:spPr>
        <p:txBody>
          <a:bodyPr vert="horz" lIns="0" tIns="45720" rIns="0" bIns="45720" rtlCol="0" anchor="t">
            <a:noAutofit/>
          </a:bodyPr>
          <a:lstStyle>
            <a:lvl1pPr>
              <a:defRPr lang="en-US" sz="2800" dirty="0">
                <a:latin typeface="+mj-lt"/>
              </a:defRPr>
            </a:lvl1pPr>
          </a:lstStyle>
          <a:p>
            <a:pPr marL="0" lvl="0">
              <a:spcBef>
                <a:spcPts val="1200"/>
              </a:spcBef>
              <a:spcAft>
                <a:spcPts val="600"/>
              </a:spcAft>
            </a:pPr>
            <a:r>
              <a:rPr lang="en-US"/>
              <a:t>Click to edit Master title style</a:t>
            </a:r>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2564510"/>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79935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cstate="screen">
            <a:alphaModFix amt="46000"/>
            <a:extLst>
              <a:ext uri="{28A0092B-C50C-407E-A947-70E740481C1C}">
                <a14:useLocalDpi xmlns:a14="http://schemas.microsoft.com/office/drawing/2010/main"/>
              </a:ext>
            </a:extLst>
          </a:blip>
          <a:srcRect l="10595" t="987" r="10595"/>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01686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35496246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1_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1643516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and Three Contents, with headers">
    <p:spTree>
      <p:nvGrpSpPr>
        <p:cNvPr id="1" name=""/>
        <p:cNvGrpSpPr/>
        <p:nvPr/>
      </p:nvGrpSpPr>
      <p:grpSpPr>
        <a:xfrm>
          <a:off x="0" y="0"/>
          <a:ext cx="0" cy="0"/>
          <a:chOff x="0" y="0"/>
          <a:chExt cx="0" cy="0"/>
        </a:xfrm>
      </p:grpSpPr>
      <p:pic>
        <p:nvPicPr>
          <p:cNvPr id="7" name="Picture 6" descr="A blurry image of a person's hand&#10;&#10;Description automatically generated">
            <a:extLst>
              <a:ext uri="{FF2B5EF4-FFF2-40B4-BE49-F238E27FC236}">
                <a16:creationId xmlns:a16="http://schemas.microsoft.com/office/drawing/2014/main" id="{093B630B-98F0-A558-44D6-C08F95FB3C1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75"/>
                    </a14:imgEffect>
                  </a14:imgLayer>
                </a14:imgProps>
              </a:ext>
              <a:ext uri="{28A0092B-C50C-407E-A947-70E740481C1C}">
                <a14:useLocalDpi xmlns:a14="http://schemas.microsoft.com/office/drawing/2010/main"/>
              </a:ext>
            </a:extLst>
          </a:blip>
          <a:srcRect t="2407"/>
          <a:stretch/>
        </p:blipFill>
        <p:spPr>
          <a:xfrm>
            <a:off x="0" y="0"/>
            <a:ext cx="12192000" cy="6718300"/>
          </a:xfrm>
          <a:prstGeom prst="rect">
            <a:avLst/>
          </a:prstGeom>
        </p:spPr>
      </p:pic>
      <p:sp>
        <p:nvSpPr>
          <p:cNvPr id="13" name="Rectangle: Rounded Corners 12">
            <a:extLst>
              <a:ext uri="{FF2B5EF4-FFF2-40B4-BE49-F238E27FC236}">
                <a16:creationId xmlns:a16="http://schemas.microsoft.com/office/drawing/2014/main" id="{2F97E769-CE7C-834C-6E78-FACC556A247F}"/>
              </a:ext>
            </a:extLst>
          </p:cNvPr>
          <p:cNvSpPr/>
          <p:nvPr userDrawn="1"/>
        </p:nvSpPr>
        <p:spPr>
          <a:xfrm>
            <a:off x="54927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Content Placeholder 9">
            <a:extLst>
              <a:ext uri="{FF2B5EF4-FFF2-40B4-BE49-F238E27FC236}">
                <a16:creationId xmlns:a16="http://schemas.microsoft.com/office/drawing/2014/main" id="{2C728C39-0419-E964-E346-BE537CF07099}"/>
              </a:ext>
            </a:extLst>
          </p:cNvPr>
          <p:cNvSpPr>
            <a:spLocks noGrp="1"/>
          </p:cNvSpPr>
          <p:nvPr>
            <p:ph sz="quarter" idx="16"/>
          </p:nvPr>
        </p:nvSpPr>
        <p:spPr>
          <a:xfrm>
            <a:off x="82296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A17C1B5-8C73-489B-B527-0AEF26BAC008}"/>
              </a:ext>
            </a:extLst>
          </p:cNvPr>
          <p:cNvSpPr>
            <a:spLocks noGrp="1"/>
          </p:cNvSpPr>
          <p:nvPr>
            <p:ph type="title"/>
          </p:nvPr>
        </p:nvSpPr>
        <p:spPr/>
        <p:txBody>
          <a:bodyPr/>
          <a:lstStyle/>
          <a:p>
            <a:r>
              <a:rPr lang="en-US"/>
              <a:t>Click to edit Master title style</a:t>
            </a:r>
          </a:p>
        </p:txBody>
      </p:sp>
      <p:sp>
        <p:nvSpPr>
          <p:cNvPr id="6" name="Footer Placeholder 5">
            <a:extLst>
              <a:ext uri="{FF2B5EF4-FFF2-40B4-BE49-F238E27FC236}">
                <a16:creationId xmlns:a16="http://schemas.microsoft.com/office/drawing/2014/main" id="{B9370407-EBCA-77DD-F103-9EE016845C78}"/>
              </a:ext>
            </a:extLst>
          </p:cNvPr>
          <p:cNvSpPr>
            <a:spLocks noGrp="1"/>
          </p:cNvSpPr>
          <p:nvPr>
            <p:ph type="ftr" sz="quarter" idx="11"/>
          </p:nvPr>
        </p:nvSpPr>
        <p:spPr>
          <a:xfrm>
            <a:off x="549274" y="6341190"/>
            <a:ext cx="5480051" cy="246221"/>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rPr>
              <a:t>© Copyright Microsoft Corporation. All rights reserved.</a:t>
            </a:r>
          </a:p>
        </p:txBody>
      </p:sp>
      <p:sp>
        <p:nvSpPr>
          <p:cNvPr id="8" name="Slide Number Placeholder 7">
            <a:extLst>
              <a:ext uri="{FF2B5EF4-FFF2-40B4-BE49-F238E27FC236}">
                <a16:creationId xmlns:a16="http://schemas.microsoft.com/office/drawing/2014/main" id="{5CA02BBB-A5DB-8DFB-47F1-494DD1C45354}"/>
              </a:ext>
            </a:extLst>
          </p:cNvPr>
          <p:cNvSpPr>
            <a:spLocks noGrp="1"/>
          </p:cNvSpPr>
          <p:nvPr>
            <p:ph type="sldNum" sz="quarter" idx="12"/>
          </p:nvPr>
        </p:nvSpPr>
        <p:spPr>
          <a:xfrm>
            <a:off x="9904413" y="6331904"/>
            <a:ext cx="1734079" cy="24622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sp>
        <p:nvSpPr>
          <p:cNvPr id="10" name="Content Placeholder 9">
            <a:extLst>
              <a:ext uri="{FF2B5EF4-FFF2-40B4-BE49-F238E27FC236}">
                <a16:creationId xmlns:a16="http://schemas.microsoft.com/office/drawing/2014/main" id="{11280968-7614-5E59-F463-E4CC029276B5}"/>
              </a:ext>
            </a:extLst>
          </p:cNvPr>
          <p:cNvSpPr>
            <a:spLocks noGrp="1"/>
          </p:cNvSpPr>
          <p:nvPr>
            <p:ph sz="quarter" idx="13"/>
          </p:nvPr>
        </p:nvSpPr>
        <p:spPr>
          <a:xfrm>
            <a:off x="82296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7A4E2FA7-78F4-CE92-D223-8C014E6AE8EC}"/>
              </a:ext>
            </a:extLst>
          </p:cNvPr>
          <p:cNvSpPr/>
          <p:nvPr userDrawn="1"/>
        </p:nvSpPr>
        <p:spPr>
          <a:xfrm>
            <a:off x="4292600"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Content Placeholder 9">
            <a:extLst>
              <a:ext uri="{FF2B5EF4-FFF2-40B4-BE49-F238E27FC236}">
                <a16:creationId xmlns:a16="http://schemas.microsoft.com/office/drawing/2014/main" id="{92883E98-232B-B898-414F-DDE5C5E11218}"/>
              </a:ext>
            </a:extLst>
          </p:cNvPr>
          <p:cNvSpPr>
            <a:spLocks noGrp="1"/>
          </p:cNvSpPr>
          <p:nvPr>
            <p:ph sz="quarter" idx="19"/>
          </p:nvPr>
        </p:nvSpPr>
        <p:spPr>
          <a:xfrm>
            <a:off x="4566285"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9">
            <a:extLst>
              <a:ext uri="{FF2B5EF4-FFF2-40B4-BE49-F238E27FC236}">
                <a16:creationId xmlns:a16="http://schemas.microsoft.com/office/drawing/2014/main" id="{5870A569-9AC6-E02F-AF2A-75194B98A477}"/>
              </a:ext>
            </a:extLst>
          </p:cNvPr>
          <p:cNvSpPr>
            <a:spLocks noGrp="1"/>
          </p:cNvSpPr>
          <p:nvPr>
            <p:ph sz="quarter" idx="20"/>
          </p:nvPr>
        </p:nvSpPr>
        <p:spPr>
          <a:xfrm>
            <a:off x="4566285"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Rounded Corners 16">
            <a:extLst>
              <a:ext uri="{FF2B5EF4-FFF2-40B4-BE49-F238E27FC236}">
                <a16:creationId xmlns:a16="http://schemas.microsoft.com/office/drawing/2014/main" id="{A61ABB56-C7EE-A8CD-C650-27C337665104}"/>
              </a:ext>
            </a:extLst>
          </p:cNvPr>
          <p:cNvSpPr/>
          <p:nvPr userDrawn="1"/>
        </p:nvSpPr>
        <p:spPr>
          <a:xfrm>
            <a:off x="8035925" y="2770909"/>
            <a:ext cx="3606800" cy="3401290"/>
          </a:xfrm>
          <a:prstGeom prst="roundRect">
            <a:avLst>
              <a:gd name="adj" fmla="val 3586"/>
            </a:avLst>
          </a:prstGeom>
          <a:solidFill>
            <a:schemeClr val="bg1">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Content Placeholder 9">
            <a:extLst>
              <a:ext uri="{FF2B5EF4-FFF2-40B4-BE49-F238E27FC236}">
                <a16:creationId xmlns:a16="http://schemas.microsoft.com/office/drawing/2014/main" id="{74BD3DEB-0F5A-21AC-2073-684743277D6F}"/>
              </a:ext>
            </a:extLst>
          </p:cNvPr>
          <p:cNvSpPr>
            <a:spLocks noGrp="1"/>
          </p:cNvSpPr>
          <p:nvPr>
            <p:ph sz="quarter" idx="21"/>
          </p:nvPr>
        </p:nvSpPr>
        <p:spPr>
          <a:xfrm>
            <a:off x="8309610" y="3222573"/>
            <a:ext cx="3054096" cy="731520"/>
          </a:xfrm>
        </p:spPr>
        <p:txBody>
          <a:bodyPr/>
          <a:lstStyle>
            <a:lvl1pPr>
              <a:defRPr>
                <a:solidFill>
                  <a:schemeClr val="accent2"/>
                </a:solidFill>
              </a:defRPr>
            </a:lvl1pPr>
            <a:lvl3pPr>
              <a:defRPr>
                <a:solidFill>
                  <a:schemeClr val="accent2"/>
                </a:solidFil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9">
            <a:extLst>
              <a:ext uri="{FF2B5EF4-FFF2-40B4-BE49-F238E27FC236}">
                <a16:creationId xmlns:a16="http://schemas.microsoft.com/office/drawing/2014/main" id="{E4C0661F-DF3B-0C61-5CBE-9185A9690B3E}"/>
              </a:ext>
            </a:extLst>
          </p:cNvPr>
          <p:cNvSpPr>
            <a:spLocks noGrp="1"/>
          </p:cNvSpPr>
          <p:nvPr>
            <p:ph sz="quarter" idx="22"/>
          </p:nvPr>
        </p:nvSpPr>
        <p:spPr>
          <a:xfrm>
            <a:off x="8309610" y="4293958"/>
            <a:ext cx="3054096" cy="1463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271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Section Title">
    <p:bg>
      <p:bgPr>
        <a:solidFill>
          <a:srgbClr val="B2E8E2"/>
        </a:solidFill>
        <a:effectLst/>
      </p:bgPr>
    </p:bg>
    <p:spTree>
      <p:nvGrpSpPr>
        <p:cNvPr id="1" name=""/>
        <p:cNvGrpSpPr/>
        <p:nvPr/>
      </p:nvGrpSpPr>
      <p:grpSpPr>
        <a:xfrm>
          <a:off x="0" y="0"/>
          <a:ext cx="0" cy="0"/>
          <a:chOff x="0" y="0"/>
          <a:chExt cx="0" cy="0"/>
        </a:xfrm>
      </p:grpSpPr>
      <p:pic>
        <p:nvPicPr>
          <p:cNvPr id="4" name="Picture 3" descr="A blue and purple hexagons&#10;&#10;Description automatically generated">
            <a:extLst>
              <a:ext uri="{FF2B5EF4-FFF2-40B4-BE49-F238E27FC236}">
                <a16:creationId xmlns:a16="http://schemas.microsoft.com/office/drawing/2014/main" id="{4A61EC96-D427-E3BD-8279-AE0B53BFFCB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title" hasCustomPrompt="1"/>
          </p:nvPr>
        </p:nvSpPr>
        <p:spPr>
          <a:xfrm>
            <a:off x="585216" y="2980408"/>
            <a:ext cx="667512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2A446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80111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7969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Title and Content - rebui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baseline="0">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49274" y="1638301"/>
            <a:ext cx="11093451" cy="4603750"/>
          </a:xfrm>
        </p:spPr>
        <p:txBody>
          <a:bodyPr/>
          <a:lstStyle>
            <a:lvl1pPr>
              <a:defRPr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7" name="Slide Number Placeholder 6">
            <a:extLst>
              <a:ext uri="{FF2B5EF4-FFF2-40B4-BE49-F238E27FC236}">
                <a16:creationId xmlns:a16="http://schemas.microsoft.com/office/drawing/2014/main" id="{6361D7DC-9D69-D3C0-A342-7E96CE282816}"/>
              </a:ext>
            </a:extLst>
          </p:cNvPr>
          <p:cNvSpPr>
            <a:spLocks noGrp="1"/>
          </p:cNvSpPr>
          <p:nvPr>
            <p:ph type="sldNum" sz="quarter" idx="12"/>
          </p:nvPr>
        </p:nvSpPr>
        <p:spPr/>
        <p:txBody>
          <a:bodyPr/>
          <a:lstStyle/>
          <a:p>
            <a:fld id="{DC48A51A-34A3-4597-969C-A01C1BAEFC32}" type="slidenum">
              <a:rPr lang="en-US" smtClean="0"/>
              <a:t>‹#›</a:t>
            </a:fld>
            <a:endParaRPr lang="en-US"/>
          </a:p>
        </p:txBody>
      </p:sp>
    </p:spTree>
    <p:extLst>
      <p:ext uri="{BB962C8B-B14F-4D97-AF65-F5344CB8AC3E}">
        <p14:creationId xmlns:p14="http://schemas.microsoft.com/office/powerpoint/2010/main" val="47075440"/>
      </p:ext>
    </p:extLst>
  </p:cSld>
  <p:clrMapOvr>
    <a:masterClrMapping/>
  </p:clrMapOvr>
  <p:transition>
    <p:fade/>
  </p:transition>
  <p:extLst>
    <p:ext uri="{DCECCB84-F9BA-43D5-87BE-67443E8EF086}">
      <p15:sldGuideLst xmlns:p15="http://schemas.microsoft.com/office/powerpoint/2012/main">
        <p15:guide id="3"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B81240-6A38-443B-6A44-7E945DB8BA1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white">
          <a:xfrm>
            <a:off x="1621368" y="2530647"/>
            <a:ext cx="5577840" cy="1003131"/>
          </a:xfrm>
          <a:noFill/>
        </p:spPr>
        <p:txBody>
          <a:bodyPr vert="horz" wrap="square" lIns="0" tIns="0" rIns="0" bIns="0" rtlCol="0" anchor="b" anchorCtr="0">
            <a:spAutoFit/>
          </a:bodyPr>
          <a:lstStyle>
            <a:lvl1pPr>
              <a:defRPr lang="en-US" sz="3259" dirty="0">
                <a:solidFill>
                  <a:srgbClr val="F8E3BB"/>
                </a:solidFill>
              </a:defRPr>
            </a:lvl1pPr>
          </a:lstStyle>
          <a:p>
            <a:pPr lvl="0"/>
            <a:r>
              <a:rPr lang="en-US"/>
              <a:t>Event name or </a:t>
            </a:r>
            <a:br>
              <a:rPr lang="en-US"/>
            </a:br>
            <a:r>
              <a:rPr lang="en-US"/>
              <a:t>presentation title </a:t>
            </a:r>
          </a:p>
        </p:txBody>
      </p:sp>
      <p:sp>
        <p:nvSpPr>
          <p:cNvPr id="5" name="Text Placeholder 4"/>
          <p:cNvSpPr>
            <a:spLocks noGrp="1"/>
          </p:cNvSpPr>
          <p:nvPr>
            <p:ph type="body" sz="quarter" idx="12" hasCustomPrompt="1"/>
          </p:nvPr>
        </p:nvSpPr>
        <p:spPr bwMode="white">
          <a:xfrm>
            <a:off x="1621368" y="3962401"/>
            <a:ext cx="5577840" cy="225698"/>
          </a:xfrm>
          <a:noFill/>
        </p:spPr>
        <p:txBody>
          <a:bodyPr wrap="square" lIns="0" tIns="0" rIns="0" bIns="0">
            <a:spAutoFit/>
          </a:bodyPr>
          <a:lstStyle>
            <a:lvl1pPr marL="0" indent="0">
              <a:spcBef>
                <a:spcPts val="0"/>
              </a:spcBef>
              <a:buNone/>
              <a:defRPr sz="1467"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0CD5FF5-1115-3AF7-6411-80851536A88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1621368" y="673195"/>
            <a:ext cx="1380158" cy="292608"/>
          </a:xfrm>
          <a:prstGeom prst="rect">
            <a:avLst/>
          </a:prstGeom>
        </p:spPr>
      </p:pic>
    </p:spTree>
    <p:extLst>
      <p:ext uri="{BB962C8B-B14F-4D97-AF65-F5344CB8AC3E}">
        <p14:creationId xmlns:p14="http://schemas.microsoft.com/office/powerpoint/2010/main" val="24702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535">
          <p15:clr>
            <a:srgbClr val="5ACBF0"/>
          </p15:clr>
        </p15:guide>
        <p15:guide id="2" orient="horz" pos="7322">
          <p15:clr>
            <a:srgbClr val="5ACBF0"/>
          </p15:clr>
        </p15:guide>
        <p15:guide id="3" pos="22119">
          <p15:clr>
            <a:srgbClr val="5ACBF0"/>
          </p15:clr>
        </p15:guide>
        <p15:guide id="4" orient="horz" pos="6336">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92443"/>
          </a:xfrm>
        </p:spPr>
        <p:txBody>
          <a:bodyPr vert="horz" wrap="square" lIns="0" tIns="0" rIns="0" bIns="0" rtlCol="0" anchor="t">
            <a:spAutoFit/>
          </a:bodyPr>
          <a:lstStyle>
            <a:lvl1pPr>
              <a:defRPr lang="en-US" sz="3200" dirty="0">
                <a:solidFill>
                  <a:schemeClr val="tx1"/>
                </a:solidFill>
              </a:defRPr>
            </a:lvl1pPr>
          </a:lstStyle>
          <a:p>
            <a:pPr marL="0" lvl="0"/>
            <a:endParaRPr lang="en-US"/>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7286868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3B0D12AE-ADCF-1091-117F-BB03F7EC506E}"/>
              </a:ext>
            </a:extLst>
          </p:cNvPr>
          <p:cNvPicPr>
            <a:picLocks noChangeAspect="1"/>
          </p:cNvPicPr>
          <p:nvPr/>
        </p:nvPicPr>
        <p:blipFill rotWithShape="1">
          <a:blip r:embed="rId3"/>
          <a:srcRect l="11451" t="32475" r="10216" b="33708"/>
          <a:stretch/>
        </p:blipFill>
        <p:spPr bwMode="black">
          <a:xfrm>
            <a:off x="567055" y="581977"/>
            <a:ext cx="1854200" cy="294217"/>
          </a:xfrm>
          <a:prstGeom prst="rect">
            <a:avLst/>
          </a:prstGeom>
        </p:spPr>
      </p:pic>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1459914"/>
            <a:ext cx="3898901" cy="2954655"/>
          </a:xfrm>
          <a:noFill/>
        </p:spPr>
        <p:txBody>
          <a:bodyPr vert="horz" wrap="square" lIns="0" tIns="0" rIns="0" bIns="0" rtlCol="0" anchor="b" anchorCtr="0">
            <a:normAutofit/>
          </a:bodyPr>
          <a:lstStyle>
            <a:lvl1pPr>
              <a:defRPr lang="en-US" sz="4800" dirty="0">
                <a:solidFill>
                  <a:schemeClr val="accent3"/>
                </a:solidFill>
              </a:defRPr>
            </a:lvl1pPr>
          </a:lstStyle>
          <a:p>
            <a:pPr lvl="0"/>
            <a:r>
              <a:rPr lang="en-US"/>
              <a:t>Event name or presentation title </a:t>
            </a:r>
          </a:p>
        </p:txBody>
      </p:sp>
      <p:sp>
        <p:nvSpPr>
          <p:cNvPr id="3" name="Text Placeholder 4">
            <a:extLst>
              <a:ext uri="{FF2B5EF4-FFF2-40B4-BE49-F238E27FC236}">
                <a16:creationId xmlns:a16="http://schemas.microsoft.com/office/drawing/2014/main" id="{897FAD9B-A5D2-21B8-8608-91E00CEB9870}"/>
              </a:ext>
            </a:extLst>
          </p:cNvPr>
          <p:cNvSpPr>
            <a:spLocks noGrp="1"/>
          </p:cNvSpPr>
          <p:nvPr>
            <p:ph type="body" sz="quarter" idx="12" hasCustomPrompt="1"/>
          </p:nvPr>
        </p:nvSpPr>
        <p:spPr bwMode="black">
          <a:xfrm>
            <a:off x="584200" y="4846320"/>
            <a:ext cx="3895344" cy="246221"/>
          </a:xfrm>
          <a:noFill/>
        </p:spPr>
        <p:txBody>
          <a:bodyPr wrap="square" lIns="0" tIns="0" rIns="0" bIns="0">
            <a:sp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40711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788D4-20A0-EE6D-BC61-F7958C1792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5F35DB-ED87-A5FA-04AB-CE3AF1C2D5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16AEB0-B922-0DD8-6C7B-1D2C2FAF719D}"/>
              </a:ext>
            </a:extLst>
          </p:cNvPr>
          <p:cNvSpPr>
            <a:spLocks noGrp="1"/>
          </p:cNvSpPr>
          <p:nvPr>
            <p:ph type="dt" sz="half" idx="10"/>
          </p:nvPr>
        </p:nvSpPr>
        <p:spPr/>
        <p:txBody>
          <a:bodyPr/>
          <a:lstStyle/>
          <a:p>
            <a:fld id="{9B5E1A29-D0AB-4CCD-926D-D055198CC36F}" type="datetimeFigureOut">
              <a:rPr lang="en-US" smtClean="0"/>
              <a:t>6/11/2025</a:t>
            </a:fld>
            <a:endParaRPr lang="en-US"/>
          </a:p>
        </p:txBody>
      </p:sp>
      <p:sp>
        <p:nvSpPr>
          <p:cNvPr id="5" name="Footer Placeholder 4">
            <a:extLst>
              <a:ext uri="{FF2B5EF4-FFF2-40B4-BE49-F238E27FC236}">
                <a16:creationId xmlns:a16="http://schemas.microsoft.com/office/drawing/2014/main" id="{67C5E357-95CE-6F6C-B75A-01754D8A51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8C4E87-1770-081C-54C9-69F6E00B0C87}"/>
              </a:ext>
            </a:extLst>
          </p:cNvPr>
          <p:cNvSpPr>
            <a:spLocks noGrp="1"/>
          </p:cNvSpPr>
          <p:nvPr>
            <p:ph type="sldNum" sz="quarter" idx="12"/>
          </p:nvPr>
        </p:nvSpPr>
        <p:spPr/>
        <p:txBody>
          <a:bodyPr/>
          <a:lstStyle/>
          <a:p>
            <a:fld id="{B18F3922-A27D-4586-8BD4-ADA84A0235AC}" type="slidenum">
              <a:rPr lang="en-US" smtClean="0"/>
              <a:t>‹#›</a:t>
            </a:fld>
            <a:endParaRPr lang="en-US"/>
          </a:p>
        </p:txBody>
      </p:sp>
    </p:spTree>
    <p:extLst>
      <p:ext uri="{BB962C8B-B14F-4D97-AF65-F5344CB8AC3E}">
        <p14:creationId xmlns:p14="http://schemas.microsoft.com/office/powerpoint/2010/main" val="19508484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59613799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 Square Photo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1"/>
            <a:ext cx="6892925" cy="430887"/>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5" y="457200"/>
            <a:ext cx="4416425" cy="1107996"/>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4" y="1436689"/>
            <a:ext cx="3470275" cy="2043636"/>
          </a:xfrm>
        </p:spPr>
        <p:txBody>
          <a:bodyPr/>
          <a:lstStyle>
            <a:lvl1pPr marL="0" indent="0">
              <a:buFontTx/>
              <a:buNone/>
              <a:defRPr/>
            </a:lvl1pPr>
            <a:lvl2pPr marL="228594" indent="0">
              <a:buFontTx/>
              <a:buNone/>
              <a:defRPr/>
            </a:lvl2pPr>
            <a:lvl3pPr marL="457189" indent="0">
              <a:buFontTx/>
              <a:buNone/>
              <a:defRPr/>
            </a:lvl3pPr>
            <a:lvl4pPr marL="661971" indent="0">
              <a:buFontTx/>
              <a:buNone/>
              <a:defRPr/>
            </a:lvl4pPr>
            <a:lvl5pPr marL="855641"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27735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3">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8584642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_Walkin_CENTER SCREEN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B81240-6A38-443B-6A44-7E945DB8BA1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bwMode="white">
          <a:xfrm>
            <a:off x="593607" y="2530647"/>
            <a:ext cx="5577840" cy="1003131"/>
          </a:xfrm>
          <a:noFill/>
        </p:spPr>
        <p:txBody>
          <a:bodyPr vert="horz" wrap="square" lIns="0" tIns="0" rIns="0" bIns="0" rtlCol="0" anchor="b" anchorCtr="0">
            <a:spAutoFit/>
          </a:bodyPr>
          <a:lstStyle>
            <a:lvl1pPr>
              <a:defRPr lang="en-US" sz="3259" dirty="0">
                <a:solidFill>
                  <a:srgbClr val="F8E3BB"/>
                </a:solidFill>
              </a:defRPr>
            </a:lvl1pPr>
          </a:lstStyle>
          <a:p>
            <a:pPr lvl="0"/>
            <a:r>
              <a:rPr lang="en-US"/>
              <a:t>Event name or </a:t>
            </a:r>
            <a:br>
              <a:rPr lang="en-US"/>
            </a:br>
            <a:r>
              <a:rPr lang="en-US"/>
              <a:t>presentation title </a:t>
            </a:r>
          </a:p>
        </p:txBody>
      </p:sp>
      <p:sp>
        <p:nvSpPr>
          <p:cNvPr id="5" name="Text Placeholder 4"/>
          <p:cNvSpPr>
            <a:spLocks noGrp="1"/>
          </p:cNvSpPr>
          <p:nvPr>
            <p:ph type="body" sz="quarter" idx="12" hasCustomPrompt="1"/>
          </p:nvPr>
        </p:nvSpPr>
        <p:spPr bwMode="white">
          <a:xfrm>
            <a:off x="593607" y="3962401"/>
            <a:ext cx="5577840" cy="225698"/>
          </a:xfrm>
          <a:noFill/>
        </p:spPr>
        <p:txBody>
          <a:bodyPr wrap="square" lIns="0" tIns="0" rIns="0" bIns="0">
            <a:spAutoFit/>
          </a:bodyPr>
          <a:lstStyle>
            <a:lvl1pPr marL="0" indent="0">
              <a:spcBef>
                <a:spcPts val="0"/>
              </a:spcBef>
              <a:buNone/>
              <a:defRPr sz="1467" spc="0" baseline="0">
                <a:solidFill>
                  <a:schemeClr val="tx1"/>
                </a:solidFill>
                <a:latin typeface="+mn-lt"/>
                <a:cs typeface="Segoe UI" panose="020B0502040204020203" pitchFamily="34" charset="0"/>
              </a:defRPr>
            </a:lvl1pPr>
          </a:lstStyle>
          <a:p>
            <a:pPr lvl="0"/>
            <a:r>
              <a:rPr lang="en-US"/>
              <a:t>Speaker name or subtitle text</a:t>
            </a:r>
          </a:p>
        </p:txBody>
      </p:sp>
      <p:pic>
        <p:nvPicPr>
          <p:cNvPr id="4" name="MS logo white - EMF" descr="Microsoft logo white text version">
            <a:extLst>
              <a:ext uri="{FF2B5EF4-FFF2-40B4-BE49-F238E27FC236}">
                <a16:creationId xmlns:a16="http://schemas.microsoft.com/office/drawing/2014/main" id="{AFE7C4C2-68DF-072C-A125-21EF5BE773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93607" y="585789"/>
            <a:ext cx="1335206" cy="292608"/>
          </a:xfrm>
          <a:prstGeom prst="rect">
            <a:avLst/>
          </a:prstGeom>
        </p:spPr>
      </p:pic>
    </p:spTree>
    <p:extLst>
      <p:ext uri="{BB962C8B-B14F-4D97-AF65-F5344CB8AC3E}">
        <p14:creationId xmlns:p14="http://schemas.microsoft.com/office/powerpoint/2010/main" val="3809411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535">
          <p15:clr>
            <a:srgbClr val="5ACBF0"/>
          </p15:clr>
        </p15:guide>
        <p15:guide id="2" orient="horz" pos="7322">
          <p15:clr>
            <a:srgbClr val="5ACBF0"/>
          </p15:clr>
        </p15:guide>
        <p15:guide id="3" pos="22119">
          <p15:clr>
            <a:srgbClr val="5ACBF0"/>
          </p15:clr>
        </p15:guide>
        <p15:guide id="4" orient="horz" pos="63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621367" y="3032211"/>
            <a:ext cx="9144000" cy="501565"/>
          </a:xfrm>
          <a:noFill/>
        </p:spPr>
        <p:txBody>
          <a:bodyPr lIns="0" tIns="0" rIns="0" bIns="0" anchor="b" anchorCtr="0">
            <a:spAutoFit/>
          </a:bodyPr>
          <a:lstStyle>
            <a:lvl1pPr>
              <a:defRPr sz="3259" spc="-41"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1621367" y="3962402"/>
            <a:ext cx="9144000" cy="200676"/>
          </a:xfrm>
          <a:noFill/>
        </p:spPr>
        <p:txBody>
          <a:bodyPr wrap="square" lIns="0" tIns="0" rIns="0" bIns="0">
            <a:spAutoFit/>
          </a:bodyPr>
          <a:lstStyle>
            <a:lvl1pPr marL="0" indent="0">
              <a:spcBef>
                <a:spcPts val="0"/>
              </a:spcBef>
              <a:buNone/>
              <a:defRPr sz="1304"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white - EMF" descr="Microsoft logo white text version">
            <a:extLst>
              <a:ext uri="{FF2B5EF4-FFF2-40B4-BE49-F238E27FC236}">
                <a16:creationId xmlns:a16="http://schemas.microsoft.com/office/drawing/2014/main" id="{FCEC5707-483C-6137-56E7-02CC348DE2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604904" y="585789"/>
            <a:ext cx="1113236" cy="292608"/>
          </a:xfrm>
          <a:prstGeom prst="rect">
            <a:avLst/>
          </a:prstGeom>
        </p:spPr>
      </p:pic>
    </p:spTree>
    <p:extLst>
      <p:ext uri="{BB962C8B-B14F-4D97-AF65-F5344CB8AC3E}">
        <p14:creationId xmlns:p14="http://schemas.microsoft.com/office/powerpoint/2010/main" val="348278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535">
          <p15:clr>
            <a:srgbClr val="5ACBF0"/>
          </p15:clr>
        </p15:guide>
        <p15:guide id="2" orient="horz" pos="7322">
          <p15:clr>
            <a:srgbClr val="5ACBF0"/>
          </p15:clr>
        </p15:guide>
        <p15:guide id="3" pos="22075">
          <p15:clr>
            <a:srgbClr val="5ACBF0"/>
          </p15:clr>
        </p15:guide>
        <p15:guide id="4" orient="horz" pos="63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1614846" y="457202"/>
            <a:ext cx="8968487" cy="451460"/>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1610783" y="1435100"/>
            <a:ext cx="8968746" cy="131445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945287927"/>
      </p:ext>
    </p:extLst>
  </p:cSld>
  <p:clrMapOvr>
    <a:masterClrMapping/>
  </p:clrMapOvr>
  <p:transition>
    <p:fade/>
  </p:transition>
  <p:extLst>
    <p:ext uri="{DCECCB84-F9BA-43D5-87BE-67443E8EF086}">
      <p15:sldGuideLst xmlns:p15="http://schemas.microsoft.com/office/powerpoint/2012/main">
        <p15:guide id="2" orient="horz" pos="3731">
          <p15:clr>
            <a:srgbClr val="5ACBF0"/>
          </p15:clr>
        </p15:guide>
        <p15:guide id="3" orient="horz" pos="845">
          <p15:clr>
            <a:srgbClr val="5ACBF0"/>
          </p15:clr>
        </p15:guide>
        <p15:guide id="5" orient="horz" pos="2652">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1614846" y="457202"/>
            <a:ext cx="8968487" cy="451460"/>
          </a:xfrm>
        </p:spPr>
        <p:txBody>
          <a:bodyPr/>
          <a:lstStyle/>
          <a:p>
            <a:r>
              <a:rPr lang="en-US"/>
              <a:t>Click to edit Master title style</a:t>
            </a:r>
          </a:p>
        </p:txBody>
      </p:sp>
      <p:sp>
        <p:nvSpPr>
          <p:cNvPr id="4" name="Text Placeholder 3"/>
          <p:cNvSpPr>
            <a:spLocks noGrp="1"/>
          </p:cNvSpPr>
          <p:nvPr>
            <p:ph type="body" sz="quarter" idx="10"/>
          </p:nvPr>
        </p:nvSpPr>
        <p:spPr>
          <a:xfrm>
            <a:off x="1612974" y="1434371"/>
            <a:ext cx="8968487" cy="1314456"/>
          </a:xfrm>
        </p:spPr>
        <p:txBody>
          <a:bodyPr wrap="square">
            <a:spAutoFit/>
          </a:bodyPr>
          <a:lstStyle>
            <a:lvl1pPr marL="0" indent="0">
              <a:buNone/>
              <a:defRPr/>
            </a:lvl1pPr>
            <a:lvl2pPr marL="186225" indent="0">
              <a:buNone/>
              <a:defRPr/>
            </a:lvl2pPr>
            <a:lvl3pPr marL="372450" indent="0">
              <a:buNone/>
              <a:defRPr/>
            </a:lvl3pPr>
            <a:lvl4pPr marL="558675" indent="0">
              <a:buNone/>
              <a:defRPr/>
            </a:lvl4pPr>
            <a:lvl5pPr marL="74490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4778977"/>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2655">
          <p15:clr>
            <a:srgbClr val="5ACBF0"/>
          </p15:clr>
        </p15:guide>
        <p15:guide id="4" orient="horz" pos="373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1614847" y="457202"/>
            <a:ext cx="8968740" cy="451460"/>
          </a:xfr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1610784" y="1435100"/>
            <a:ext cx="4191001" cy="13144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92587" y="1435100"/>
            <a:ext cx="4191001" cy="13144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4202602277"/>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3743">
          <p15:clr>
            <a:srgbClr val="5ACBF0"/>
          </p15:clr>
        </p15:guide>
        <p15:guide id="3" orient="horz" pos="2652">
          <p15:clr>
            <a:srgbClr val="5ACBF0"/>
          </p15:clr>
        </p15:guide>
        <p15:guide id="4" pos="13176">
          <p15:clr>
            <a:srgbClr val="5ACBF0"/>
          </p15:clr>
        </p15:guide>
        <p15:guide id="5" pos="14487">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614847" y="457202"/>
            <a:ext cx="8968740" cy="451460"/>
          </a:xfrm>
        </p:spPr>
        <p:txBody>
          <a:bodyPr/>
          <a:lstStyle/>
          <a:p>
            <a:r>
              <a:rPr lang="en-US"/>
              <a:t>Click to edit Master title style</a:t>
            </a:r>
          </a:p>
        </p:txBody>
      </p:sp>
      <p:sp>
        <p:nvSpPr>
          <p:cNvPr id="4" name="Text Placeholder 3"/>
          <p:cNvSpPr>
            <a:spLocks noGrp="1"/>
          </p:cNvSpPr>
          <p:nvPr>
            <p:ph type="body" sz="quarter" idx="10"/>
          </p:nvPr>
        </p:nvSpPr>
        <p:spPr>
          <a:xfrm>
            <a:off x="1610784" y="1435100"/>
            <a:ext cx="4191001" cy="1314456"/>
          </a:xfrm>
        </p:spPr>
        <p:txBody>
          <a:bodyPr wrap="square">
            <a:spAutoFit/>
          </a:bodyPr>
          <a:lstStyle>
            <a:lvl1pPr marL="0" indent="0">
              <a:spcBef>
                <a:spcPts val="997"/>
              </a:spcBef>
              <a:buClr>
                <a:schemeClr val="tx1"/>
              </a:buClr>
              <a:buFont typeface="Wingdings" panose="05000000000000000000" pitchFamily="2" charset="2"/>
              <a:buNone/>
              <a:defRPr sz="2281" b="0">
                <a:latin typeface="Segoe UI" panose="020B0502040204020203" pitchFamily="34" charset="0"/>
                <a:cs typeface="Segoe UI" panose="020B0502040204020203" pitchFamily="34" charset="0"/>
              </a:defRPr>
            </a:lvl1pPr>
            <a:lvl2pPr marL="208211" indent="0">
              <a:buFont typeface="Wingdings" panose="05000000000000000000" pitchFamily="2" charset="2"/>
              <a:buNone/>
              <a:defRPr sz="1629" b="0"/>
            </a:lvl2pPr>
            <a:lvl3pPr marL="367277" indent="0">
              <a:buFont typeface="Wingdings" panose="05000000000000000000" pitchFamily="2" charset="2"/>
              <a:buNone/>
              <a:tabLst/>
              <a:defRPr sz="1304" b="0"/>
            </a:lvl3pPr>
            <a:lvl4pPr marL="531518" indent="0">
              <a:buFont typeface="Wingdings" panose="05000000000000000000" pitchFamily="2" charset="2"/>
              <a:buNone/>
              <a:defRPr sz="1141" b="0"/>
            </a:lvl4pPr>
            <a:lvl5pPr marL="695758" indent="0">
              <a:buFont typeface="Wingdings" panose="05000000000000000000" pitchFamily="2" charset="2"/>
              <a:buNone/>
              <a:tabLst/>
              <a:defRPr sz="1141"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2587" y="1435100"/>
            <a:ext cx="4191001" cy="1314456"/>
          </a:xfrm>
        </p:spPr>
        <p:txBody>
          <a:bodyPr wrap="square">
            <a:spAutoFit/>
          </a:bodyPr>
          <a:lstStyle>
            <a:lvl1pPr marL="0" indent="0">
              <a:spcBef>
                <a:spcPts val="997"/>
              </a:spcBef>
              <a:buClr>
                <a:schemeClr val="tx1"/>
              </a:buClr>
              <a:buFont typeface="Wingdings" panose="05000000000000000000" pitchFamily="2" charset="2"/>
              <a:buNone/>
              <a:defRPr sz="2281" b="0">
                <a:latin typeface="Segoe UI" panose="020B0502040204020203" pitchFamily="34" charset="0"/>
                <a:cs typeface="Segoe UI" panose="020B0502040204020203" pitchFamily="34" charset="0"/>
              </a:defRPr>
            </a:lvl1pPr>
            <a:lvl2pPr marL="208211" indent="0">
              <a:buFont typeface="Wingdings" panose="05000000000000000000" pitchFamily="2" charset="2"/>
              <a:buNone/>
              <a:defRPr sz="1629" b="0"/>
            </a:lvl2pPr>
            <a:lvl3pPr marL="367277" indent="0">
              <a:buFont typeface="Wingdings" panose="05000000000000000000" pitchFamily="2" charset="2"/>
              <a:buNone/>
              <a:tabLst/>
              <a:defRPr sz="1304" b="0"/>
            </a:lvl3pPr>
            <a:lvl4pPr marL="531518" indent="0">
              <a:buFont typeface="Wingdings" panose="05000000000000000000" pitchFamily="2" charset="2"/>
              <a:buNone/>
              <a:defRPr sz="1141" b="0"/>
            </a:lvl4pPr>
            <a:lvl5pPr marL="695758" indent="0">
              <a:buFont typeface="Wingdings" panose="05000000000000000000" pitchFamily="2" charset="2"/>
              <a:buNone/>
              <a:tabLst/>
              <a:defRPr sz="1141"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2268631"/>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3731">
          <p15:clr>
            <a:srgbClr val="5ACBF0"/>
          </p15:clr>
        </p15:guide>
        <p15:guide id="3" orient="horz" pos="2652">
          <p15:clr>
            <a:srgbClr val="5ACBF0"/>
          </p15:clr>
        </p15:guide>
        <p15:guide id="4" pos="13161">
          <p15:clr>
            <a:srgbClr val="5ACBF0"/>
          </p15:clr>
        </p15:guide>
        <p15:guide id="5" pos="14487">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1614847" y="457202"/>
            <a:ext cx="8968740" cy="451460"/>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1610784" y="1436690"/>
            <a:ext cx="4191001" cy="351121"/>
          </a:xfrm>
        </p:spPr>
        <p:txBody>
          <a:bodyPr anchor="t"/>
          <a:lstStyle>
            <a:lvl1pPr marL="0" indent="0">
              <a:spcBef>
                <a:spcPts val="0"/>
              </a:spcBef>
              <a:buNone/>
              <a:defRPr sz="2281">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1610784" y="2084388"/>
            <a:ext cx="4191001" cy="1264225"/>
          </a:xfrm>
        </p:spPr>
        <p:txBody>
          <a:bodyPr>
            <a:spAutoFit/>
          </a:bodyPr>
          <a:lstStyle>
            <a:lvl1pPr marL="139669" indent="-139669">
              <a:defRPr lang="en-US" sz="1955" dirty="0"/>
            </a:lvl1pPr>
            <a:lvl2pPr marL="279337" indent="-139669">
              <a:defRPr lang="en-US" dirty="0"/>
            </a:lvl2pPr>
            <a:lvl3pPr marL="419007" indent="-139669">
              <a:defRPr lang="en-US" dirty="0"/>
            </a:lvl3pPr>
            <a:lvl4pPr marL="543157" indent="-124150">
              <a:defRPr lang="en-US" dirty="0"/>
            </a:lvl4pPr>
            <a:lvl5pPr marL="646615" indent="-982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87042" y="1436690"/>
            <a:ext cx="4191001" cy="351121"/>
          </a:xfrm>
        </p:spPr>
        <p:txBody>
          <a:bodyPr anchor="t"/>
          <a:lstStyle>
            <a:lvl1pPr marL="0" indent="0">
              <a:spcBef>
                <a:spcPts val="0"/>
              </a:spcBef>
              <a:buNone/>
              <a:defRPr sz="2281">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87042" y="2084388"/>
            <a:ext cx="4191001" cy="1264225"/>
          </a:xfrm>
        </p:spPr>
        <p:txBody>
          <a:bodyPr>
            <a:spAutoFit/>
          </a:bodyPr>
          <a:lstStyle>
            <a:lvl1pPr marL="139669" indent="-139669">
              <a:defRPr lang="en-US" sz="1955" dirty="0"/>
            </a:lvl1pPr>
            <a:lvl2pPr marL="279337" indent="-139669">
              <a:defRPr lang="en-US" dirty="0"/>
            </a:lvl2pPr>
            <a:lvl3pPr marL="419007" indent="-139669">
              <a:defRPr lang="en-US" dirty="0"/>
            </a:lvl3pPr>
            <a:lvl4pPr marL="558675" indent="-111218">
              <a:defRPr lang="en-US" dirty="0"/>
            </a:lvl4pPr>
            <a:lvl5pPr marL="646615" indent="-982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106117"/>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3846">
          <p15:clr>
            <a:srgbClr val="5ACBF0"/>
          </p15:clr>
        </p15:guide>
        <p15:guide id="4" pos="13161">
          <p15:clr>
            <a:srgbClr val="5ACBF0"/>
          </p15:clr>
        </p15:guide>
        <p15:guide id="5" pos="14487">
          <p15:clr>
            <a:srgbClr val="5ACBF0"/>
          </p15:clr>
        </p15:guide>
        <p15:guide id="7" orient="horz" pos="265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2"/>
            <a:ext cx="11018521" cy="451460"/>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351121"/>
          </a:xfrm>
        </p:spPr>
        <p:txBody>
          <a:bodyPr anchor="t"/>
          <a:lstStyle>
            <a:lvl1pPr marL="0" indent="0">
              <a:spcBef>
                <a:spcPts val="0"/>
              </a:spcBef>
              <a:buNone/>
              <a:defRPr sz="2281">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1"/>
            <a:ext cx="5214937" cy="1264225"/>
          </a:xfrm>
        </p:spPr>
        <p:txBody>
          <a:bodyPr/>
          <a:lstStyle>
            <a:lvl1pPr>
              <a:defRPr sz="195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351121"/>
          </a:xfrm>
        </p:spPr>
        <p:txBody>
          <a:bodyPr anchor="t"/>
          <a:lstStyle>
            <a:lvl1pPr marL="0" indent="0">
              <a:spcBef>
                <a:spcPts val="0"/>
              </a:spcBef>
              <a:buNone/>
              <a:defRPr sz="2281">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1"/>
            <a:ext cx="5214937" cy="1264225"/>
          </a:xfrm>
        </p:spPr>
        <p:txBody>
          <a:bodyPr/>
          <a:lstStyle>
            <a:lvl1pPr>
              <a:defRPr sz="195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452914188"/>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3846">
          <p15:clr>
            <a:srgbClr val="5ACBF0"/>
          </p15:clr>
        </p15:guide>
        <p15:guide id="4" pos="13161">
          <p15:clr>
            <a:srgbClr val="5ACBF0"/>
          </p15:clr>
        </p15:guide>
        <p15:guide id="5" pos="14487">
          <p15:clr>
            <a:srgbClr val="5ACBF0"/>
          </p15:clr>
        </p15:guide>
        <p15:guide id="7" orient="horz" pos="265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609108" y="457202"/>
            <a:ext cx="8973785" cy="451460"/>
          </a:xfrm>
        </p:spPr>
        <p:txBody>
          <a:bodyPr wrap="square">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1609109" y="1438276"/>
            <a:ext cx="2658624" cy="551609"/>
          </a:xfrm>
        </p:spPr>
        <p:txBody>
          <a:bodyPr anchor="t"/>
          <a:lstStyle>
            <a:lvl1pPr marL="0" indent="0">
              <a:spcBef>
                <a:spcPts val="0"/>
              </a:spcBef>
              <a:buNone/>
              <a:defRPr sz="1792">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1609109" y="2390775"/>
            <a:ext cx="2658624" cy="1434786"/>
          </a:xfrm>
        </p:spPr>
        <p:txBody>
          <a:bodyPr wrap="square">
            <a:spAutoFit/>
          </a:bodyPr>
          <a:lstStyle>
            <a:lvl1pPr marL="143549" indent="-143549">
              <a:defRPr lang="en-US" sz="1629" dirty="0"/>
            </a:lvl1pPr>
            <a:lvl2pPr marL="262526" indent="-122857">
              <a:defRPr lang="en-US" sz="1467" dirty="0"/>
            </a:lvl2pPr>
            <a:lvl3pPr marL="380209" indent="-112511">
              <a:defRPr lang="en-US" dirty="0"/>
            </a:lvl3pPr>
            <a:lvl4pPr marL="484962" indent="-104752">
              <a:defRPr lang="en-US" dirty="0"/>
            </a:lvl4pPr>
            <a:lvl5pPr marL="596179" indent="-9957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766688" y="1438276"/>
            <a:ext cx="2658624" cy="551609"/>
          </a:xfrm>
        </p:spPr>
        <p:txBody>
          <a:bodyPr anchor="t"/>
          <a:lstStyle>
            <a:lvl1pPr marL="0" indent="0">
              <a:spcBef>
                <a:spcPts val="0"/>
              </a:spcBef>
              <a:buNone/>
              <a:defRPr sz="1792">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766688" y="2384136"/>
            <a:ext cx="2658624" cy="1434786"/>
          </a:xfrm>
        </p:spPr>
        <p:txBody>
          <a:bodyPr wrap="square">
            <a:spAutoFit/>
          </a:bodyPr>
          <a:lstStyle>
            <a:lvl1pPr marL="143549" indent="-143549">
              <a:defRPr lang="en-US" sz="1629" dirty="0"/>
            </a:lvl1pPr>
            <a:lvl2pPr marL="324601" indent="-138376">
              <a:defRPr lang="en-US" sz="1467" dirty="0"/>
            </a:lvl2pPr>
            <a:lvl3pPr marL="452631" indent="-128030">
              <a:defRPr lang="en-US" dirty="0"/>
            </a:lvl3pPr>
            <a:lvl4pPr marL="558675" indent="-111218">
              <a:defRPr lang="en-US" dirty="0"/>
            </a:lvl4pPr>
            <a:lvl5pPr marL="651788" indent="-9052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7924269" y="1438276"/>
            <a:ext cx="2658624" cy="551609"/>
          </a:xfrm>
        </p:spPr>
        <p:txBody>
          <a:bodyPr anchor="t"/>
          <a:lstStyle>
            <a:lvl1pPr marL="0" indent="0">
              <a:spcBef>
                <a:spcPts val="0"/>
              </a:spcBef>
              <a:buNone/>
              <a:defRPr sz="1792">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7924269" y="2390775"/>
            <a:ext cx="2658624" cy="1434786"/>
          </a:xfrm>
        </p:spPr>
        <p:txBody>
          <a:bodyPr wrap="square">
            <a:spAutoFit/>
          </a:bodyPr>
          <a:lstStyle>
            <a:lvl1pPr marL="143549" indent="-143549">
              <a:defRPr lang="en-US" sz="1629" dirty="0"/>
            </a:lvl1pPr>
            <a:lvl2pPr marL="324601" indent="-138376">
              <a:defRPr lang="en-US" sz="1467" dirty="0"/>
            </a:lvl2pPr>
            <a:lvl3pPr marL="452631" indent="-128030">
              <a:defRPr lang="en-US" dirty="0"/>
            </a:lvl3pPr>
            <a:lvl4pPr marL="558675" indent="-111218">
              <a:defRPr lang="en-US" dirty="0"/>
            </a:lvl4pPr>
            <a:lvl5pPr marL="651788" indent="-9052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8352875"/>
      </p:ext>
    </p:extLst>
  </p:cSld>
  <p:clrMapOvr>
    <a:masterClrMapping/>
  </p:clrMapOvr>
  <p:transition>
    <p:fade/>
  </p:transition>
  <p:extLst>
    <p:ext uri="{DCECCB84-F9BA-43D5-87BE-67443E8EF086}">
      <p15:sldGuideLst xmlns:p15="http://schemas.microsoft.com/office/powerpoint/2012/main">
        <p15:guide id="3" orient="horz" pos="4418">
          <p15:clr>
            <a:srgbClr val="5ACBF0"/>
          </p15:clr>
        </p15:guide>
        <p15:guide id="4" orient="horz" pos="2658">
          <p15:clr>
            <a:srgbClr val="5ACBF0"/>
          </p15:clr>
        </p15:guide>
        <p15:guide id="5" orient="horz" pos="845">
          <p15:clr>
            <a:srgbClr val="5ACBF0"/>
          </p15:clr>
        </p15:guide>
        <p15:guide id="6" pos="9672">
          <p15:clr>
            <a:srgbClr val="5ACBF0"/>
          </p15:clr>
        </p15:guide>
        <p15:guide id="7" pos="10776">
          <p15:clr>
            <a:srgbClr val="5ACBF0"/>
          </p15:clr>
        </p15:guide>
        <p15:guide id="8" pos="16848">
          <p15:clr>
            <a:srgbClr val="5ACBF0"/>
          </p15:clr>
        </p15:guide>
        <p15:guide id="9" pos="1795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609108" y="457202"/>
            <a:ext cx="8973785" cy="451460"/>
          </a:xfrm>
        </p:spPr>
        <p:txBody>
          <a:bodyPr wrap="square">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1609108" y="1438277"/>
            <a:ext cx="2062182" cy="501565"/>
          </a:xfrm>
        </p:spPr>
        <p:txBody>
          <a:bodyPr anchor="t"/>
          <a:lstStyle>
            <a:lvl1pPr marL="0" indent="0">
              <a:spcBef>
                <a:spcPts val="0"/>
              </a:spcBef>
              <a:buNone/>
              <a:defRPr sz="1629">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609108" y="2283116"/>
            <a:ext cx="2062182" cy="1354566"/>
          </a:xfrm>
        </p:spPr>
        <p:txBody>
          <a:bodyPr wrap="square">
            <a:spAutoFit/>
          </a:bodyPr>
          <a:lstStyle>
            <a:lvl1pPr marL="115098" indent="-115098">
              <a:defRPr lang="en-US" sz="1467" dirty="0"/>
            </a:lvl1pPr>
            <a:lvl2pPr marL="232781" indent="-102166">
              <a:defRPr lang="en-US" sz="1304" dirty="0"/>
            </a:lvl2pPr>
            <a:lvl3pPr marL="356931" indent="-108631">
              <a:defRPr lang="en-US" dirty="0"/>
            </a:lvl3pPr>
            <a:lvl4pPr marL="461684" indent="-93113">
              <a:defRPr lang="en-US" dirty="0"/>
            </a:lvl4pPr>
            <a:lvl5pPr marL="558675" indent="-8923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913876" y="1438277"/>
            <a:ext cx="2063474" cy="501565"/>
          </a:xfrm>
        </p:spPr>
        <p:txBody>
          <a:bodyPr anchor="t"/>
          <a:lstStyle>
            <a:lvl1pPr marL="0" indent="0">
              <a:spcBef>
                <a:spcPts val="0"/>
              </a:spcBef>
              <a:buNone/>
              <a:defRPr sz="1629">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914258" y="2276476"/>
            <a:ext cx="2062182" cy="1354566"/>
          </a:xfrm>
        </p:spPr>
        <p:txBody>
          <a:bodyPr wrap="square">
            <a:spAutoFit/>
          </a:bodyPr>
          <a:lstStyle>
            <a:lvl1pPr marL="115098" indent="-115098">
              <a:defRPr lang="en-US" sz="1467" dirty="0"/>
            </a:lvl1pPr>
            <a:lvl2pPr marL="232781" indent="-102166">
              <a:defRPr lang="en-US" sz="1304" dirty="0"/>
            </a:lvl2pPr>
            <a:lvl3pPr marL="356931" indent="-108631">
              <a:defRPr lang="en-US" dirty="0"/>
            </a:lvl3pPr>
            <a:lvl4pPr marL="461684" indent="-93113">
              <a:defRPr lang="en-US" dirty="0"/>
            </a:lvl4pPr>
            <a:lvl5pPr marL="558675" indent="-8923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19937" y="1438277"/>
            <a:ext cx="2062182" cy="501565"/>
          </a:xfrm>
        </p:spPr>
        <p:txBody>
          <a:bodyPr anchor="t"/>
          <a:lstStyle>
            <a:lvl1pPr marL="0" indent="0">
              <a:spcBef>
                <a:spcPts val="0"/>
              </a:spcBef>
              <a:buNone/>
              <a:defRPr sz="1629">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19408" y="2283116"/>
            <a:ext cx="2062182" cy="1354566"/>
          </a:xfrm>
        </p:spPr>
        <p:txBody>
          <a:bodyPr wrap="square">
            <a:spAutoFit/>
          </a:bodyPr>
          <a:lstStyle>
            <a:lvl1pPr marL="115098" indent="-115098">
              <a:defRPr lang="en-US" sz="1467" dirty="0"/>
            </a:lvl1pPr>
            <a:lvl2pPr marL="232781" indent="-102166">
              <a:defRPr lang="en-US" sz="1304" dirty="0"/>
            </a:lvl2pPr>
            <a:lvl3pPr marL="356931" indent="-108631">
              <a:defRPr lang="en-US" dirty="0"/>
            </a:lvl3pPr>
            <a:lvl4pPr marL="461684" indent="-93113">
              <a:defRPr lang="en-US" dirty="0"/>
            </a:lvl4pPr>
            <a:lvl5pPr marL="558675" indent="-8923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8524704" y="1438277"/>
            <a:ext cx="2063474" cy="501565"/>
          </a:xfrm>
        </p:spPr>
        <p:txBody>
          <a:bodyPr anchor="t"/>
          <a:lstStyle>
            <a:lvl1pPr marL="0" indent="0">
              <a:spcBef>
                <a:spcPts val="0"/>
              </a:spcBef>
              <a:buNone/>
              <a:defRPr sz="1629">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524558" y="2276476"/>
            <a:ext cx="2062182" cy="1354566"/>
          </a:xfrm>
        </p:spPr>
        <p:txBody>
          <a:bodyPr wrap="square">
            <a:spAutoFit/>
          </a:bodyPr>
          <a:lstStyle>
            <a:lvl1pPr marL="115098" indent="-115098">
              <a:defRPr lang="en-US" sz="1467" dirty="0"/>
            </a:lvl1pPr>
            <a:lvl2pPr marL="232781" indent="-102166">
              <a:defRPr lang="en-US" sz="1304" dirty="0"/>
            </a:lvl2pPr>
            <a:lvl3pPr marL="356931" indent="-108631">
              <a:defRPr lang="en-US" dirty="0"/>
            </a:lvl3pPr>
            <a:lvl4pPr marL="461684" indent="-93113">
              <a:defRPr lang="en-US" dirty="0"/>
            </a:lvl4pPr>
            <a:lvl5pPr marL="558675" indent="-8923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744147"/>
      </p:ext>
    </p:extLst>
  </p:cSld>
  <p:clrMapOvr>
    <a:masterClrMapping/>
  </p:clrMapOvr>
  <p:transition>
    <p:fade/>
  </p:transition>
  <p:extLst>
    <p:ext uri="{DCECCB84-F9BA-43D5-87BE-67443E8EF086}">
      <p15:sldGuideLst xmlns:p15="http://schemas.microsoft.com/office/powerpoint/2012/main">
        <p15:guide id="4" orient="horz" pos="2658">
          <p15:clr>
            <a:srgbClr val="5ACBF0"/>
          </p15:clr>
        </p15:guide>
        <p15:guide id="5" orient="horz" pos="845">
          <p15:clr>
            <a:srgbClr val="5ACBF0"/>
          </p15:clr>
        </p15:guide>
        <p15:guide id="6" pos="8352">
          <p15:clr>
            <a:srgbClr val="5ACBF0"/>
          </p15:clr>
        </p15:guide>
        <p15:guide id="7" pos="8856">
          <p15:clr>
            <a:srgbClr val="5ACBF0"/>
          </p15:clr>
        </p15:guide>
        <p15:guide id="8" pos="13584">
          <p15:clr>
            <a:srgbClr val="5ACBF0"/>
          </p15:clr>
        </p15:guide>
        <p15:guide id="9" pos="14088">
          <p15:clr>
            <a:srgbClr val="5ACBF0"/>
          </p15:clr>
        </p15:guide>
        <p15:guide id="10" pos="18816">
          <p15:clr>
            <a:srgbClr val="5ACBF0"/>
          </p15:clr>
        </p15:guide>
        <p15:guide id="11" pos="19320">
          <p15:clr>
            <a:srgbClr val="5ACBF0"/>
          </p15:clr>
        </p15:guide>
        <p15:guide id="12" orient="horz" pos="421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565393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1609108" y="457202"/>
            <a:ext cx="8973785" cy="451460"/>
          </a:xfrm>
        </p:spPr>
        <p:txBody>
          <a:bodyPr wrap="square">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1609108" y="1438277"/>
            <a:ext cx="1601132" cy="401353"/>
          </a:xfrm>
        </p:spPr>
        <p:txBody>
          <a:bodyPr anchor="t"/>
          <a:lstStyle>
            <a:lvl1pPr marL="0" indent="0">
              <a:spcBef>
                <a:spcPts val="0"/>
              </a:spcBef>
              <a:buNone/>
              <a:defRPr sz="1304">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1609108" y="2283116"/>
            <a:ext cx="1601132" cy="1159044"/>
          </a:xfrm>
        </p:spPr>
        <p:txBody>
          <a:bodyPr wrap="square">
            <a:spAutoFit/>
          </a:bodyPr>
          <a:lstStyle>
            <a:lvl1pPr marL="115098" indent="-115098">
              <a:defRPr lang="en-US" sz="1222" dirty="0"/>
            </a:lvl1pPr>
            <a:lvl2pPr marL="232781" indent="-102166">
              <a:defRPr lang="en-US" sz="1141" dirty="0"/>
            </a:lvl2pPr>
            <a:lvl3pPr marL="356931" indent="-108631">
              <a:defRPr lang="en-US" sz="1141" dirty="0"/>
            </a:lvl3pPr>
            <a:lvl4pPr marL="461684" indent="-93113">
              <a:defRPr lang="en-US" sz="977" dirty="0"/>
            </a:lvl4pPr>
            <a:lvl5pPr marL="558675" indent="-89234">
              <a:defRPr lang="en-US" sz="97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52271" y="1438277"/>
            <a:ext cx="1601132" cy="401353"/>
          </a:xfrm>
        </p:spPr>
        <p:txBody>
          <a:bodyPr anchor="t"/>
          <a:lstStyle>
            <a:lvl1pPr marL="0" indent="0">
              <a:spcBef>
                <a:spcPts val="0"/>
              </a:spcBef>
              <a:buNone/>
              <a:defRPr sz="1304">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52271" y="2276475"/>
            <a:ext cx="1601132" cy="1159044"/>
          </a:xfrm>
        </p:spPr>
        <p:txBody>
          <a:bodyPr wrap="square">
            <a:spAutoFit/>
          </a:bodyPr>
          <a:lstStyle>
            <a:lvl1pPr marL="115098" indent="-115098">
              <a:defRPr lang="en-US" sz="1222" dirty="0"/>
            </a:lvl1pPr>
            <a:lvl2pPr marL="232781" indent="-102166">
              <a:defRPr lang="en-US" sz="1141" dirty="0"/>
            </a:lvl2pPr>
            <a:lvl3pPr marL="356931" indent="-108631">
              <a:defRPr lang="en-US" sz="1141" dirty="0"/>
            </a:lvl3pPr>
            <a:lvl4pPr marL="461684" indent="-93113">
              <a:defRPr lang="en-US" sz="977" dirty="0"/>
            </a:lvl4pPr>
            <a:lvl5pPr marL="558675" indent="-89234">
              <a:defRPr lang="en-US" sz="97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295434" y="1438277"/>
            <a:ext cx="1601132" cy="401353"/>
          </a:xfrm>
        </p:spPr>
        <p:txBody>
          <a:bodyPr anchor="t"/>
          <a:lstStyle>
            <a:lvl1pPr marL="0" indent="0">
              <a:spcBef>
                <a:spcPts val="0"/>
              </a:spcBef>
              <a:buNone/>
              <a:defRPr sz="1304">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295434" y="2283116"/>
            <a:ext cx="1601132" cy="1159044"/>
          </a:xfrm>
        </p:spPr>
        <p:txBody>
          <a:bodyPr wrap="square">
            <a:spAutoFit/>
          </a:bodyPr>
          <a:lstStyle>
            <a:lvl1pPr marL="115098" indent="-115098">
              <a:defRPr lang="en-US" sz="1222" dirty="0"/>
            </a:lvl1pPr>
            <a:lvl2pPr marL="232781" indent="-102166">
              <a:defRPr lang="en-US" sz="1141" dirty="0"/>
            </a:lvl2pPr>
            <a:lvl3pPr marL="356931" indent="-108631">
              <a:defRPr lang="en-US" sz="1141" dirty="0"/>
            </a:lvl3pPr>
            <a:lvl4pPr marL="461684" indent="-93113">
              <a:defRPr lang="en-US" sz="977" dirty="0"/>
            </a:lvl4pPr>
            <a:lvl5pPr marL="558675" indent="-89234">
              <a:defRPr lang="en-US" sz="97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138598" y="1438277"/>
            <a:ext cx="1601132" cy="401353"/>
          </a:xfrm>
        </p:spPr>
        <p:txBody>
          <a:bodyPr anchor="t"/>
          <a:lstStyle>
            <a:lvl1pPr marL="0" indent="0">
              <a:spcBef>
                <a:spcPts val="0"/>
              </a:spcBef>
              <a:buNone/>
              <a:defRPr sz="1304">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138598" y="2276475"/>
            <a:ext cx="1601132" cy="1159044"/>
          </a:xfrm>
        </p:spPr>
        <p:txBody>
          <a:bodyPr wrap="square">
            <a:spAutoFit/>
          </a:bodyPr>
          <a:lstStyle>
            <a:lvl1pPr marL="115098" indent="-115098">
              <a:defRPr lang="en-US" sz="1222" dirty="0"/>
            </a:lvl1pPr>
            <a:lvl2pPr marL="232781" indent="-102166">
              <a:defRPr lang="en-US" sz="1141" dirty="0"/>
            </a:lvl2pPr>
            <a:lvl3pPr marL="356931" indent="-108631">
              <a:defRPr lang="en-US" sz="1141" dirty="0"/>
            </a:lvl3pPr>
            <a:lvl4pPr marL="461684" indent="-93113">
              <a:defRPr lang="en-US" sz="977" dirty="0"/>
            </a:lvl4pPr>
            <a:lvl5pPr marL="558675" indent="-89234">
              <a:defRPr lang="en-US" sz="97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8981761" y="1438277"/>
            <a:ext cx="1601132" cy="401353"/>
          </a:xfrm>
        </p:spPr>
        <p:txBody>
          <a:bodyPr anchor="t"/>
          <a:lstStyle>
            <a:lvl1pPr marL="0" indent="0">
              <a:spcBef>
                <a:spcPts val="0"/>
              </a:spcBef>
              <a:buNone/>
              <a:defRPr sz="1304">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8981761" y="2276475"/>
            <a:ext cx="1601132" cy="1159044"/>
          </a:xfrm>
        </p:spPr>
        <p:txBody>
          <a:bodyPr wrap="square">
            <a:spAutoFit/>
          </a:bodyPr>
          <a:lstStyle>
            <a:lvl1pPr marL="115098" indent="-115098">
              <a:defRPr lang="en-US" sz="1222" dirty="0"/>
            </a:lvl1pPr>
            <a:lvl2pPr marL="232781" indent="-102166">
              <a:defRPr lang="en-US" sz="1141" dirty="0"/>
            </a:lvl2pPr>
            <a:lvl3pPr marL="356931" indent="-108631">
              <a:defRPr lang="en-US" sz="1141" dirty="0"/>
            </a:lvl3pPr>
            <a:lvl4pPr marL="461684" indent="-93113">
              <a:defRPr lang="en-US" sz="977" dirty="0"/>
            </a:lvl4pPr>
            <a:lvl5pPr marL="558675" indent="-89234">
              <a:defRPr lang="en-US" sz="97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697374"/>
      </p:ext>
    </p:extLst>
  </p:cSld>
  <p:clrMapOvr>
    <a:masterClrMapping/>
  </p:clrMapOvr>
  <p:transition>
    <p:fade/>
  </p:transition>
  <p:extLst>
    <p:ext uri="{DCECCB84-F9BA-43D5-87BE-67443E8EF086}">
      <p15:sldGuideLst xmlns:p15="http://schemas.microsoft.com/office/powerpoint/2012/main">
        <p15:guide id="4" orient="horz" pos="2658">
          <p15:clr>
            <a:srgbClr val="5ACBF0"/>
          </p15:clr>
        </p15:guide>
        <p15:guide id="5" orient="horz" pos="845">
          <p15:clr>
            <a:srgbClr val="5ACBF0"/>
          </p15:clr>
        </p15:guide>
        <p15:guide id="6" pos="7320">
          <p15:clr>
            <a:srgbClr val="5ACBF0"/>
          </p15:clr>
        </p15:guide>
        <p15:guide id="7" pos="7824">
          <p15:clr>
            <a:srgbClr val="5ACBF0"/>
          </p15:clr>
        </p15:guide>
        <p15:guide id="8" pos="11496">
          <p15:clr>
            <a:srgbClr val="5ACBF0"/>
          </p15:clr>
        </p15:guide>
        <p15:guide id="9" pos="12000">
          <p15:clr>
            <a:srgbClr val="5ACBF0"/>
          </p15:clr>
        </p15:guide>
        <p15:guide id="10" pos="15672">
          <p15:clr>
            <a:srgbClr val="5ACBF0"/>
          </p15:clr>
        </p15:guide>
        <p15:guide id="11" pos="19848">
          <p15:clr>
            <a:srgbClr val="5ACBF0"/>
          </p15:clr>
        </p15:guide>
        <p15:guide id="12" orient="horz" pos="4212">
          <p15:clr>
            <a:srgbClr val="5ACBF0"/>
          </p15:clr>
        </p15:guide>
        <p15:guide id="13" pos="16176">
          <p15:clr>
            <a:srgbClr val="5ACBF0"/>
          </p15:clr>
        </p15:guide>
        <p15:guide id="14" pos="2035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614846" y="457202"/>
            <a:ext cx="8968487" cy="451460"/>
          </a:xfrm>
        </p:spPr>
        <p:txBody>
          <a:bodyPr/>
          <a:lstStyle/>
          <a:p>
            <a:r>
              <a:rPr lang="en-US"/>
              <a:t>Click to edit Master title style</a:t>
            </a:r>
          </a:p>
        </p:txBody>
      </p:sp>
    </p:spTree>
    <p:extLst>
      <p:ext uri="{BB962C8B-B14F-4D97-AF65-F5344CB8AC3E}">
        <p14:creationId xmlns:p14="http://schemas.microsoft.com/office/powerpoint/2010/main" val="2056989837"/>
      </p:ext>
    </p:extLst>
  </p:cSld>
  <p:clrMapOvr>
    <a:masterClrMapping/>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57">
          <p15:clr>
            <a:srgbClr val="A4A3A4"/>
          </p15:clr>
        </p15:guide>
        <p15:guide id="15" pos="12017">
          <p15:clr>
            <a:srgbClr val="A4A3A4"/>
          </p15:clr>
        </p15:guide>
        <p15:guide id="16" pos="13495">
          <p15:clr>
            <a:srgbClr val="A4A3A4"/>
          </p15:clr>
        </p15:guide>
        <p15:guide id="17" pos="14155">
          <p15:clr>
            <a:srgbClr val="A4A3A4"/>
          </p15:clr>
        </p15:guide>
        <p15:guide id="18" pos="15634">
          <p15:clr>
            <a:srgbClr val="A4A3A4"/>
          </p15:clr>
        </p15:guide>
        <p15:guide id="19" pos="16294">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28" orient="horz" pos="2655">
          <p15:clr>
            <a:srgbClr val="5ACBF0"/>
          </p15:clr>
        </p15:guide>
        <p15:guide id="29" orient="horz" pos="3728">
          <p15:clr>
            <a:srgbClr val="5ACBF0"/>
          </p15:clr>
        </p15:guide>
        <p15:guide id="30" orient="horz" pos="84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614849" y="2977542"/>
            <a:ext cx="4127692" cy="902918"/>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86036631"/>
      </p:ext>
    </p:extLst>
  </p:cSld>
  <p:clrMapOvr>
    <a:masterClrMapping/>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57">
          <p15:clr>
            <a:srgbClr val="A4A3A4"/>
          </p15:clr>
        </p15:guide>
        <p15:guide id="16" pos="13495">
          <p15:clr>
            <a:srgbClr val="A4A3A4"/>
          </p15:clr>
        </p15:guide>
        <p15:guide id="17" pos="14155">
          <p15:clr>
            <a:srgbClr val="A4A3A4"/>
          </p15:clr>
        </p15:guide>
        <p15:guide id="18" pos="15634">
          <p15:clr>
            <a:srgbClr val="A4A3A4"/>
          </p15:clr>
        </p15:guide>
        <p15:guide id="19" pos="16294">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30" orient="horz" pos="845">
          <p15:clr>
            <a:srgbClr val="5ACBF0"/>
          </p15:clr>
        </p15:guide>
        <p15:guide id="32" orient="horz" pos="6336">
          <p15:clr>
            <a:srgbClr val="5ACBF0"/>
          </p15:clr>
        </p15:guide>
        <p15:guide id="33" pos="10715">
          <p15:clr>
            <a:srgbClr val="5ACBF0"/>
          </p15:clr>
        </p15:guide>
        <p15:guide id="34" pos="1201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1621367" y="457201"/>
            <a:ext cx="5508419" cy="314155"/>
          </a:xfrm>
        </p:spPr>
        <p:txBody>
          <a:bodyPr tIns="64008"/>
          <a:lstStyle>
            <a:lvl1pPr>
              <a:defRPr sz="1629"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44391727"/>
      </p:ext>
    </p:extLst>
  </p:cSld>
  <p:clrMapOvr>
    <a:masterClrMapping/>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57">
          <p15:clr>
            <a:srgbClr val="A4A3A4"/>
          </p15:clr>
        </p15:guide>
        <p15:guide id="15" pos="12067">
          <p15:clr>
            <a:srgbClr val="A4A3A4"/>
          </p15:clr>
        </p15:guide>
        <p15:guide id="16" pos="13495">
          <p15:clr>
            <a:srgbClr val="A4A3A4"/>
          </p15:clr>
        </p15:guide>
        <p15:guide id="17" pos="14155">
          <p15:clr>
            <a:srgbClr val="A4A3A4"/>
          </p15:clr>
        </p15:guide>
        <p15:guide id="18" pos="15634">
          <p15:clr>
            <a:srgbClr val="A4A3A4"/>
          </p15:clr>
        </p15:guide>
        <p15:guide id="19" pos="16294">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28" orient="horz" pos="2655">
          <p15:clr>
            <a:srgbClr val="5ACBF0"/>
          </p15:clr>
        </p15:guide>
        <p15:guide id="29" orient="horz" pos="3728">
          <p15:clr>
            <a:srgbClr val="5ACBF0"/>
          </p15:clr>
        </p15:guide>
        <p15:guide id="30" orient="horz" pos="845">
          <p15:clr>
            <a:srgbClr val="5ACBF0"/>
          </p15:clr>
        </p15:guide>
        <p15:guide id="31" pos="1382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1604264" y="2221282"/>
            <a:ext cx="3147213" cy="902918"/>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1600201" y="3535542"/>
            <a:ext cx="3147213" cy="275804"/>
          </a:xfrm>
        </p:spPr>
        <p:txBody>
          <a:bodyPr/>
          <a:lstStyle>
            <a:lvl1pPr marL="0" indent="0">
              <a:buNone/>
              <a:defRPr sz="1792">
                <a:latin typeface="+mn-lt"/>
              </a:defRPr>
            </a:lvl1pPr>
            <a:lvl2pPr marL="186225" indent="0">
              <a:buNone/>
              <a:defRPr/>
            </a:lvl2pPr>
            <a:lvl3pPr marL="372450" indent="0">
              <a:buNone/>
              <a:defRPr/>
            </a:lvl3pPr>
            <a:lvl4pPr marL="539277" indent="0">
              <a:buNone/>
              <a:defRPr/>
            </a:lvl4pPr>
            <a:lvl5pPr marL="697051"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08ACECAD-6151-1A30-7B4E-5150D806E7B0}"/>
              </a:ext>
            </a:extLst>
          </p:cNvPr>
          <p:cNvSpPr>
            <a:spLocks noGrp="1"/>
          </p:cNvSpPr>
          <p:nvPr>
            <p:ph type="pic" sz="quarter" idx="11" hasCustomPrompt="1"/>
          </p:nvPr>
        </p:nvSpPr>
        <p:spPr bwMode="ltGray">
          <a:xfrm>
            <a:off x="5460999" y="2"/>
            <a:ext cx="5598583" cy="6870989"/>
          </a:xfrm>
          <a:blipFill>
            <a:blip r:embed="rId2"/>
            <a:stretch>
              <a:fillRect/>
            </a:stretch>
          </a:blipFill>
        </p:spPr>
        <p:txBody>
          <a:bodyPr lIns="0" tIns="2377440" rIns="0" anchor="t" anchorCtr="0">
            <a:noAutofit/>
          </a:bodyPr>
          <a:lstStyle>
            <a:lvl1pPr marL="0" indent="0" algn="ctr">
              <a:lnSpc>
                <a:spcPct val="100000"/>
              </a:lnSpc>
              <a:buNone/>
              <a:defRPr sz="3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73081765"/>
      </p:ext>
    </p:extLst>
  </p:cSld>
  <p:clrMapOvr>
    <a:masterClrMapping/>
  </p:clrMapOvr>
  <p:transition>
    <p:fade/>
  </p:transition>
  <p:extLst>
    <p:ext uri="{DCECCB84-F9BA-43D5-87BE-67443E8EF086}">
      <p15:sldGuideLst xmlns:p15="http://schemas.microsoft.com/office/powerpoint/2012/main">
        <p15:guide id="2" pos="12096">
          <p15:clr>
            <a:srgbClr val="5ACBF0"/>
          </p15:clr>
        </p15:guide>
        <p15:guide id="7" orient="horz" pos="5773">
          <p15:clr>
            <a:srgbClr val="5ACBF0"/>
          </p15:clr>
        </p15:guide>
        <p15:guide id="8" orient="horz" pos="6530">
          <p15:clr>
            <a:srgbClr val="5ACBF0"/>
          </p15:clr>
        </p15:guide>
        <p15:guide id="10" pos="13425">
          <p15:clr>
            <a:srgbClr val="C35EA4"/>
          </p15:clr>
        </p15:guide>
        <p15:guide id="11" pos="10776">
          <p15:clr>
            <a:srgbClr val="5ACBF0"/>
          </p15:clr>
        </p15:guide>
        <p15:guide id="12" pos="1275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1608667" y="2975955"/>
            <a:ext cx="3139547" cy="902918"/>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0E8B2D68-9874-6455-F446-CE7A691C6143}"/>
              </a:ext>
            </a:extLst>
          </p:cNvPr>
          <p:cNvSpPr>
            <a:spLocks noGrp="1"/>
          </p:cNvSpPr>
          <p:nvPr>
            <p:ph type="pic" sz="quarter" idx="11" hasCustomPrompt="1"/>
          </p:nvPr>
        </p:nvSpPr>
        <p:spPr bwMode="ltGray">
          <a:xfrm>
            <a:off x="5460999" y="2"/>
            <a:ext cx="5598583" cy="6870989"/>
          </a:xfrm>
          <a:blipFill>
            <a:blip r:embed="rId2"/>
            <a:stretch>
              <a:fillRect/>
            </a:stretch>
          </a:blipFill>
        </p:spPr>
        <p:txBody>
          <a:bodyPr lIns="0" tIns="2377440" rIns="0" anchor="t" anchorCtr="0">
            <a:noAutofit/>
          </a:bodyPr>
          <a:lstStyle>
            <a:lvl1pPr marL="0" indent="0" algn="ctr">
              <a:lnSpc>
                <a:spcPct val="100000"/>
              </a:lnSpc>
              <a:buNone/>
              <a:defRPr sz="3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09124925"/>
      </p:ext>
    </p:extLst>
  </p:cSld>
  <p:clrMapOvr>
    <a:masterClrMapping/>
  </p:clrMapOvr>
  <p:transition>
    <p:fade/>
  </p:transition>
  <p:extLst>
    <p:ext uri="{DCECCB84-F9BA-43D5-87BE-67443E8EF086}">
      <p15:sldGuideLst xmlns:p15="http://schemas.microsoft.com/office/powerpoint/2012/main">
        <p15:guide id="2" pos="12096">
          <p15:clr>
            <a:srgbClr val="5ACBF0"/>
          </p15:clr>
        </p15:guide>
        <p15:guide id="5" orient="horz" pos="6336">
          <p15:clr>
            <a:srgbClr val="5ACBF0"/>
          </p15:clr>
        </p15:guide>
        <p15:guide id="6" pos="10768">
          <p15:clr>
            <a:srgbClr val="5ACBF0"/>
          </p15:clr>
        </p15:guide>
        <p15:guide id="7" pos="13422">
          <p15:clr>
            <a:srgbClr val="C35EA4"/>
          </p15:clr>
        </p15:guide>
        <p15:guide id="8" pos="1275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1608667" y="2979738"/>
            <a:ext cx="3142722" cy="702242"/>
          </a:xfrm>
        </p:spPr>
        <p:txBody>
          <a:bodyPr anchor="t"/>
          <a:lstStyle>
            <a:lvl1pPr>
              <a:defRPr sz="2281"/>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
        <p:nvSpPr>
          <p:cNvPr id="2" name="Picture Placeholder" descr="This photo is a 'placeholder' only. Drag or drop your photo here, or click and tap the center to insert a photo.">
            <a:extLst>
              <a:ext uri="{FF2B5EF4-FFF2-40B4-BE49-F238E27FC236}">
                <a16:creationId xmlns:a16="http://schemas.microsoft.com/office/drawing/2014/main" id="{8392CA2F-4C99-C9DB-9977-08B943EBCA55}"/>
              </a:ext>
            </a:extLst>
          </p:cNvPr>
          <p:cNvSpPr>
            <a:spLocks noGrp="1"/>
          </p:cNvSpPr>
          <p:nvPr>
            <p:ph type="pic" sz="quarter" idx="11" hasCustomPrompt="1"/>
          </p:nvPr>
        </p:nvSpPr>
        <p:spPr bwMode="ltGray">
          <a:xfrm>
            <a:off x="5460999" y="2"/>
            <a:ext cx="5598583" cy="6870989"/>
          </a:xfrm>
          <a:blipFill>
            <a:blip r:embed="rId2"/>
            <a:stretch>
              <a:fillRect/>
            </a:stretch>
          </a:blipFill>
        </p:spPr>
        <p:txBody>
          <a:bodyPr lIns="0" tIns="2377440" rIns="0" anchor="t" anchorCtr="0">
            <a:noAutofit/>
          </a:bodyPr>
          <a:lstStyle>
            <a:lvl1pPr marL="0" indent="0" algn="ctr">
              <a:lnSpc>
                <a:spcPct val="100000"/>
              </a:lnSpc>
              <a:buNone/>
              <a:defRPr sz="3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5503768"/>
      </p:ext>
    </p:extLst>
  </p:cSld>
  <p:clrMapOvr>
    <a:masterClrMapping/>
  </p:clrMapOvr>
  <p:transition>
    <p:fade/>
  </p:transition>
  <p:extLst>
    <p:ext uri="{DCECCB84-F9BA-43D5-87BE-67443E8EF086}">
      <p15:sldGuideLst xmlns:p15="http://schemas.microsoft.com/office/powerpoint/2012/main">
        <p15:guide id="2" pos="12096">
          <p15:clr>
            <a:srgbClr val="5ACBF0"/>
          </p15:clr>
        </p15:guide>
        <p15:guide id="3" orient="horz" pos="5506">
          <p15:clr>
            <a:srgbClr val="5ACBF0"/>
          </p15:clr>
        </p15:guide>
        <p15:guide id="4" pos="13431">
          <p15:clr>
            <a:srgbClr val="C35EA4"/>
          </p15:clr>
        </p15:guide>
        <p15:guide id="5" pos="10776">
          <p15:clr>
            <a:srgbClr val="5ACBF0"/>
          </p15:clr>
        </p15:guide>
        <p15:guide id="6" pos="12768">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132417" y="0"/>
            <a:ext cx="9927167" cy="6858000"/>
          </a:xfrm>
          <a:blipFill>
            <a:blip r:embed="rId2"/>
            <a:stretch>
              <a:fillRect/>
            </a:stretch>
          </a:blipFill>
        </p:spPr>
        <p:txBody>
          <a:bodyPr wrap="none" bIns="1554480" anchor="ctr">
            <a:noAutofit/>
          </a:bodyPr>
          <a:lstStyle>
            <a:lvl1pPr marL="0" indent="0" algn="ctr">
              <a:buNone/>
              <a:defRPr sz="114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1132417" y="3657600"/>
            <a:ext cx="9927167"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2933"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86350118"/>
      </p:ext>
    </p:extLst>
  </p:cSld>
  <p:clrMapOvr>
    <a:masterClrMapping/>
  </p:clrMapOvr>
  <p:transition>
    <p:fade/>
  </p:transition>
  <p:extLst>
    <p:ext uri="{DCECCB84-F9BA-43D5-87BE-67443E8EF086}">
      <p15:sldGuideLst xmlns:p15="http://schemas.microsoft.com/office/powerpoint/2012/main">
        <p15:guide id="1" orient="horz" pos="675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132417" y="0"/>
            <a:ext cx="9927167" cy="6858000"/>
          </a:xfrm>
          <a:blipFill>
            <a:blip r:embed="rId2"/>
            <a:stretch>
              <a:fillRect/>
            </a:stretch>
          </a:blipFill>
        </p:spPr>
        <p:txBody>
          <a:bodyPr wrap="none" bIns="1554480" anchor="ctr">
            <a:noAutofit/>
          </a:bodyPr>
          <a:lstStyle>
            <a:lvl1pPr marL="0" indent="0" algn="ctr">
              <a:buNone/>
              <a:defRPr sz="114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132417" y="0"/>
            <a:ext cx="453686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2933"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735241975"/>
      </p:ext>
    </p:extLst>
  </p:cSld>
  <p:clrMapOvr>
    <a:masterClrMapping/>
  </p:clrMapOvr>
  <p:transition>
    <p:fade/>
  </p:transition>
  <p:extLst>
    <p:ext uri="{DCECCB84-F9BA-43D5-87BE-67443E8EF086}">
      <p15:sldGuideLst xmlns:p15="http://schemas.microsoft.com/office/powerpoint/2012/main">
        <p15:guide id="7" pos="12874">
          <p15:clr>
            <a:srgbClr val="5ACBF0"/>
          </p15:clr>
        </p15:guide>
        <p15:guide id="8" orient="horz" pos="633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1132417" y="0"/>
            <a:ext cx="9927167" cy="6858000"/>
          </a:xfrm>
          <a:blipFill>
            <a:blip r:embed="rId2"/>
            <a:stretch>
              <a:fillRect/>
            </a:stretch>
          </a:blipFill>
        </p:spPr>
        <p:txBody>
          <a:bodyPr wrap="none" bIns="1554480" anchor="ctr">
            <a:noAutofit/>
          </a:bodyPr>
          <a:lstStyle>
            <a:lvl1pPr marL="0" indent="0" algn="ctr">
              <a:buNone/>
              <a:defRPr sz="1141"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049295" y="0"/>
            <a:ext cx="4010289"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2933"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98813" y="-203944"/>
            <a:ext cx="328169" cy="250720"/>
          </a:xfrm>
          <a:prstGeom prst="rect">
            <a:avLst/>
          </a:prstGeom>
          <a:noFill/>
        </p:spPr>
        <p:txBody>
          <a:bodyPr wrap="squar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544331202"/>
      </p:ext>
    </p:extLst>
  </p:cSld>
  <p:clrMapOvr>
    <a:masterClrMapping/>
  </p:clrMapOvr>
  <p:transition>
    <p:fade/>
  </p:transition>
  <p:extLst>
    <p:ext uri="{DCECCB84-F9BA-43D5-87BE-67443E8EF086}">
      <p15:sldGuideLst xmlns:p15="http://schemas.microsoft.com/office/powerpoint/2012/main">
        <p15:guide id="7" pos="14777">
          <p15:clr>
            <a:srgbClr val="5ACBF0"/>
          </p15:clr>
        </p15:guide>
        <p15:guide id="8" orient="horz" pos="633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0BE56-F0EE-EEDB-42B9-3EC933E0D454}"/>
              </a:ext>
            </a:extLst>
          </p:cNvPr>
          <p:cNvSpPr>
            <a:spLocks noGrp="1"/>
          </p:cNvSpPr>
          <p:nvPr>
            <p:ph type="title"/>
          </p:nvPr>
        </p:nvSpPr>
        <p:spPr>
          <a:xfrm>
            <a:off x="586740" y="1591056"/>
            <a:ext cx="3409188" cy="738664"/>
          </a:xfrm>
        </p:spPr>
        <p:txBody>
          <a:bodyPr/>
          <a:lstStyle>
            <a:lvl1pPr>
              <a:defRPr sz="2400">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4F544726-BAF2-8A79-8DCC-0EDFFC5009D3}"/>
              </a:ext>
            </a:extLst>
          </p:cNvPr>
          <p:cNvSpPr>
            <a:spLocks noGrp="1"/>
          </p:cNvSpPr>
          <p:nvPr>
            <p:ph type="sldNum" sz="quarter" idx="10"/>
          </p:nvPr>
        </p:nvSpPr>
        <p:spPr>
          <a:xfrm>
            <a:off x="9296400" y="6427471"/>
            <a:ext cx="2743200" cy="365125"/>
          </a:xfrm>
          <a:prstGeom prst="rect">
            <a:avLst/>
          </a:prstGeom>
        </p:spPr>
        <p:txBody>
          <a:bodyPr/>
          <a:lstStyle/>
          <a:p>
            <a:fld id="{F649A1B1-5A8E-4E46-95DF-CCAC78182983}" type="slidenum">
              <a:rPr lang="en-US" smtClean="0"/>
              <a:pPr/>
              <a:t>‹#›</a:t>
            </a:fld>
            <a:endParaRPr lang="en-US"/>
          </a:p>
        </p:txBody>
      </p:sp>
    </p:spTree>
    <p:extLst>
      <p:ext uri="{BB962C8B-B14F-4D97-AF65-F5344CB8AC3E}">
        <p14:creationId xmlns:p14="http://schemas.microsoft.com/office/powerpoint/2010/main" val="3994275131"/>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1611686" y="5487398"/>
            <a:ext cx="8971676" cy="45146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132417" y="1"/>
            <a:ext cx="9927167" cy="4572000"/>
          </a:xfrm>
          <a:blipFill>
            <a:blip r:embed="rId2"/>
            <a:stretch>
              <a:fillRect/>
            </a:stretch>
          </a:blipFill>
        </p:spPr>
        <p:txBody>
          <a:bodyPr vert="horz" wrap="square" lIns="0" tIns="1280160" rIns="0" bIns="0" rtlCol="0" anchor="t" anchorCtr="0">
            <a:noAutofit/>
          </a:bodyPr>
          <a:lstStyle>
            <a:lvl1pPr marL="0" indent="0" algn="ctr">
              <a:buNone/>
              <a:defRPr lang="en-US" sz="1141" b="1" dirty="0">
                <a:solidFill>
                  <a:srgbClr val="000000"/>
                </a:solidFill>
              </a:defRPr>
            </a:lvl1pPr>
          </a:lstStyle>
          <a:p>
            <a:pPr marL="186225" lvl="0" indent="-186225"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221972247"/>
      </p:ext>
    </p:extLst>
  </p:cSld>
  <p:clrMapOvr>
    <a:masterClrMapping/>
  </p:clrMapOvr>
  <p:transition>
    <p:fade/>
  </p:transition>
  <p:extLst>
    <p:ext uri="{DCECCB84-F9BA-43D5-87BE-67443E8EF086}">
      <p15:sldGuideLst xmlns:p15="http://schemas.microsoft.com/office/powerpoint/2012/main">
        <p15:guide id="5" orient="horz" pos="8448">
          <p15:clr>
            <a:srgbClr val="5ACBF0"/>
          </p15:clr>
        </p15:guide>
        <p15:guide id="6" orient="horz" pos="1056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1613838" y="917557"/>
            <a:ext cx="8971676" cy="451460"/>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1132417" y="2286000"/>
            <a:ext cx="9927167" cy="4572000"/>
          </a:xfrm>
          <a:blipFill>
            <a:blip r:embed="rId2"/>
            <a:stretch>
              <a:fillRect/>
            </a:stretch>
          </a:blipFill>
        </p:spPr>
        <p:txBody>
          <a:bodyPr vert="horz" wrap="square" lIns="0" tIns="1371600" rIns="0" bIns="0" rtlCol="0" anchor="t" anchorCtr="0">
            <a:noAutofit/>
          </a:bodyPr>
          <a:lstStyle>
            <a:lvl1pPr marL="0" indent="0" algn="ctr">
              <a:buNone/>
              <a:defRPr lang="en-US" sz="1141" b="1" dirty="0">
                <a:solidFill>
                  <a:srgbClr val="000000"/>
                </a:solidFill>
              </a:defRPr>
            </a:lvl1pPr>
          </a:lstStyle>
          <a:p>
            <a:pPr marL="186225" lvl="0" indent="-186225"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946441229"/>
      </p:ext>
    </p:extLst>
  </p:cSld>
  <p:clrMapOvr>
    <a:masterClrMapping/>
  </p:clrMapOvr>
  <p:transition>
    <p:fade/>
  </p:transition>
  <p:extLst>
    <p:ext uri="{DCECCB84-F9BA-43D5-87BE-67443E8EF086}">
      <p15:sldGuideLst xmlns:p15="http://schemas.microsoft.com/office/powerpoint/2012/main">
        <p15:guide id="5" orient="horz" pos="4224">
          <p15:clr>
            <a:srgbClr val="5ACBF0"/>
          </p15:clr>
        </p15:guide>
        <p15:guide id="6" orient="horz" pos="211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1608667" y="457202"/>
            <a:ext cx="8974666" cy="45146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621026" y="5689600"/>
            <a:ext cx="4371891" cy="225698"/>
          </a:xfrm>
        </p:spPr>
        <p:txBody>
          <a:bodyPr/>
          <a:lstStyle>
            <a:lvl1pPr marL="0" indent="0" algn="l">
              <a:spcBef>
                <a:spcPts val="0"/>
              </a:spcBef>
              <a:buNone/>
              <a:defRPr sz="146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619439" y="2025650"/>
            <a:ext cx="4371891" cy="3474720"/>
          </a:xfrm>
          <a:blipFill>
            <a:blip r:embed="rId2"/>
            <a:stretch>
              <a:fillRect/>
            </a:stretch>
          </a:blipFill>
        </p:spPr>
        <p:txBody>
          <a:bodyPr vert="horz" wrap="square" lIns="0" tIns="0" rIns="0" bIns="1005840" rtlCol="0" anchor="ctr" anchorCtr="0">
            <a:noAutofit/>
          </a:bodyPr>
          <a:lstStyle>
            <a:lvl1pPr marL="0" indent="0" algn="ctr">
              <a:buNone/>
              <a:defRPr lang="en-US" sz="815" b="1" dirty="0">
                <a:solidFill>
                  <a:srgbClr val="000000"/>
                </a:solidFill>
              </a:defRPr>
            </a:lvl1pPr>
          </a:lstStyle>
          <a:p>
            <a:pPr marL="186225" lvl="0" indent="-186225"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09771" y="5689600"/>
            <a:ext cx="4371891" cy="225698"/>
          </a:xfrm>
        </p:spPr>
        <p:txBody>
          <a:bodyPr/>
          <a:lstStyle>
            <a:lvl1pPr marL="0" indent="0" algn="l">
              <a:spcBef>
                <a:spcPts val="0"/>
              </a:spcBef>
              <a:buNone/>
              <a:defRPr sz="146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07166" y="2025650"/>
            <a:ext cx="4371891" cy="3474720"/>
          </a:xfrm>
          <a:blipFill>
            <a:blip r:embed="rId3"/>
            <a:stretch>
              <a:fillRect/>
            </a:stretch>
          </a:blipFill>
        </p:spPr>
        <p:txBody>
          <a:bodyPr vert="horz" wrap="square" lIns="0" tIns="0" rIns="0" bIns="1005840" rtlCol="0" anchor="ctr" anchorCtr="0">
            <a:noAutofit/>
          </a:bodyPr>
          <a:lstStyle>
            <a:lvl1pPr marL="0" indent="0" algn="ctr">
              <a:buNone/>
              <a:defRPr lang="en-US" sz="815" b="1" dirty="0">
                <a:solidFill>
                  <a:srgbClr val="000000"/>
                </a:solidFill>
              </a:defRPr>
            </a:lvl1pPr>
          </a:lstStyle>
          <a:p>
            <a:pPr marL="186225" lvl="0" indent="-186225"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2223166343"/>
      </p:ext>
    </p:extLst>
  </p:cSld>
  <p:clrMapOvr>
    <a:masterClrMapping/>
  </p:clrMapOvr>
  <p:transition>
    <p:fade/>
  </p:transition>
  <p:extLst>
    <p:ext uri="{DCECCB84-F9BA-43D5-87BE-67443E8EF086}">
      <p15:sldGuideLst xmlns:p15="http://schemas.microsoft.com/office/powerpoint/2012/main">
        <p15:guide id="3" orient="horz" pos="10513">
          <p15:clr>
            <a:srgbClr val="5ACBF0"/>
          </p15:clr>
        </p15:guide>
        <p15:guide id="4" orient="horz" pos="3743">
          <p15:clr>
            <a:srgbClr val="5ACBF0"/>
          </p15:clr>
        </p15:guide>
        <p15:guide id="5" orient="horz" pos="845">
          <p15:clr>
            <a:srgbClr val="5ACBF0"/>
          </p15:clr>
        </p15:guide>
        <p15:guide id="6" pos="13495">
          <p15:clr>
            <a:srgbClr val="5ACBF0"/>
          </p15:clr>
        </p15:guide>
        <p15:guide id="7" pos="14153">
          <p15:clr>
            <a:srgbClr val="5ACBF0"/>
          </p15:clr>
        </p15:guide>
        <p15:guide id="8" orient="horz" pos="1016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1608667" y="457202"/>
            <a:ext cx="8974666" cy="45146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1624097" y="5689600"/>
            <a:ext cx="2830444" cy="225698"/>
          </a:xfrm>
        </p:spPr>
        <p:txBody>
          <a:bodyPr/>
          <a:lstStyle>
            <a:lvl1pPr marL="0" indent="0" algn="l">
              <a:spcBef>
                <a:spcPts val="0"/>
              </a:spcBef>
              <a:buNone/>
              <a:defRPr sz="146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1624067" y="2025650"/>
            <a:ext cx="2830186" cy="3474720"/>
          </a:xfrm>
          <a:blipFill>
            <a:blip r:embed="rId2"/>
            <a:stretch>
              <a:fillRect/>
            </a:stretch>
          </a:blipFill>
        </p:spPr>
        <p:txBody>
          <a:bodyPr lIns="0" tIns="0" rIns="0" bIns="1005840" anchor="ctr" anchorCtr="0">
            <a:noAutofit/>
          </a:bodyPr>
          <a:lstStyle>
            <a:lvl1pPr marL="0" indent="0" algn="ctr">
              <a:lnSpc>
                <a:spcPct val="100000"/>
              </a:lnSpc>
              <a:buNone/>
              <a:defRPr sz="65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198882" y="5689600"/>
            <a:ext cx="2830444" cy="225698"/>
          </a:xfrm>
        </p:spPr>
        <p:txBody>
          <a:bodyPr/>
          <a:lstStyle>
            <a:lvl1pPr marL="0" indent="0" algn="l">
              <a:spcBef>
                <a:spcPts val="0"/>
              </a:spcBef>
              <a:buNone/>
              <a:defRPr sz="1467">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197709" y="2025650"/>
            <a:ext cx="2830186" cy="3474720"/>
          </a:xfrm>
          <a:blipFill>
            <a:blip r:embed="rId3"/>
            <a:stretch>
              <a:fillRect/>
            </a:stretch>
          </a:blipFill>
        </p:spPr>
        <p:txBody>
          <a:bodyPr lIns="0" tIns="0" rIns="0" bIns="1005840" anchor="ctr" anchorCtr="0">
            <a:noAutofit/>
          </a:bodyPr>
          <a:lstStyle>
            <a:lvl1pPr marL="0" indent="0" algn="ctr">
              <a:lnSpc>
                <a:spcPct val="100000"/>
              </a:lnSpc>
              <a:buNone/>
              <a:defRPr sz="65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773669" y="5689600"/>
            <a:ext cx="2830444" cy="225698"/>
          </a:xfrm>
        </p:spPr>
        <p:txBody>
          <a:bodyPr/>
          <a:lstStyle>
            <a:lvl1pPr marL="0" indent="0" algn="l">
              <a:spcBef>
                <a:spcPts val="0"/>
              </a:spcBef>
              <a:buNone/>
              <a:defRPr sz="146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771351" y="2025650"/>
            <a:ext cx="2830186" cy="3474720"/>
          </a:xfrm>
          <a:blipFill>
            <a:blip r:embed="rId4"/>
            <a:stretch>
              <a:fillRect/>
            </a:stretch>
          </a:blipFill>
        </p:spPr>
        <p:txBody>
          <a:bodyPr lIns="0" tIns="0" rIns="0" bIns="1005840" anchor="ctr" anchorCtr="0">
            <a:noAutofit/>
          </a:bodyPr>
          <a:lstStyle>
            <a:lvl1pPr marL="0" indent="0" algn="ctr">
              <a:lnSpc>
                <a:spcPct val="100000"/>
              </a:lnSpc>
              <a:buNone/>
              <a:defRPr sz="65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955714826"/>
      </p:ext>
    </p:extLst>
  </p:cSld>
  <p:clrMapOvr>
    <a:masterClrMapping/>
  </p:clrMapOvr>
  <p:transition>
    <p:fade/>
  </p:transition>
  <p:extLst>
    <p:ext uri="{DCECCB84-F9BA-43D5-87BE-67443E8EF086}">
      <p15:sldGuideLst xmlns:p15="http://schemas.microsoft.com/office/powerpoint/2012/main">
        <p15:guide id="3" orient="horz" pos="10513">
          <p15:clr>
            <a:srgbClr val="5ACBF0"/>
          </p15:clr>
        </p15:guide>
        <p15:guide id="4" orient="horz" pos="3743">
          <p15:clr>
            <a:srgbClr val="5ACBF0"/>
          </p15:clr>
        </p15:guide>
        <p15:guide id="5" orient="horz" pos="845">
          <p15:clr>
            <a:srgbClr val="5ACBF0"/>
          </p15:clr>
        </p15:guide>
        <p15:guide id="6" pos="9204">
          <p15:clr>
            <a:srgbClr val="5ACBF0"/>
          </p15:clr>
        </p15:guide>
        <p15:guide id="7" pos="9879">
          <p15:clr>
            <a:srgbClr val="5ACBF0"/>
          </p15:clr>
        </p15:guide>
        <p15:guide id="8" pos="17769">
          <p15:clr>
            <a:srgbClr val="5ACBF0"/>
          </p15:clr>
        </p15:guide>
        <p15:guide id="9" pos="18444">
          <p15:clr>
            <a:srgbClr val="5ACBF0"/>
          </p15:clr>
        </p15:guide>
        <p15:guide id="10" orient="horz" pos="1016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2"/>
            <a:ext cx="11018521" cy="451460"/>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38"/>
            <a:ext cx="2532887" cy="451396"/>
          </a:xfrm>
        </p:spPr>
        <p:txBody>
          <a:bodyPr/>
          <a:lstStyle>
            <a:lvl1pPr marL="0" indent="0" algn="l">
              <a:spcBef>
                <a:spcPts val="0"/>
              </a:spcBef>
              <a:buNone/>
              <a:defRPr sz="1467">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1"/>
            <a:ext cx="2532887" cy="2532888"/>
          </a:xfrm>
          <a:blipFill>
            <a:blip r:embed="rId2"/>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10" y="4753938"/>
            <a:ext cx="2532887" cy="451396"/>
          </a:xfrm>
        </p:spPr>
        <p:txBody>
          <a:bodyPr/>
          <a:lstStyle>
            <a:lvl1pPr marL="0" indent="0" algn="l">
              <a:spcBef>
                <a:spcPts val="0"/>
              </a:spcBef>
              <a:buNone/>
              <a:defRPr sz="1467">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10" y="2025651"/>
            <a:ext cx="2532887" cy="2532888"/>
          </a:xfrm>
          <a:blipFill>
            <a:blip r:embed="rId3"/>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7" cy="451396"/>
          </a:xfrm>
        </p:spPr>
        <p:txBody>
          <a:bodyPr/>
          <a:lstStyle>
            <a:lvl1pPr marL="0" indent="0" algn="l">
              <a:spcBef>
                <a:spcPts val="0"/>
              </a:spcBef>
              <a:buNone/>
              <a:defRPr sz="146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1"/>
            <a:ext cx="2532887" cy="2532888"/>
          </a:xfrm>
          <a:blipFill>
            <a:blip r:embed="rId4"/>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1" y="4753938"/>
            <a:ext cx="2532887" cy="451396"/>
          </a:xfrm>
        </p:spPr>
        <p:txBody>
          <a:bodyPr/>
          <a:lstStyle>
            <a:lvl1pPr marL="0" indent="0" algn="l">
              <a:spcBef>
                <a:spcPts val="0"/>
              </a:spcBef>
              <a:buNone/>
              <a:defRPr sz="1467">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6" y="2025651"/>
            <a:ext cx="2532887" cy="2532888"/>
          </a:xfrm>
          <a:blipFill>
            <a:blip r:embed="rId5"/>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1473044878"/>
      </p:ext>
    </p:extLst>
  </p:cSld>
  <p:clrMapOvr>
    <a:masterClrMapping/>
  </p:clrMapOvr>
  <p:transition>
    <p:fade/>
  </p:transition>
  <p:extLst>
    <p:ext uri="{DCECCB84-F9BA-43D5-87BE-67443E8EF086}">
      <p15:sldGuideLst xmlns:p15="http://schemas.microsoft.com/office/powerpoint/2012/main">
        <p15:guide id="3" orient="horz" pos="8779">
          <p15:clr>
            <a:srgbClr val="5ACBF0"/>
          </p15:clr>
        </p15:guide>
        <p15:guide id="4" orient="horz" pos="3743">
          <p15:clr>
            <a:srgbClr val="5ACBF0"/>
          </p15:clr>
        </p15:guide>
        <p15:guide id="5" orient="horz" pos="845">
          <p15:clr>
            <a:srgbClr val="5ACBF0"/>
          </p15:clr>
        </p15:guide>
        <p15:guide id="6" pos="7066">
          <p15:clr>
            <a:srgbClr val="5ACBF0"/>
          </p15:clr>
        </p15:guide>
        <p15:guide id="7" pos="7741">
          <p15:clr>
            <a:srgbClr val="5ACBF0"/>
          </p15:clr>
        </p15:guide>
        <p15:guide id="8" pos="13487">
          <p15:clr>
            <a:srgbClr val="5ACBF0"/>
          </p15:clr>
        </p15:guide>
        <p15:guide id="9" pos="14161">
          <p15:clr>
            <a:srgbClr val="5ACBF0"/>
          </p15:clr>
        </p15:guide>
        <p15:guide id="10" pos="19907">
          <p15:clr>
            <a:srgbClr val="5ACBF0"/>
          </p15:clr>
        </p15:guide>
        <p15:guide id="11" pos="20579">
          <p15:clr>
            <a:srgbClr val="5ACBF0"/>
          </p15:clr>
        </p15:guide>
        <p15:guide id="12" orient="horz" pos="8419">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608667" y="917843"/>
            <a:ext cx="8974666" cy="45146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096593" y="5334001"/>
            <a:ext cx="3984603" cy="225698"/>
          </a:xfrm>
        </p:spPr>
        <p:txBody>
          <a:bodyPr/>
          <a:lstStyle>
            <a:lvl1pPr marL="0" indent="0" algn="ctr">
              <a:spcBef>
                <a:spcPts val="0"/>
              </a:spcBef>
              <a:buNone/>
              <a:defRPr sz="1467">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619767" y="2286001"/>
            <a:ext cx="4937929" cy="2807208"/>
          </a:xfrm>
          <a:blipFill>
            <a:blip r:embed="rId2"/>
            <a:stretch>
              <a:fillRect/>
            </a:stretch>
          </a:blipFill>
        </p:spPr>
        <p:txBody>
          <a:bodyPr lIns="0" tIns="0" rIns="0" bIns="731520" anchor="ctr" anchorCtr="0">
            <a:noAutofit/>
          </a:bodyPr>
          <a:lstStyle>
            <a:lvl1pPr marL="0" indent="0" algn="ctr">
              <a:lnSpc>
                <a:spcPct val="100000"/>
              </a:lnSpc>
              <a:buNone/>
              <a:defRPr sz="65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7146620" y="5334000"/>
            <a:ext cx="3984603" cy="225698"/>
          </a:xfrm>
        </p:spPr>
        <p:txBody>
          <a:bodyPr/>
          <a:lstStyle>
            <a:lvl1pPr marL="0" indent="0" algn="ctr">
              <a:spcBef>
                <a:spcPts val="0"/>
              </a:spcBef>
              <a:buNone/>
              <a:defRPr sz="1467">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669795" y="2286001"/>
            <a:ext cx="4937929" cy="2807208"/>
          </a:xfrm>
          <a:blipFill>
            <a:blip r:embed="rId3"/>
            <a:stretch>
              <a:fillRect/>
            </a:stretch>
          </a:blipFill>
        </p:spPr>
        <p:txBody>
          <a:bodyPr lIns="0" tIns="0" rIns="0" bIns="731520" anchor="ctr" anchorCtr="0">
            <a:noAutofit/>
          </a:bodyPr>
          <a:lstStyle>
            <a:lvl1pPr marL="0" indent="0" algn="ctr">
              <a:lnSpc>
                <a:spcPct val="100000"/>
              </a:lnSpc>
              <a:buNone/>
              <a:defRPr sz="652"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269324928"/>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4224">
          <p15:clr>
            <a:srgbClr val="5ACBF0"/>
          </p15:clr>
        </p15:guide>
        <p15:guide id="4" orient="horz" pos="9413">
          <p15:clr>
            <a:srgbClr val="5ACBF0"/>
          </p15:clr>
        </p15:guide>
        <p15:guide id="5" pos="13774">
          <p15:clr>
            <a:srgbClr val="5ACBF0"/>
          </p15:clr>
        </p15:guide>
        <p15:guide id="11" pos="6875">
          <p15:clr>
            <a:srgbClr val="5ACBF0"/>
          </p15:clr>
        </p15:guide>
        <p15:guide id="12" pos="20773">
          <p15:clr>
            <a:srgbClr val="5ACBF0"/>
          </p15:clr>
        </p15:guide>
        <p15:guide id="13" orient="horz" pos="9856">
          <p15:clr>
            <a:srgbClr val="5ACBF0"/>
          </p15:clr>
        </p15:guide>
        <p15:guide id="14" orient="horz">
          <p15:clr>
            <a:srgbClr val="5ACBF0"/>
          </p15:clr>
        </p15:guide>
        <p15:guide id="15" pos="12425">
          <p15:clr>
            <a:srgbClr val="5ACBF0"/>
          </p15:clr>
        </p15:guide>
        <p15:guide id="16" pos="1522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608667" y="917842"/>
            <a:ext cx="8974666" cy="45146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098254" y="4800601"/>
            <a:ext cx="232373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621430" y="2286000"/>
            <a:ext cx="3277056" cy="2286000"/>
          </a:xfrm>
          <a:blipFill>
            <a:blip r:embed="rId2"/>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452324" y="4799410"/>
            <a:ext cx="232373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75499" y="2286000"/>
            <a:ext cx="3277056" cy="2286000"/>
          </a:xfrm>
          <a:blipFill>
            <a:blip r:embed="rId3"/>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806394" y="4799411"/>
            <a:ext cx="232373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329570" y="2286000"/>
            <a:ext cx="3277056" cy="2286000"/>
          </a:xfrm>
          <a:blipFill>
            <a:blip r:embed="rId4"/>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2492745369"/>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4224">
          <p15:clr>
            <a:srgbClr val="5ACBF0"/>
          </p15:clr>
        </p15:guide>
        <p15:guide id="3" orient="horz" pos="8448">
          <p15:clr>
            <a:srgbClr val="5ACBF0"/>
          </p15:clr>
        </p15:guide>
        <p15:guide id="4" orient="horz" pos="8870">
          <p15:clr>
            <a:srgbClr val="5ACBF0"/>
          </p15:clr>
        </p15:guide>
        <p15:guide id="5" pos="9122">
          <p15:clr>
            <a:srgbClr val="5ACBF0"/>
          </p15:clr>
        </p15:guide>
        <p15:guide id="6" pos="9263">
          <p15:clr>
            <a:srgbClr val="5ACBF0"/>
          </p15:clr>
        </p15:guide>
        <p15:guide id="8" pos="18391">
          <p15:clr>
            <a:srgbClr val="5ACBF0"/>
          </p15:clr>
        </p15:guide>
        <p15:guide id="9" pos="18523">
          <p15:clr>
            <a:srgbClr val="5ACBF0"/>
          </p15:clr>
        </p15:guide>
        <p15:guide id="11" pos="4558">
          <p15:clr>
            <a:srgbClr val="5ACBF0"/>
          </p15:clr>
        </p15:guide>
        <p15:guide id="12" pos="13824">
          <p15:clr>
            <a:srgbClr val="5ACBF0"/>
          </p15:clr>
        </p15:guide>
        <p15:guide id="13" pos="23090">
          <p15:clr>
            <a:srgbClr val="5ACBF0"/>
          </p15:clr>
        </p15:guide>
        <p15:guide id="14" orient="horz" pos="3150">
          <p15:clr>
            <a:srgbClr val="5ACBF0"/>
          </p15:clr>
        </p15:guide>
        <p15:guide id="15" pos="7805">
          <p15:clr>
            <a:srgbClr val="5ACBF0"/>
          </p15:clr>
        </p15:guide>
        <p15:guide id="16" pos="10598">
          <p15:clr>
            <a:srgbClr val="5ACBF0"/>
          </p15:clr>
        </p15:guide>
        <p15:guide id="17" pos="17056">
          <p15:clr>
            <a:srgbClr val="5ACBF0"/>
          </p15:clr>
        </p15:guide>
        <p15:guide id="18" pos="19849">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608667" y="917843"/>
            <a:ext cx="8974666" cy="45146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098500" y="4800601"/>
            <a:ext cx="148957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621837" y="2286000"/>
            <a:ext cx="2442897" cy="2286000"/>
          </a:xfrm>
          <a:blipFill>
            <a:blip r:embed="rId2"/>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270281" y="4799410"/>
            <a:ext cx="148957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793565" y="2286000"/>
            <a:ext cx="2442897" cy="2286000"/>
          </a:xfrm>
          <a:blipFill>
            <a:blip r:embed="rId3"/>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442063" y="4799411"/>
            <a:ext cx="148957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965293" y="2286000"/>
            <a:ext cx="2442897" cy="2286000"/>
          </a:xfrm>
          <a:blipFill>
            <a:blip r:embed="rId4"/>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8613845" y="4799410"/>
            <a:ext cx="1489571"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137021" y="2286000"/>
            <a:ext cx="2442897" cy="2286000"/>
          </a:xfrm>
          <a:blipFill>
            <a:blip r:embed="rId5"/>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998740730"/>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4224">
          <p15:clr>
            <a:srgbClr val="5ACBF0"/>
          </p15:clr>
        </p15:guide>
        <p15:guide id="3" orient="horz" pos="8448">
          <p15:clr>
            <a:srgbClr val="5ACBF0"/>
          </p15:clr>
        </p15:guide>
        <p15:guide id="4" orient="horz" pos="8870">
          <p15:clr>
            <a:srgbClr val="5ACBF0"/>
          </p15:clr>
        </p15:guide>
        <p15:guide id="5" pos="6805">
          <p15:clr>
            <a:srgbClr val="5ACBF0"/>
          </p15:clr>
        </p15:guide>
        <p15:guide id="6" pos="6949">
          <p15:clr>
            <a:srgbClr val="5ACBF0"/>
          </p15:clr>
        </p15:guide>
        <p15:guide id="7" pos="20696">
          <p15:clr>
            <a:srgbClr val="5ACBF0"/>
          </p15:clr>
        </p15:guide>
        <p15:guide id="8" pos="13751">
          <p15:clr>
            <a:srgbClr val="5ACBF0"/>
          </p15:clr>
        </p15:guide>
        <p15:guide id="9" pos="13897">
          <p15:clr>
            <a:srgbClr val="5ACBF0"/>
          </p15:clr>
        </p15:guide>
        <p15:guide id="10" pos="20840">
          <p15:clr>
            <a:srgbClr val="5ACBF0"/>
          </p15:clr>
        </p15:guide>
        <p15:guide id="11" pos="3397">
          <p15:clr>
            <a:srgbClr val="5ACBF0"/>
          </p15:clr>
        </p15:guide>
        <p15:guide id="12" pos="10354">
          <p15:clr>
            <a:srgbClr val="5ACBF0"/>
          </p15:clr>
        </p15:guide>
        <p15:guide id="13" pos="17306">
          <p15:clr>
            <a:srgbClr val="5ACBF0"/>
          </p15:clr>
        </p15:guide>
        <p15:guide id="14" pos="24251">
          <p15:clr>
            <a:srgbClr val="5ACBF0"/>
          </p15:clr>
        </p15:guide>
        <p15:guide id="15" orient="horz">
          <p15:clr>
            <a:srgbClr val="5ACBF0"/>
          </p15:clr>
        </p15:guide>
        <p15:guide id="16" pos="5485">
          <p15:clr>
            <a:srgbClr val="5ACBF0"/>
          </p15:clr>
        </p15:guide>
        <p15:guide id="17" pos="8274">
          <p15:clr>
            <a:srgbClr val="5ACBF0"/>
          </p15:clr>
        </p15:guide>
        <p15:guide id="18" pos="12419">
          <p15:clr>
            <a:srgbClr val="5ACBF0"/>
          </p15:clr>
        </p15:guide>
        <p15:guide id="19" pos="15229">
          <p15:clr>
            <a:srgbClr val="5ACBF0"/>
          </p15:clr>
        </p15:guide>
        <p15:guide id="20" pos="19368">
          <p15:clr>
            <a:srgbClr val="5ACBF0"/>
          </p15:clr>
        </p15:guide>
        <p15:guide id="21" pos="2216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1608667" y="917843"/>
            <a:ext cx="8974666" cy="451460"/>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1856430" y="4800601"/>
            <a:ext cx="1467228" cy="677095"/>
          </a:xfrm>
        </p:spPr>
        <p:txBody>
          <a:bodyPr/>
          <a:lstStyle>
            <a:lvl1pPr marL="0" indent="0" algn="ctr">
              <a:spcBef>
                <a:spcPts val="0"/>
              </a:spcBef>
              <a:buNone/>
              <a:defRPr sz="1467">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618016" y="2286000"/>
            <a:ext cx="1943891" cy="2286000"/>
          </a:xfrm>
          <a:blipFill>
            <a:blip r:embed="rId2"/>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11931" y="4799409"/>
            <a:ext cx="1467228" cy="677095"/>
          </a:xfrm>
        </p:spPr>
        <p:txBody>
          <a:bodyPr/>
          <a:lstStyle>
            <a:lvl1pPr marL="0" indent="0" algn="ctr">
              <a:spcBef>
                <a:spcPts val="0"/>
              </a:spcBef>
              <a:buNone/>
              <a:defRPr sz="1467">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373517" y="2286000"/>
            <a:ext cx="1943891" cy="2286000"/>
          </a:xfrm>
          <a:blipFill>
            <a:blip r:embed="rId3"/>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367429" y="4799410"/>
            <a:ext cx="1467228" cy="677095"/>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129017" y="2286000"/>
            <a:ext cx="1943891" cy="2286000"/>
          </a:xfrm>
          <a:blipFill>
            <a:blip r:embed="rId4"/>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122930" y="4799409"/>
            <a:ext cx="1467228" cy="677095"/>
          </a:xfrm>
        </p:spPr>
        <p:txBody>
          <a:bodyPr/>
          <a:lstStyle>
            <a:lvl1pPr marL="0" indent="0" algn="ctr">
              <a:spcBef>
                <a:spcPts val="0"/>
              </a:spcBef>
              <a:buNone/>
              <a:defRPr sz="1467">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6884516" y="2286000"/>
            <a:ext cx="1943891" cy="2286000"/>
          </a:xfrm>
          <a:blipFill>
            <a:blip r:embed="rId5"/>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8878430" y="4799409"/>
            <a:ext cx="1467228" cy="677095"/>
          </a:xfrm>
        </p:spPr>
        <p:txBody>
          <a:bodyPr/>
          <a:lstStyle>
            <a:lvl1pPr marL="0" indent="0" algn="ctr">
              <a:spcBef>
                <a:spcPts val="0"/>
              </a:spcBef>
              <a:buNone/>
              <a:defRPr sz="1467">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8640017" y="2286000"/>
            <a:ext cx="1943891" cy="2286000"/>
          </a:xfrm>
          <a:blipFill>
            <a:blip r:embed="rId6"/>
            <a:stretch>
              <a:fillRect/>
            </a:stretch>
          </a:blipFill>
        </p:spPr>
        <p:txBody>
          <a:bodyPr lIns="0" tIns="0" rIns="0" bIns="73152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042080156"/>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4224">
          <p15:clr>
            <a:srgbClr val="5ACBF0"/>
          </p15:clr>
        </p15:guide>
        <p15:guide id="3" orient="horz" pos="8448">
          <p15:clr>
            <a:srgbClr val="5ACBF0"/>
          </p15:clr>
        </p15:guide>
        <p15:guide id="4" orient="horz" pos="8870">
          <p15:clr>
            <a:srgbClr val="5ACBF0"/>
          </p15:clr>
        </p15:guide>
        <p15:guide id="8" pos="16672">
          <p15:clr>
            <a:srgbClr val="5ACBF0"/>
          </p15:clr>
        </p15:guide>
        <p15:guide id="9" pos="16534">
          <p15:clr>
            <a:srgbClr val="5ACBF0"/>
          </p15:clr>
        </p15:guide>
        <p15:guide id="10" pos="22081">
          <p15:clr>
            <a:srgbClr val="5ACBF0"/>
          </p15:clr>
        </p15:guide>
        <p15:guide id="11" pos="4763">
          <p15:clr>
            <a:srgbClr val="5ACBF0"/>
          </p15:clr>
        </p15:guide>
        <p15:guide id="12" pos="10313">
          <p15:clr>
            <a:srgbClr val="5ACBF0"/>
          </p15:clr>
        </p15:guide>
        <p15:guide id="13" pos="17335">
          <p15:clr>
            <a:srgbClr val="5ACBF0"/>
          </p15:clr>
        </p15:guide>
        <p15:guide id="14" pos="22899">
          <p15:clr>
            <a:srgbClr val="5ACBF0"/>
          </p15:clr>
        </p15:guide>
        <p15:guide id="15" orient="horz">
          <p15:clr>
            <a:srgbClr val="5ACBF0"/>
          </p15:clr>
        </p15:guide>
        <p15:guide id="16" pos="6218">
          <p15:clr>
            <a:srgbClr val="5ACBF0"/>
          </p15:clr>
        </p15:guide>
        <p15:guide id="17" pos="8257">
          <p15:clr>
            <a:srgbClr val="5ACBF0"/>
          </p15:clr>
        </p15:guide>
        <p15:guide id="18" pos="11783">
          <p15:clr>
            <a:srgbClr val="5ACBF0"/>
          </p15:clr>
        </p15:guide>
        <p15:guide id="19" pos="15880">
          <p15:clr>
            <a:srgbClr val="5ACBF0"/>
          </p15:clr>
        </p15:guide>
        <p15:guide id="21" pos="22245">
          <p15:clr>
            <a:srgbClr val="5ACBF0"/>
          </p15:clr>
        </p15:guide>
        <p15:guide id="22" pos="5403">
          <p15:clr>
            <a:srgbClr val="5ACBF0"/>
          </p15:clr>
        </p15:guide>
        <p15:guide id="23" pos="5555">
          <p15:clr>
            <a:srgbClr val="5ACBF0"/>
          </p15:clr>
        </p15:guide>
        <p15:guide id="24" pos="10976">
          <p15:clr>
            <a:srgbClr val="5ACBF0"/>
          </p15:clr>
        </p15:guide>
        <p15:guide id="25" pos="11117">
          <p15:clr>
            <a:srgbClr val="5ACBF0"/>
          </p15:clr>
        </p15:guide>
        <p15:guide id="26" pos="21433">
          <p15:clr>
            <a:srgbClr val="5ACBF0"/>
          </p15:clr>
        </p15:guide>
        <p15:guide id="27" pos="13824">
          <p15:clr>
            <a:srgbClr val="5ACBF0"/>
          </p15:clr>
        </p15:guide>
        <p15:guide id="28" pos="19391">
          <p15:clr>
            <a:srgbClr val="5ACBF0"/>
          </p15:clr>
        </p15:guide>
        <p15:guide id="29" pos="2710">
          <p15:clr>
            <a:srgbClr val="5ACBF0"/>
          </p15:clr>
        </p15:guide>
        <p15:guide id="30" pos="2493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21017"/>
            <a:ext cx="11018521" cy="45146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7"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7"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4258022513"/>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8870">
          <p15:clr>
            <a:srgbClr val="5ACBF0"/>
          </p15:clr>
        </p15:guide>
        <p15:guide id="3" pos="13824">
          <p15:clr>
            <a:srgbClr val="5ACBF0"/>
          </p15:clr>
        </p15:guide>
        <p15:guide id="4" pos="4620">
          <p15:clr>
            <a:srgbClr val="5ACBF0"/>
          </p15:clr>
        </p15:guide>
        <p15:guide id="5" pos="20397">
          <p15:clr>
            <a:srgbClr val="5ACBF0"/>
          </p15:clr>
        </p15:guide>
        <p15:guide id="6" pos="9867">
          <p15:clr>
            <a:srgbClr val="5ACBF0"/>
          </p15:clr>
        </p15:guide>
        <p15:guide id="7" pos="7242">
          <p15:clr>
            <a:srgbClr val="5ACBF0"/>
          </p15:clr>
        </p15:guide>
        <p15:guide id="8" pos="11193">
          <p15:clr>
            <a:srgbClr val="5ACBF0"/>
          </p15:clr>
        </p15:guide>
        <p15:guide id="9" pos="16452">
          <p15:clr>
            <a:srgbClr val="5ACBF0"/>
          </p15:clr>
        </p15:guide>
        <p15:guide id="11" pos="23028">
          <p15:clr>
            <a:srgbClr val="5ACBF0"/>
          </p15:clr>
        </p15:guide>
        <p15:guide id="12" orient="horz" pos="4224">
          <p15:clr>
            <a:srgbClr val="5ACBF0"/>
          </p15:clr>
        </p15:guide>
        <p15:guide id="13" pos="17778">
          <p15:clr>
            <a:srgbClr val="5ACBF0"/>
          </p15:clr>
        </p15:guide>
        <p15:guide id="14" orient="horz" pos="8489">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11146976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062"/>
            <a:ext cx="11018521" cy="45146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1"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1"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1"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1"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2"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489"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2" y="4800600"/>
            <a:ext cx="2313432"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121449279"/>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8870">
          <p15:clr>
            <a:srgbClr val="5ACBF0"/>
          </p15:clr>
        </p15:guide>
        <p15:guide id="3" pos="14490">
          <p15:clr>
            <a:srgbClr val="5ACBF0"/>
          </p15:clr>
        </p15:guide>
        <p15:guide id="5" pos="21075">
          <p15:clr>
            <a:srgbClr val="5ACBF0"/>
          </p15:clr>
        </p15:guide>
        <p15:guide id="7" pos="13155">
          <p15:clr>
            <a:srgbClr val="5ACBF0"/>
          </p15:clr>
        </p15:guide>
        <p15:guide id="8" pos="7902">
          <p15:clr>
            <a:srgbClr val="5ACBF0"/>
          </p15:clr>
        </p15:guide>
        <p15:guide id="10" pos="10533">
          <p15:clr>
            <a:srgbClr val="5ACBF0"/>
          </p15:clr>
        </p15:guide>
        <p15:guide id="11" pos="17121">
          <p15:clr>
            <a:srgbClr val="5ACBF0"/>
          </p15:clr>
        </p15:guide>
        <p15:guide id="12" pos="23691">
          <p15:clr>
            <a:srgbClr val="5ACBF0"/>
          </p15:clr>
        </p15:guide>
        <p15:guide id="13" pos="3948">
          <p15:clr>
            <a:srgbClr val="5ACBF0"/>
          </p15:clr>
        </p15:guide>
        <p15:guide id="14" orient="horz" pos="4224">
          <p15:clr>
            <a:srgbClr val="5ACBF0"/>
          </p15:clr>
        </p15:guide>
        <p15:guide id="15" pos="6573">
          <p15:clr>
            <a:srgbClr val="5ACBF0"/>
          </p15:clr>
        </p15:guide>
        <p15:guide id="18" pos="19740">
          <p15:clr>
            <a:srgbClr val="5ACBF0"/>
          </p15:clr>
        </p15:guide>
        <p15:guide id="19" orient="horz" pos="850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915062"/>
            <a:ext cx="11018521" cy="451460"/>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08"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7"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08"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7" y="4235450"/>
            <a:ext cx="1737360"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08"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2"/>
            <a:ext cx="1737360"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08"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4"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08"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4" y="4235450"/>
            <a:ext cx="1737360" cy="451396"/>
          </a:xfrm>
        </p:spPr>
        <p:txBody>
          <a:bodyPr/>
          <a:lstStyle>
            <a:lvl1pPr marL="0" indent="0" algn="ctr">
              <a:spcBef>
                <a:spcPts val="0"/>
              </a:spcBef>
              <a:buNone/>
              <a:defRPr sz="1467">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629142020"/>
      </p:ext>
    </p:extLst>
  </p:cSld>
  <p:clrMapOvr>
    <a:masterClrMapping/>
  </p:clrMapOvr>
  <p:transition>
    <p:fade/>
  </p:transition>
  <p:extLst>
    <p:ext uri="{DCECCB84-F9BA-43D5-87BE-67443E8EF086}">
      <p15:sldGuideLst xmlns:p15="http://schemas.microsoft.com/office/powerpoint/2012/main">
        <p15:guide id="1" orient="horz" pos="2112">
          <p15:clr>
            <a:srgbClr val="5ACBF0"/>
          </p15:clr>
        </p15:guide>
        <p15:guide id="2" orient="horz" pos="7814">
          <p15:clr>
            <a:srgbClr val="5ACBF0"/>
          </p15:clr>
        </p15:guide>
        <p15:guide id="3" pos="22377">
          <p15:clr>
            <a:srgbClr val="5ACBF0"/>
          </p15:clr>
        </p15:guide>
        <p15:guide id="5" pos="21060">
          <p15:clr>
            <a:srgbClr val="5ACBF0"/>
          </p15:clr>
        </p15:guide>
        <p15:guide id="7" pos="15810">
          <p15:clr>
            <a:srgbClr val="5ACBF0"/>
          </p15:clr>
        </p15:guide>
        <p15:guide id="8" pos="11850">
          <p15:clr>
            <a:srgbClr val="5ACBF0"/>
          </p15:clr>
        </p15:guide>
        <p15:guide id="10" pos="10533">
          <p15:clr>
            <a:srgbClr val="5ACBF0"/>
          </p15:clr>
        </p15:guide>
        <p15:guide id="11" pos="17115">
          <p15:clr>
            <a:srgbClr val="5ACBF0"/>
          </p15:clr>
        </p15:guide>
        <p15:guide id="13" pos="5271">
          <p15:clr>
            <a:srgbClr val="5ACBF0"/>
          </p15:clr>
        </p15:guide>
        <p15:guide id="14" orient="horz" pos="4224">
          <p15:clr>
            <a:srgbClr val="5ACBF0"/>
          </p15:clr>
        </p15:guide>
        <p15:guide id="15" pos="6588">
          <p15:clr>
            <a:srgbClr val="5ACBF0"/>
          </p15:clr>
        </p15:guide>
        <p15:guide id="16" orient="horz" pos="743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622384" y="2309812"/>
            <a:ext cx="3182027" cy="451460"/>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393267" y="2309814"/>
            <a:ext cx="5190066" cy="351121"/>
          </a:xfrm>
        </p:spPr>
        <p:txBody>
          <a:bodyPr anchor="t"/>
          <a:lstStyle>
            <a:lvl1pPr marL="188812" indent="-188812">
              <a:spcAft>
                <a:spcPts val="489"/>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1622384"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624501"/>
      </p:ext>
    </p:extLst>
  </p:cSld>
  <p:clrMapOvr>
    <a:masterClrMapping/>
  </p:clrMapOvr>
  <p:transition>
    <p:fade/>
  </p:transition>
  <p:extLst>
    <p:ext uri="{DCECCB84-F9BA-43D5-87BE-67443E8EF086}">
      <p15:sldGuideLst xmlns:p15="http://schemas.microsoft.com/office/powerpoint/2012/main">
        <p15:guide id="13" pos="12193">
          <p15:clr>
            <a:srgbClr val="5ACBF0"/>
          </p15:clr>
        </p15:guide>
        <p15:guide id="29" orient="horz" pos="3731">
          <p15:clr>
            <a:srgbClr val="5ACBF0"/>
          </p15:clr>
        </p15:guide>
        <p15:guide id="30" pos="10944">
          <p15:clr>
            <a:srgbClr val="5ACBF0"/>
          </p15:clr>
        </p15:guide>
        <p15:guide id="32" orient="horz" pos="4268">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1614848" y="3201683"/>
            <a:ext cx="3182027" cy="45146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68472" y="3251854"/>
            <a:ext cx="4608681" cy="351121"/>
          </a:xfrm>
        </p:spPr>
        <p:txBody>
          <a:bodyPr anchor="ctr"/>
          <a:lstStyle>
            <a:lvl1pPr marL="188812" indent="-188812">
              <a:spcAft>
                <a:spcPts val="489"/>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5382684" y="2578100"/>
            <a:ext cx="0" cy="1701801"/>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3" y="-203944"/>
            <a:ext cx="471447" cy="125360"/>
          </a:xfrm>
          <a:prstGeom prst="rect">
            <a:avLst/>
          </a:prstGeom>
          <a:noFill/>
        </p:spPr>
        <p:txBody>
          <a:bodyPr wrap="none" lIns="0" tIns="0" rIns="0" bIns="0" rtlCol="0">
            <a:spAutoFit/>
          </a:bodyPr>
          <a:lstStyle/>
          <a:p>
            <a:pPr algn="l"/>
            <a:r>
              <a:rPr lang="en-US" sz="815">
                <a:solidFill>
                  <a:srgbClr val="A3A3A3"/>
                </a:solidFill>
              </a:rPr>
              <a:t>ELT layout</a:t>
            </a:r>
          </a:p>
        </p:txBody>
      </p:sp>
    </p:spTree>
    <p:extLst>
      <p:ext uri="{BB962C8B-B14F-4D97-AF65-F5344CB8AC3E}">
        <p14:creationId xmlns:p14="http://schemas.microsoft.com/office/powerpoint/2010/main" val="3377715197"/>
      </p:ext>
    </p:extLst>
  </p:cSld>
  <p:clrMapOvr>
    <a:masterClrMapping/>
  </p:clrMapOvr>
  <p:transition>
    <p:fade/>
  </p:transition>
  <p:extLst>
    <p:ext uri="{DCECCB84-F9BA-43D5-87BE-67443E8EF086}">
      <p15:sldGuideLst xmlns:p15="http://schemas.microsoft.com/office/powerpoint/2012/main">
        <p15:guide id="13" pos="12217">
          <p15:clr>
            <a:srgbClr val="5ACBF0"/>
          </p15:clr>
        </p15:guide>
        <p15:guide id="29" orient="horz" pos="6336">
          <p15:clr>
            <a:srgbClr val="5ACBF0"/>
          </p15:clr>
        </p15:guide>
        <p15:guide id="30" pos="10920">
          <p15:clr>
            <a:srgbClr val="5ACBF0"/>
          </p15:clr>
        </p15:guide>
        <p15:guide id="31" pos="135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a:xfrm>
            <a:off x="1614846" y="508470"/>
            <a:ext cx="8968487" cy="451460"/>
          </a:xfrm>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l" defTabSz="759623" fontAlgn="base">
              <a:spcBef>
                <a:spcPct val="0"/>
              </a:spcBef>
              <a:spcAft>
                <a:spcPct val="0"/>
              </a:spcAft>
            </a:pPr>
            <a:endParaRPr lang="en-US" sz="1629">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1026584" y="1436688"/>
            <a:ext cx="3788359" cy="38639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628">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1614846" y="2099312"/>
            <a:ext cx="8968487" cy="300889"/>
          </a:xfrm>
        </p:spPr>
        <p:txBody>
          <a:bodyPr/>
          <a:lstStyle>
            <a:lvl1pPr marL="0" indent="0">
              <a:buNone/>
              <a:tabLst/>
              <a:defRPr sz="1955">
                <a:solidFill>
                  <a:srgbClr val="000000"/>
                </a:solidFill>
                <a:latin typeface="Consolas" panose="020B0609020204030204" pitchFamily="49" charset="0"/>
                <a:cs typeface="Consolas" panose="020B0609020204030204" pitchFamily="49" charset="0"/>
              </a:defRPr>
            </a:lvl1pPr>
            <a:lvl2pPr marL="282314" indent="0">
              <a:buNone/>
              <a:tabLst>
                <a:tab pos="280631" algn="l"/>
              </a:tabLst>
              <a:defRPr sz="1955">
                <a:solidFill>
                  <a:schemeClr val="tx1"/>
                </a:solidFill>
                <a:latin typeface="Consolas" panose="020B0609020204030204" pitchFamily="49" charset="0"/>
                <a:cs typeface="Consolas" panose="020B0609020204030204" pitchFamily="49" charset="0"/>
              </a:defRPr>
            </a:lvl2pPr>
            <a:lvl3pPr marL="476241" indent="0">
              <a:buNone/>
              <a:tabLst>
                <a:tab pos="464270" algn="l"/>
              </a:tabLst>
              <a:defRPr sz="1955">
                <a:solidFill>
                  <a:schemeClr val="tx1"/>
                </a:solidFill>
                <a:latin typeface="Consolas" panose="020B0609020204030204" pitchFamily="49" charset="0"/>
                <a:cs typeface="Consolas" panose="020B0609020204030204" pitchFamily="49" charset="0"/>
              </a:defRPr>
            </a:lvl3pPr>
            <a:lvl4pPr marL="663570" indent="0">
              <a:buNone/>
              <a:tabLst>
                <a:tab pos="651788" algn="l"/>
              </a:tabLst>
              <a:defRPr sz="1955">
                <a:solidFill>
                  <a:schemeClr val="tx1"/>
                </a:solidFill>
                <a:latin typeface="Consolas" panose="020B0609020204030204" pitchFamily="49" charset="0"/>
                <a:cs typeface="Consolas" panose="020B0609020204030204" pitchFamily="49" charset="0"/>
              </a:defRPr>
            </a:lvl4pPr>
            <a:lvl5pPr marL="856177" indent="0">
              <a:buNone/>
              <a:tabLst>
                <a:tab pos="838013" algn="l"/>
              </a:tabLst>
              <a:defRPr sz="1955">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44907055"/>
      </p:ext>
    </p:extLst>
  </p:cSld>
  <p:clrMapOvr>
    <a:masterClrMapping/>
  </p:clrMapOvr>
  <p:transition>
    <p:fade/>
  </p:transition>
  <p:extLst>
    <p:ext uri="{DCECCB84-F9BA-43D5-87BE-67443E8EF086}">
      <p15:sldGuideLst xmlns:p15="http://schemas.microsoft.com/office/powerpoint/2012/main">
        <p15:guide id="1" orient="horz" pos="3878">
          <p15:clr>
            <a:srgbClr val="5ACBF0"/>
          </p15:clr>
        </p15:guide>
        <p15:guide id="2" orient="horz" pos="2655">
          <p15:clr>
            <a:srgbClr val="5ACBF0"/>
          </p15:clr>
        </p15:guide>
        <p15:guide id="3" orient="horz" pos="845">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614846" y="457202"/>
            <a:ext cx="8968487" cy="451460"/>
          </a:xfrm>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612974" y="1230682"/>
            <a:ext cx="8968487" cy="300889"/>
          </a:xfrm>
        </p:spPr>
        <p:txBody>
          <a:bodyPr wrap="square">
            <a:spAutoFit/>
          </a:bodyPr>
          <a:lstStyle>
            <a:lvl1pPr marL="0" indent="0">
              <a:spcBef>
                <a:spcPts val="489"/>
              </a:spcBef>
              <a:spcAft>
                <a:spcPts val="0"/>
              </a:spcAft>
              <a:buNone/>
              <a:defRPr sz="1955">
                <a:solidFill>
                  <a:schemeClr val="tx1"/>
                </a:solidFill>
                <a:latin typeface="+mn-lt"/>
                <a:cs typeface="Segoe UI" panose="020B0502040204020203" pitchFamily="34" charset="0"/>
              </a:defRPr>
            </a:lvl1pPr>
            <a:lvl2pPr marL="186169" indent="0">
              <a:buNone/>
              <a:defRPr sz="1955">
                <a:solidFill>
                  <a:srgbClr val="2F2F2F"/>
                </a:solidFill>
                <a:latin typeface="Segoe UI" panose="020B0502040204020203" pitchFamily="34" charset="0"/>
                <a:cs typeface="Segoe UI" panose="020B0502040204020203" pitchFamily="34" charset="0"/>
              </a:defRPr>
            </a:lvl2pPr>
            <a:lvl3pPr marL="372339" indent="0">
              <a:buNone/>
              <a:defRPr/>
            </a:lvl3pPr>
            <a:lvl4pPr marL="558507" indent="0">
              <a:buNone/>
              <a:defRPr/>
            </a:lvl4pPr>
            <a:lvl5pPr marL="744677"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l" defTabSz="759623" fontAlgn="base">
              <a:spcBef>
                <a:spcPct val="0"/>
              </a:spcBef>
              <a:spcAft>
                <a:spcPct val="0"/>
              </a:spcAft>
            </a:pPr>
            <a:endParaRPr lang="en-US" sz="1629">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026584" y="2827138"/>
            <a:ext cx="3788359" cy="38639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62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612972" y="3491220"/>
            <a:ext cx="8970362" cy="300889"/>
          </a:xfrm>
        </p:spPr>
        <p:txBody>
          <a:bodyPr/>
          <a:lstStyle>
            <a:lvl1pPr marL="0" indent="0">
              <a:buNone/>
              <a:tabLst/>
              <a:defRPr sz="1955">
                <a:solidFill>
                  <a:srgbClr val="000000"/>
                </a:solidFill>
                <a:latin typeface="Consolas" panose="020B0609020204030204" pitchFamily="49" charset="0"/>
                <a:cs typeface="Consolas" panose="020B0609020204030204" pitchFamily="49" charset="0"/>
              </a:defRPr>
            </a:lvl1pPr>
            <a:lvl2pPr marL="282229" indent="0">
              <a:buNone/>
              <a:defRPr sz="19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76097" indent="0">
              <a:buNone/>
              <a:defRPr sz="162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6337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85592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000918383"/>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4" orient="horz" pos="5210">
          <p15:clr>
            <a:srgbClr val="5ACBF0"/>
          </p15:clr>
        </p15:guide>
        <p15:guide id="5" orient="horz" pos="6445">
          <p15:clr>
            <a:srgbClr val="5ACBF0"/>
          </p15:clr>
        </p15:guide>
        <p15:guide id="6" orient="horz" pos="2267">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l" defTabSz="759623" fontAlgn="base">
              <a:spcBef>
                <a:spcPct val="0"/>
              </a:spcBef>
              <a:spcAft>
                <a:spcPct val="0"/>
              </a:spcAft>
            </a:pPr>
            <a:endParaRPr lang="en-US" sz="1629">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1614846" y="4224582"/>
            <a:ext cx="8970362" cy="401228"/>
          </a:xfrm>
        </p:spPr>
        <p:txBody>
          <a:bodyPr/>
          <a:lstStyle>
            <a:lvl1pPr>
              <a:defRPr sz="2607">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1026584" y="0"/>
            <a:ext cx="3788359" cy="386390"/>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62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1612972" y="660510"/>
            <a:ext cx="8970362" cy="300889"/>
          </a:xfrm>
        </p:spPr>
        <p:txBody>
          <a:bodyPr/>
          <a:lstStyle>
            <a:lvl1pPr marL="0" indent="0">
              <a:buNone/>
              <a:tabLst/>
              <a:defRPr sz="1955">
                <a:solidFill>
                  <a:srgbClr val="000000"/>
                </a:solidFill>
                <a:latin typeface="Consolas" panose="020B0609020204030204" pitchFamily="49" charset="0"/>
                <a:cs typeface="Consolas" panose="020B0609020204030204" pitchFamily="49" charset="0"/>
              </a:defRPr>
            </a:lvl1pPr>
            <a:lvl2pPr marL="282229" indent="0">
              <a:buNone/>
              <a:defRPr sz="19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76097" indent="0">
              <a:buNone/>
              <a:defRPr sz="162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6337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85592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1617736" y="4996506"/>
            <a:ext cx="8970362" cy="300889"/>
          </a:xfrm>
        </p:spPr>
        <p:txBody>
          <a:bodyPr wrap="square">
            <a:spAutoFit/>
          </a:bodyPr>
          <a:lstStyle>
            <a:lvl1pPr marL="0" indent="0">
              <a:spcBef>
                <a:spcPts val="489"/>
              </a:spcBef>
              <a:spcAft>
                <a:spcPts val="0"/>
              </a:spcAft>
              <a:buNone/>
              <a:defRPr sz="1955">
                <a:solidFill>
                  <a:schemeClr val="tx1"/>
                </a:solidFill>
                <a:latin typeface="+mn-lt"/>
                <a:cs typeface="Segoe UI" panose="020B0502040204020203" pitchFamily="34" charset="0"/>
              </a:defRPr>
            </a:lvl1pPr>
            <a:lvl2pPr marL="186169" indent="0">
              <a:buNone/>
              <a:defRPr sz="1955">
                <a:solidFill>
                  <a:srgbClr val="2F2F2F"/>
                </a:solidFill>
                <a:latin typeface="Segoe UI" panose="020B0502040204020203" pitchFamily="34" charset="0"/>
                <a:cs typeface="Segoe UI" panose="020B0502040204020203" pitchFamily="34" charset="0"/>
              </a:defRPr>
            </a:lvl2pPr>
            <a:lvl3pPr marL="372339" indent="0">
              <a:buNone/>
              <a:defRPr/>
            </a:lvl3pPr>
            <a:lvl4pPr marL="558507" indent="0">
              <a:buNone/>
              <a:defRPr/>
            </a:lvl4pPr>
            <a:lvl5pPr marL="744677" indent="0">
              <a:buNone/>
              <a:defRPr/>
            </a:lvl5pPr>
          </a:lstStyle>
          <a:p>
            <a:pPr lvl="0"/>
            <a:r>
              <a:rPr lang="en-US"/>
              <a:t>Click to edit text</a:t>
            </a:r>
          </a:p>
        </p:txBody>
      </p:sp>
    </p:spTree>
    <p:extLst>
      <p:ext uri="{BB962C8B-B14F-4D97-AF65-F5344CB8AC3E}">
        <p14:creationId xmlns:p14="http://schemas.microsoft.com/office/powerpoint/2010/main" val="489120164"/>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4" orient="horz" pos="7806">
          <p15:clr>
            <a:srgbClr val="5ACBF0"/>
          </p15:clr>
        </p15:guide>
        <p15:guide id="5" orient="horz" pos="9231">
          <p15:clr>
            <a:srgbClr val="5ACBF0"/>
          </p15:clr>
        </p15:guide>
        <p15:guide id="6" orient="horz" pos="1229">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1604265" y="457202"/>
            <a:ext cx="4040887" cy="401228"/>
          </a:xfrm>
        </p:spPr>
        <p:txBody>
          <a:bodyPr/>
          <a:lstStyle>
            <a:lvl1pPr>
              <a:defRPr sz="2607">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1604966" y="1338141"/>
            <a:ext cx="3601018" cy="300889"/>
          </a:xfrm>
        </p:spPr>
        <p:txBody>
          <a:bodyPr wrap="square">
            <a:spAutoFit/>
          </a:bodyPr>
          <a:lstStyle>
            <a:lvl1pPr marL="0" indent="0">
              <a:lnSpc>
                <a:spcPct val="100000"/>
              </a:lnSpc>
              <a:spcBef>
                <a:spcPts val="489"/>
              </a:spcBef>
              <a:spcAft>
                <a:spcPts val="0"/>
              </a:spcAft>
              <a:buNone/>
              <a:defRPr sz="1955"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49"/>
              </a:spcBef>
              <a:spcAft>
                <a:spcPts val="49"/>
              </a:spcAft>
              <a:buNone/>
              <a:defRPr sz="1955" b="0" i="0">
                <a:solidFill>
                  <a:srgbClr val="2F2F2F"/>
                </a:solidFill>
                <a:latin typeface="Segoe UI" panose="020B0502040204020203" pitchFamily="34" charset="0"/>
                <a:cs typeface="Segoe UI" panose="020B0502040204020203" pitchFamily="34" charset="0"/>
              </a:defRPr>
            </a:lvl2pPr>
            <a:lvl3pPr marL="372339" indent="0">
              <a:buNone/>
              <a:defRPr/>
            </a:lvl3pPr>
            <a:lvl4pPr marL="558507" indent="0">
              <a:buNone/>
              <a:defRPr/>
            </a:lvl4pPr>
            <a:lvl5pPr marL="744677"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800549" y="0"/>
            <a:ext cx="6391451"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l" defTabSz="759623" fontAlgn="base">
              <a:spcBef>
                <a:spcPct val="0"/>
              </a:spcBef>
              <a:spcAft>
                <a:spcPct val="0"/>
              </a:spcAft>
            </a:pPr>
            <a:endParaRPr lang="en-US" sz="1629">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27764" y="1"/>
            <a:ext cx="3788359" cy="431656"/>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62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816726" y="709188"/>
            <a:ext cx="4792750" cy="300889"/>
          </a:xfrm>
        </p:spPr>
        <p:txBody>
          <a:bodyPr/>
          <a:lstStyle>
            <a:lvl1pPr marL="0" indent="0">
              <a:buNone/>
              <a:tabLst/>
              <a:defRPr sz="1955">
                <a:solidFill>
                  <a:srgbClr val="2F2F2F"/>
                </a:solidFill>
                <a:latin typeface="Consolas" panose="020B0609020204030204" pitchFamily="49" charset="0"/>
                <a:cs typeface="Consolas" panose="020B0609020204030204" pitchFamily="49" charset="0"/>
              </a:defRPr>
            </a:lvl1pPr>
            <a:lvl2pPr marL="282229" indent="0">
              <a:buNone/>
              <a:defRPr sz="19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76097" indent="0">
              <a:buNone/>
              <a:defRPr sz="162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6337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85592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82340450"/>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1305">
          <p15:clr>
            <a:srgbClr val="5ACBF0"/>
          </p15:clr>
        </p15:guide>
        <p15:guide id="4" orient="horz" pos="2473">
          <p15:clr>
            <a:srgbClr val="5ACBF0"/>
          </p15:clr>
        </p15:guide>
        <p15:guide id="7" pos="11818">
          <p15:clr>
            <a:srgbClr val="5ACBF0"/>
          </p15:clr>
        </p15:guide>
        <p15:guide id="8" pos="13155">
          <p15:clr>
            <a:srgbClr val="5ACBF0"/>
          </p15:clr>
        </p15:guide>
        <p15:guide id="9" pos="1049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1"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l" defTabSz="759623" fontAlgn="base">
              <a:spcBef>
                <a:spcPct val="0"/>
              </a:spcBef>
              <a:spcAft>
                <a:spcPct val="0"/>
              </a:spcAft>
            </a:pPr>
            <a:endParaRPr lang="en-US" sz="1629">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2"/>
            <a:ext cx="4031233" cy="401228"/>
          </a:xfrm>
        </p:spPr>
        <p:txBody>
          <a:bodyPr/>
          <a:lstStyle>
            <a:lvl1pPr>
              <a:defRPr sz="2607">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9" cy="431656"/>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628">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3"/>
            <a:ext cx="5819774" cy="300889"/>
          </a:xfrm>
        </p:spPr>
        <p:txBody>
          <a:bodyPr/>
          <a:lstStyle>
            <a:lvl1pPr marL="0" indent="0">
              <a:buNone/>
              <a:defRPr sz="1955">
                <a:solidFill>
                  <a:srgbClr val="2F2F2F"/>
                </a:solidFill>
                <a:latin typeface="Consolas" panose="020B0609020204030204" pitchFamily="49" charset="0"/>
                <a:cs typeface="Consolas" panose="020B0609020204030204" pitchFamily="49" charset="0"/>
              </a:defRPr>
            </a:lvl1pPr>
            <a:lvl2pPr marL="282229" indent="0">
              <a:buNone/>
              <a:defRPr sz="1955">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76097" indent="0">
              <a:buNone/>
              <a:defRPr sz="162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6337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855921" indent="0">
              <a:buNone/>
              <a:defRPr sz="146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1" y="1336677"/>
            <a:ext cx="4033838" cy="300889"/>
          </a:xfrm>
        </p:spPr>
        <p:txBody>
          <a:bodyPr wrap="square">
            <a:spAutoFit/>
          </a:bodyPr>
          <a:lstStyle>
            <a:lvl1pPr marL="0" indent="0">
              <a:lnSpc>
                <a:spcPct val="100000"/>
              </a:lnSpc>
              <a:spcBef>
                <a:spcPts val="489"/>
              </a:spcBef>
              <a:spcAft>
                <a:spcPts val="0"/>
              </a:spcAft>
              <a:buNone/>
              <a:defRPr sz="1955"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49"/>
              </a:spcBef>
              <a:spcAft>
                <a:spcPts val="49"/>
              </a:spcAft>
              <a:buNone/>
              <a:defRPr sz="1955" b="0" i="0">
                <a:solidFill>
                  <a:srgbClr val="2F2F2F"/>
                </a:solidFill>
                <a:latin typeface="Segoe UI" panose="020B0502040204020203" pitchFamily="34" charset="0"/>
                <a:cs typeface="Segoe UI" panose="020B0502040204020203" pitchFamily="34" charset="0"/>
              </a:defRPr>
            </a:lvl2pPr>
            <a:lvl3pPr marL="372339" indent="0">
              <a:buNone/>
              <a:defRPr/>
            </a:lvl3pPr>
            <a:lvl4pPr marL="558507" indent="0">
              <a:buNone/>
              <a:defRPr/>
            </a:lvl4pPr>
            <a:lvl5pPr marL="744677" indent="0">
              <a:buNone/>
              <a:defRPr/>
            </a:lvl5pPr>
          </a:lstStyle>
          <a:p>
            <a:pPr lvl="0"/>
            <a:r>
              <a:rPr lang="en-US"/>
              <a:t>Click to edit text</a:t>
            </a:r>
          </a:p>
        </p:txBody>
      </p:sp>
    </p:spTree>
    <p:extLst>
      <p:ext uri="{BB962C8B-B14F-4D97-AF65-F5344CB8AC3E}">
        <p14:creationId xmlns:p14="http://schemas.microsoft.com/office/powerpoint/2010/main" val="1640852998"/>
      </p:ext>
    </p:extLst>
  </p:cSld>
  <p:clrMapOvr>
    <a:masterClrMapping/>
  </p:clrMapOvr>
  <p:transition>
    <p:fade/>
  </p:transition>
  <p:extLst>
    <p:ext uri="{DCECCB84-F9BA-43D5-87BE-67443E8EF086}">
      <p15:sldGuideLst xmlns:p15="http://schemas.microsoft.com/office/powerpoint/2012/main">
        <p15:guide id="1" orient="horz" pos="845">
          <p15:clr>
            <a:srgbClr val="5ACBF0"/>
          </p15:clr>
        </p15:guide>
        <p15:guide id="2" orient="horz" pos="1279">
          <p15:clr>
            <a:srgbClr val="5ACBF0"/>
          </p15:clr>
        </p15:guide>
        <p15:guide id="4" orient="horz" pos="2461">
          <p15:clr>
            <a:srgbClr val="5ACBF0"/>
          </p15:clr>
        </p15:guide>
        <p15:guide id="6" pos="15848">
          <p15:clr>
            <a:srgbClr val="5ACBF0"/>
          </p15:clr>
        </p15:guide>
        <p15:guide id="7" pos="14522">
          <p15:clr>
            <a:srgbClr val="5ACBF0"/>
          </p15:clr>
        </p15:guide>
        <p15:guide id="8" pos="17180">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83B0F44-1527-F6F0-E88B-EC83140B1EC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4"/>
            <a:ext cx="12192000" cy="6857886"/>
          </a:xfrm>
          <a:prstGeom prst="rect">
            <a:avLst/>
          </a:prstGeom>
        </p:spPr>
      </p:pic>
      <p:sp>
        <p:nvSpPr>
          <p:cNvPr id="2" name="Title 1"/>
          <p:cNvSpPr>
            <a:spLocks noGrp="1"/>
          </p:cNvSpPr>
          <p:nvPr>
            <p:ph type="title" hasCustomPrompt="1"/>
          </p:nvPr>
        </p:nvSpPr>
        <p:spPr>
          <a:xfrm>
            <a:off x="1622383" y="3080426"/>
            <a:ext cx="6217920" cy="451396"/>
          </a:xfrm>
          <a:noFill/>
        </p:spPr>
        <p:txBody>
          <a:bodyPr lIns="0" tIns="0" rIns="0" bIns="0" anchor="b" anchorCtr="0">
            <a:spAutoFit/>
          </a:bodyPr>
          <a:lstStyle>
            <a:lvl1pPr algn="l" defTabSz="759842" rtl="0" eaLnBrk="1" latinLnBrk="0" hangingPunct="1">
              <a:lnSpc>
                <a:spcPct val="90000"/>
              </a:lnSpc>
              <a:spcBef>
                <a:spcPct val="0"/>
              </a:spcBef>
              <a:buNone/>
              <a:defRPr lang="en-US" sz="3259" b="0" kern="1200" cap="none" spc="-41" baseline="0" dirty="0">
                <a:ln w="3175">
                  <a:noFill/>
                </a:ln>
                <a:solidFill>
                  <a:srgbClr val="091F2C"/>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622383" y="3977321"/>
            <a:ext cx="6217920" cy="200676"/>
          </a:xfrm>
          <a:noFill/>
        </p:spPr>
        <p:txBody>
          <a:bodyPr lIns="0" tIns="0" rIns="0" bIns="0">
            <a:spAutoFit/>
          </a:bodyPr>
          <a:lstStyle>
            <a:lvl1pPr marL="0" indent="0">
              <a:spcBef>
                <a:spcPts val="0"/>
              </a:spcBef>
              <a:spcAft>
                <a:spcPts val="0"/>
              </a:spcAft>
              <a:buFont typeface="Arial" panose="020B0604020202020204" pitchFamily="34" charset="0"/>
              <a:buNone/>
              <a:defRPr sz="1304" spc="0" baseline="0">
                <a:solidFill>
                  <a:srgbClr val="091F2C"/>
                </a:solidFill>
                <a:latin typeface="+mn-lt"/>
              </a:defRPr>
            </a:lvl1pPr>
          </a:lstStyle>
          <a:p>
            <a:pPr lvl="0"/>
            <a:r>
              <a:rPr lang="en-US"/>
              <a:t>Speaker name</a:t>
            </a:r>
          </a:p>
        </p:txBody>
      </p:sp>
    </p:spTree>
    <p:extLst>
      <p:ext uri="{BB962C8B-B14F-4D97-AF65-F5344CB8AC3E}">
        <p14:creationId xmlns:p14="http://schemas.microsoft.com/office/powerpoint/2010/main" val="15404723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336">
          <p15:clr>
            <a:srgbClr val="FBAE40"/>
          </p15:clr>
        </p15:guide>
        <p15:guide id="2" pos="22087">
          <p15:clr>
            <a:srgbClr val="5ACBF0"/>
          </p15:clr>
        </p15:guide>
        <p15:guide id="3" orient="horz" pos="5603">
          <p15:clr>
            <a:srgbClr val="5ACBF0"/>
          </p15:clr>
        </p15:guide>
        <p15:guide id="4" orient="horz" pos="734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6740"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24188546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2383" y="3080426"/>
            <a:ext cx="9144000" cy="451396"/>
          </a:xfrm>
          <a:noFill/>
        </p:spPr>
        <p:txBody>
          <a:bodyPr lIns="0" tIns="0" rIns="0" bIns="0" anchor="b" anchorCtr="0">
            <a:spAutoFit/>
          </a:bodyPr>
          <a:lstStyle>
            <a:lvl1pPr algn="l" defTabSz="759842" rtl="0" eaLnBrk="1" latinLnBrk="0" hangingPunct="1">
              <a:lnSpc>
                <a:spcPct val="90000"/>
              </a:lnSpc>
              <a:spcBef>
                <a:spcPct val="0"/>
              </a:spcBef>
              <a:buNone/>
              <a:defRPr lang="en-US" sz="3259" b="0" kern="1200" cap="none" spc="-41"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622383" y="3977321"/>
            <a:ext cx="9144000" cy="200676"/>
          </a:xfrm>
          <a:noFill/>
        </p:spPr>
        <p:txBody>
          <a:bodyPr lIns="0" tIns="0" rIns="0" bIns="0">
            <a:spAutoFit/>
          </a:bodyPr>
          <a:lstStyle>
            <a:lvl1pPr marL="0" indent="0">
              <a:spcBef>
                <a:spcPts val="0"/>
              </a:spcBef>
              <a:spcAft>
                <a:spcPts val="0"/>
              </a:spcAft>
              <a:buFont typeface="Arial" panose="020B0604020202020204" pitchFamily="34" charset="0"/>
              <a:buNone/>
              <a:defRPr sz="1304"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2621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336">
          <p15:clr>
            <a:srgbClr val="FBAE40"/>
          </p15:clr>
        </p15:guide>
        <p15:guide id="2" pos="22087">
          <p15:clr>
            <a:srgbClr val="5ACBF0"/>
          </p15:clr>
        </p15:guide>
        <p15:guide id="3" orient="horz" pos="5603">
          <p15:clr>
            <a:srgbClr val="5ACBF0"/>
          </p15:clr>
        </p15:guide>
        <p15:guide id="4" orient="horz" pos="734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CDFD13-6896-24D9-3F53-88D31F1D222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1622383" y="3083010"/>
            <a:ext cx="6675120" cy="451396"/>
          </a:xfrm>
          <a:noFill/>
        </p:spPr>
        <p:txBody>
          <a:bodyPr lIns="0" tIns="0" rIns="0" bIns="0" anchor="b" anchorCtr="0">
            <a:spAutoFit/>
          </a:bodyPr>
          <a:lstStyle>
            <a:lvl1pPr algn="l" defTabSz="759842" rtl="0" eaLnBrk="1" latinLnBrk="0" hangingPunct="1">
              <a:lnSpc>
                <a:spcPct val="90000"/>
              </a:lnSpc>
              <a:spcBef>
                <a:spcPct val="0"/>
              </a:spcBef>
              <a:buNone/>
              <a:defRPr lang="en-US" sz="3259" b="0" kern="1200" cap="none" spc="-41"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83413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336">
          <p15:clr>
            <a:srgbClr val="FBAE40"/>
          </p15:clr>
        </p15:guide>
        <p15:guide id="2" pos="22057">
          <p15:clr>
            <a:srgbClr val="5ACBF0"/>
          </p15:clr>
        </p15:guide>
        <p15:guide id="3" orient="horz" pos="560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22383" y="3083010"/>
            <a:ext cx="9144000" cy="451396"/>
          </a:xfrm>
          <a:noFill/>
        </p:spPr>
        <p:txBody>
          <a:bodyPr lIns="0" tIns="0" rIns="0" bIns="0" anchor="b" anchorCtr="0">
            <a:spAutoFit/>
          </a:bodyPr>
          <a:lstStyle>
            <a:lvl1pPr algn="l" defTabSz="759842" rtl="0" eaLnBrk="1" latinLnBrk="0" hangingPunct="1">
              <a:lnSpc>
                <a:spcPct val="90000"/>
              </a:lnSpc>
              <a:spcBef>
                <a:spcPct val="0"/>
              </a:spcBef>
              <a:buNone/>
              <a:defRPr lang="en-US" sz="3259" b="0" kern="1200" cap="none" spc="-41"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0674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336">
          <p15:clr>
            <a:srgbClr val="FBAE40"/>
          </p15:clr>
        </p15:guide>
        <p15:guide id="2" pos="22087">
          <p15:clr>
            <a:srgbClr val="5ACBF0"/>
          </p15:clr>
        </p15:guide>
        <p15:guide id="3" orient="horz" pos="560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125780"/>
      </p:ext>
    </p:extLst>
  </p:cSld>
  <p:clrMapOvr>
    <a:masterClrMapping/>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81">
          <p15:clr>
            <a:srgbClr val="A4A3A4"/>
          </p15:clr>
        </p15:guide>
        <p15:guide id="15" pos="12052">
          <p15:clr>
            <a:srgbClr val="A4A3A4"/>
          </p15:clr>
        </p15:guide>
        <p15:guide id="16" pos="13513">
          <p15:clr>
            <a:srgbClr val="A4A3A4"/>
          </p15:clr>
        </p15:guide>
        <p15:guide id="17" pos="14153">
          <p15:clr>
            <a:srgbClr val="A4A3A4"/>
          </p15:clr>
        </p15:guide>
        <p15:guide id="18" pos="15631">
          <p15:clr>
            <a:srgbClr val="A4A3A4"/>
          </p15:clr>
        </p15:guide>
        <p15:guide id="19" pos="16311">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28" orient="horz" pos="2655">
          <p15:clr>
            <a:srgbClr val="5ACBF0"/>
          </p15:clr>
        </p15:guide>
        <p15:guide id="29" orient="horz" pos="3728">
          <p15:clr>
            <a:srgbClr val="5ACBF0"/>
          </p15:clr>
        </p15:guide>
        <p15:guide id="30" orient="horz" pos="84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246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2804">
          <p15:clr>
            <a:srgbClr val="A4A3A4"/>
          </p15:clr>
        </p15:guide>
        <p15:guide id="7" pos="3464">
          <p15:clr>
            <a:srgbClr val="A4A3A4"/>
          </p15:clr>
        </p15:guide>
        <p15:guide id="8" pos="4942">
          <p15:clr>
            <a:srgbClr val="A4A3A4"/>
          </p15:clr>
        </p15:guide>
        <p15:guide id="9" pos="5602">
          <p15:clr>
            <a:srgbClr val="A4A3A4"/>
          </p15:clr>
        </p15:guide>
        <p15:guide id="10" pos="7081">
          <p15:clr>
            <a:srgbClr val="A4A3A4"/>
          </p15:clr>
        </p15:guide>
        <p15:guide id="11" pos="7741">
          <p15:clr>
            <a:srgbClr val="A4A3A4"/>
          </p15:clr>
        </p15:guide>
        <p15:guide id="12" pos="9219">
          <p15:clr>
            <a:srgbClr val="A4A3A4"/>
          </p15:clr>
        </p15:guide>
        <p15:guide id="13" pos="9879">
          <p15:clr>
            <a:srgbClr val="A4A3A4"/>
          </p15:clr>
        </p15:guide>
        <p15:guide id="14" pos="11357">
          <p15:clr>
            <a:srgbClr val="A4A3A4"/>
          </p15:clr>
        </p15:guide>
        <p15:guide id="15" pos="12017">
          <p15:clr>
            <a:srgbClr val="A4A3A4"/>
          </p15:clr>
        </p15:guide>
        <p15:guide id="16" pos="13495">
          <p15:clr>
            <a:srgbClr val="A4A3A4"/>
          </p15:clr>
        </p15:guide>
        <p15:guide id="17" pos="14155">
          <p15:clr>
            <a:srgbClr val="A4A3A4"/>
          </p15:clr>
        </p15:guide>
        <p15:guide id="18" pos="15634">
          <p15:clr>
            <a:srgbClr val="A4A3A4"/>
          </p15:clr>
        </p15:guide>
        <p15:guide id="19" pos="16294">
          <p15:clr>
            <a:srgbClr val="A4A3A4"/>
          </p15:clr>
        </p15:guide>
        <p15:guide id="20" pos="17772">
          <p15:clr>
            <a:srgbClr val="A4A3A4"/>
          </p15:clr>
        </p15:guide>
        <p15:guide id="21" pos="18432">
          <p15:clr>
            <a:srgbClr val="A4A3A4"/>
          </p15:clr>
        </p15:guide>
        <p15:guide id="22" pos="19904">
          <p15:clr>
            <a:srgbClr val="A4A3A4"/>
          </p15:clr>
        </p15:guide>
        <p15:guide id="23" pos="20570">
          <p15:clr>
            <a:srgbClr val="A4A3A4"/>
          </p15:clr>
        </p15:guide>
        <p15:guide id="24" pos="22043">
          <p15:clr>
            <a:srgbClr val="A4A3A4"/>
          </p15:clr>
        </p15:guide>
        <p15:guide id="25" pos="22709">
          <p15:clr>
            <a:srgbClr val="A4A3A4"/>
          </p15:clr>
        </p15:guide>
        <p15:guide id="26" pos="24181">
          <p15:clr>
            <a:srgbClr val="A4A3A4"/>
          </p15:clr>
        </p15:guide>
        <p15:guide id="27" pos="24841">
          <p15:clr>
            <a:srgbClr val="A4A3A4"/>
          </p15:clr>
        </p15:guide>
        <p15:guide id="28" orient="horz" pos="2655">
          <p15:clr>
            <a:srgbClr val="5ACBF0"/>
          </p15:clr>
        </p15:guide>
        <p15:guide id="29" orient="horz" pos="3728">
          <p15:clr>
            <a:srgbClr val="5ACBF0"/>
          </p15:clr>
        </p15:guide>
        <p15:guide id="30" orient="horz" pos="84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1631951" y="6181210"/>
            <a:ext cx="4482124" cy="8782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759475" eaLnBrk="0" hangingPunct="0"/>
            <a:r>
              <a:rPr lang="en-US" sz="571">
                <a:solidFill>
                  <a:schemeClr val="tx1"/>
                </a:solidFill>
                <a:cs typeface="Segoe UI" pitchFamily="34" charset="0"/>
              </a:rPr>
              <a:t>© Copyright Microsoft Corporation. All rights reserved. </a:t>
            </a:r>
          </a:p>
        </p:txBody>
      </p:sp>
      <p:pic>
        <p:nvPicPr>
          <p:cNvPr id="3" name="MS logo white - EMF" descr="Microsoft logo white text version">
            <a:extLst>
              <a:ext uri="{FF2B5EF4-FFF2-40B4-BE49-F238E27FC236}">
                <a16:creationId xmlns:a16="http://schemas.microsoft.com/office/drawing/2014/main" id="{13E46B7E-7D6F-4019-D6F4-4AF2BDAEA9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604904" y="585789"/>
            <a:ext cx="1113236" cy="292608"/>
          </a:xfrm>
          <a:prstGeom prst="rect">
            <a:avLst/>
          </a:prstGeom>
        </p:spPr>
      </p:pic>
    </p:spTree>
    <p:extLst>
      <p:ext uri="{BB962C8B-B14F-4D97-AF65-F5344CB8AC3E}">
        <p14:creationId xmlns:p14="http://schemas.microsoft.com/office/powerpoint/2010/main" val="17201601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1612702" y="457202"/>
            <a:ext cx="8974407" cy="451460"/>
          </a:xfrm>
        </p:spPr>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1608667" y="1436688"/>
            <a:ext cx="8974666" cy="1805648"/>
          </a:xfrm>
        </p:spPr>
        <p:txBody>
          <a:bodyPr wrap="square">
            <a:spAutoFit/>
          </a:bodyPr>
          <a:lstStyle>
            <a:lvl1pPr>
              <a:defRPr sz="2933">
                <a:latin typeface="+mn-lt"/>
              </a:defRPr>
            </a:lvl1pPr>
            <a:lvl2pPr>
              <a:defRPr sz="2281">
                <a:latin typeface="+mn-lt"/>
              </a:defRPr>
            </a:lvl2pPr>
            <a:lvl3pPr>
              <a:defRPr sz="1955">
                <a:latin typeface="+mn-lt"/>
              </a:defRPr>
            </a:lvl3pPr>
            <a:lvl4pPr>
              <a:defRPr sz="1629">
                <a:latin typeface="+mn-lt"/>
              </a:defRPr>
            </a:lvl4pPr>
            <a:lvl5pPr>
              <a:defRPr sz="1467">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014" spc="-4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22598701"/>
      </p:ext>
    </p:extLst>
  </p:cSld>
  <p:clrMapOvr>
    <a:masterClrMapping/>
  </p:clrMapOvr>
  <p:transition>
    <p:fade/>
  </p:transition>
  <p:extLst>
    <p:ext uri="{DCECCB84-F9BA-43D5-87BE-67443E8EF086}">
      <p15:sldGuideLst xmlns:p15="http://schemas.microsoft.com/office/powerpoint/2012/main">
        <p15:guide id="1" orient="horz" pos="2652">
          <p15:clr>
            <a:srgbClr val="5ACBF0"/>
          </p15:clr>
        </p15:guide>
        <p15:guide id="2" orient="horz" pos="84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5EE52-9F3D-4E15-83E2-689B1DA74EEC}"/>
              </a:ext>
            </a:extLst>
          </p:cNvPr>
          <p:cNvSpPr>
            <a:spLocks noGrp="1"/>
          </p:cNvSpPr>
          <p:nvPr>
            <p:ph type="title"/>
          </p:nvPr>
        </p:nvSpPr>
        <p:spPr>
          <a:xfrm>
            <a:off x="541958" y="316355"/>
            <a:ext cx="11108084" cy="45146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59E2774-27F8-41B7-9628-BA892D48E261}"/>
              </a:ext>
            </a:extLst>
          </p:cNvPr>
          <p:cNvSpPr>
            <a:spLocks noGrp="1"/>
          </p:cNvSpPr>
          <p:nvPr>
            <p:ph idx="1"/>
          </p:nvPr>
        </p:nvSpPr>
        <p:spPr>
          <a:xfrm>
            <a:off x="541958" y="974723"/>
            <a:ext cx="11108084" cy="1009166"/>
          </a:xfrm>
          <a:prstGeom prst="rect">
            <a:avLst/>
          </a:prstGeom>
        </p:spPr>
        <p:txBody>
          <a:bodyPr lIns="0" tIns="91440" rIns="0" bIns="91440"/>
          <a:lstStyle>
            <a:lvl1pPr marL="144842" indent="-144842">
              <a:lnSpc>
                <a:spcPct val="100000"/>
              </a:lnSpc>
              <a:spcBef>
                <a:spcPts val="325"/>
              </a:spcBef>
              <a:spcAft>
                <a:spcPts val="325"/>
              </a:spcAft>
              <a:defRPr sz="977" b="0" i="0">
                <a:latin typeface="Segoe UI Variable Display Semilight" pitchFamily="2" charset="0"/>
                <a:cs typeface="Segoe UI Semilight" panose="020B0402040204020203" pitchFamily="34" charset="0"/>
              </a:defRPr>
            </a:lvl1pPr>
            <a:lvl2pPr marL="331067" indent="-144842">
              <a:lnSpc>
                <a:spcPct val="100000"/>
              </a:lnSpc>
              <a:spcBef>
                <a:spcPts val="325"/>
              </a:spcBef>
              <a:spcAft>
                <a:spcPts val="325"/>
              </a:spcAft>
              <a:buFont typeface="Segoe UI Semilight" panose="020B0402040204020203" pitchFamily="34" charset="0"/>
              <a:buChar char="‑"/>
              <a:defRPr sz="977" b="0" i="0">
                <a:latin typeface="Segoe UI Variable Display Semilight" pitchFamily="2" charset="0"/>
                <a:cs typeface="Segoe UI Semilight" panose="020B0402040204020203" pitchFamily="34" charset="0"/>
              </a:defRPr>
            </a:lvl2pPr>
            <a:lvl3pPr marL="517293" indent="-144842">
              <a:lnSpc>
                <a:spcPct val="100000"/>
              </a:lnSpc>
              <a:spcBef>
                <a:spcPts val="325"/>
              </a:spcBef>
              <a:spcAft>
                <a:spcPts val="325"/>
              </a:spcAft>
              <a:buFont typeface="Courier New" panose="02070309020205020404" pitchFamily="49" charset="0"/>
              <a:buChar char="o"/>
              <a:defRPr sz="977" b="0" i="0">
                <a:latin typeface="Segoe UI Variable Display Semilight" pitchFamily="2" charset="0"/>
                <a:cs typeface="Segoe UI Semilight" panose="020B0402040204020203" pitchFamily="34" charset="0"/>
              </a:defRPr>
            </a:lvl3pPr>
            <a:lvl4pPr marL="703517" indent="-144842">
              <a:lnSpc>
                <a:spcPct val="100000"/>
              </a:lnSpc>
              <a:spcBef>
                <a:spcPts val="325"/>
              </a:spcBef>
              <a:spcAft>
                <a:spcPts val="325"/>
              </a:spcAft>
              <a:buFont typeface="Wingdings" panose="05000000000000000000" pitchFamily="2" charset="2"/>
              <a:buChar char="§"/>
              <a:defRPr sz="977" b="0" i="0">
                <a:latin typeface="Segoe UI Variable Display Semilight" pitchFamily="2" charset="0"/>
                <a:cs typeface="Segoe UI Semilight" panose="020B0402040204020203" pitchFamily="34" charset="0"/>
              </a:defRPr>
            </a:lvl4pPr>
            <a:lvl5pPr>
              <a:defRPr sz="977">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24DC2842-A293-4356-B98C-DB84EE48CF5C}"/>
              </a:ext>
            </a:extLst>
          </p:cNvPr>
          <p:cNvSpPr>
            <a:spLocks noGrp="1"/>
          </p:cNvSpPr>
          <p:nvPr>
            <p:ph idx="15"/>
          </p:nvPr>
        </p:nvSpPr>
        <p:spPr>
          <a:xfrm>
            <a:off x="541958" y="6356350"/>
            <a:ext cx="11108084" cy="335028"/>
          </a:xfrm>
          <a:prstGeom prst="rect">
            <a:avLst/>
          </a:prstGeom>
        </p:spPr>
        <p:txBody>
          <a:bodyPr lIns="0" tIns="91440" rIns="0" bIns="91440"/>
          <a:lstStyle>
            <a:lvl1pPr marL="0" indent="0">
              <a:lnSpc>
                <a:spcPct val="100000"/>
              </a:lnSpc>
              <a:spcBef>
                <a:spcPts val="325"/>
              </a:spcBef>
              <a:spcAft>
                <a:spcPts val="325"/>
              </a:spcAft>
              <a:buNone/>
              <a:defRPr sz="977" b="0" i="0">
                <a:latin typeface="Segoe UI Variable Display Semilight" pitchFamily="2" charset="0"/>
                <a:cs typeface="Segoe UI Semilight" panose="020B0402040204020203" pitchFamily="34" charset="0"/>
              </a:defRPr>
            </a:lvl1pPr>
            <a:lvl2pPr marL="331067" indent="-144842">
              <a:lnSpc>
                <a:spcPct val="100000"/>
              </a:lnSpc>
              <a:spcBef>
                <a:spcPts val="325"/>
              </a:spcBef>
              <a:spcAft>
                <a:spcPts val="325"/>
              </a:spcAft>
              <a:buFont typeface="Segoe UI Semilight" panose="020B0402040204020203" pitchFamily="34" charset="0"/>
              <a:buChar char="‑"/>
              <a:defRPr sz="977">
                <a:latin typeface="Segoe UI Semilight" panose="020B0402040204020203" pitchFamily="34" charset="0"/>
                <a:cs typeface="Segoe UI Semilight" panose="020B0402040204020203" pitchFamily="34" charset="0"/>
              </a:defRPr>
            </a:lvl2pPr>
            <a:lvl3pPr marL="517293" indent="-144842">
              <a:lnSpc>
                <a:spcPct val="100000"/>
              </a:lnSpc>
              <a:spcBef>
                <a:spcPts val="325"/>
              </a:spcBef>
              <a:spcAft>
                <a:spcPts val="325"/>
              </a:spcAft>
              <a:buFont typeface="Courier New" panose="02070309020205020404" pitchFamily="49" charset="0"/>
              <a:buChar char="o"/>
              <a:defRPr sz="977">
                <a:latin typeface="Segoe UI Semilight" panose="020B0402040204020203" pitchFamily="34" charset="0"/>
                <a:cs typeface="Segoe UI Semilight" panose="020B0402040204020203" pitchFamily="34" charset="0"/>
              </a:defRPr>
            </a:lvl3pPr>
            <a:lvl4pPr marL="703517" indent="-144842">
              <a:lnSpc>
                <a:spcPct val="100000"/>
              </a:lnSpc>
              <a:spcBef>
                <a:spcPts val="325"/>
              </a:spcBef>
              <a:spcAft>
                <a:spcPts val="325"/>
              </a:spcAft>
              <a:buFont typeface="Wingdings" panose="05000000000000000000" pitchFamily="2" charset="2"/>
              <a:buChar char="§"/>
              <a:defRPr sz="977">
                <a:latin typeface="Segoe UI Semilight" panose="020B0402040204020203" pitchFamily="34" charset="0"/>
                <a:cs typeface="Segoe UI Semilight" panose="020B0402040204020203" pitchFamily="34" charset="0"/>
              </a:defRPr>
            </a:lvl4pPr>
            <a:lvl5pPr>
              <a:defRPr sz="977">
                <a:latin typeface="Segoe UI Semilight" panose="020B0402040204020203" pitchFamily="34" charset="0"/>
                <a:cs typeface="Segoe UI Semilight" panose="020B0402040204020203" pitchFamily="34" charset="0"/>
              </a:defRPr>
            </a:lvl5pPr>
          </a:lstStyle>
          <a:p>
            <a:pPr lvl="0"/>
            <a:r>
              <a:rPr lang="en-US"/>
              <a:t>Click to edit Master text styles</a:t>
            </a:r>
          </a:p>
        </p:txBody>
      </p:sp>
      <p:sp>
        <p:nvSpPr>
          <p:cNvPr id="14" name="Text Placeholder 8">
            <a:extLst>
              <a:ext uri="{FF2B5EF4-FFF2-40B4-BE49-F238E27FC236}">
                <a16:creationId xmlns:a16="http://schemas.microsoft.com/office/drawing/2014/main" id="{F5D3196B-CF6C-4C8D-B90F-7C6015E9DC7A}"/>
              </a:ext>
            </a:extLst>
          </p:cNvPr>
          <p:cNvSpPr>
            <a:spLocks noGrp="1"/>
          </p:cNvSpPr>
          <p:nvPr>
            <p:ph type="body" sz="quarter" idx="16" hasCustomPrompt="1"/>
          </p:nvPr>
        </p:nvSpPr>
        <p:spPr>
          <a:xfrm>
            <a:off x="541958" y="103522"/>
            <a:ext cx="11109960" cy="175655"/>
          </a:xfrm>
          <a:prstGeom prst="rect">
            <a:avLst/>
          </a:prstGeom>
        </p:spPr>
        <p:txBody>
          <a:bodyPr lIns="0" rIns="0" anchor="ctr"/>
          <a:lstStyle>
            <a:lvl1pPr marL="0" indent="0">
              <a:buNone/>
              <a:defRPr sz="1141" spc="41" baseline="0">
                <a:solidFill>
                  <a:schemeClr val="tx2">
                    <a:lumMod val="20000"/>
                    <a:lumOff val="80000"/>
                  </a:schemeClr>
                </a:solidFill>
                <a:latin typeface="Segoe UI" panose="020B0502040204020203" pitchFamily="34" charset="0"/>
                <a:cs typeface="Segoe UI" panose="020B0502040204020203" pitchFamily="34" charset="0"/>
              </a:defRPr>
            </a:lvl1pPr>
            <a:lvl2pPr>
              <a:defRPr sz="1141">
                <a:latin typeface="Segoe UI Semilight" panose="020B0402040204020203" pitchFamily="34" charset="0"/>
                <a:cs typeface="Segoe UI Semilight" panose="020B0402040204020203" pitchFamily="34" charset="0"/>
              </a:defRPr>
            </a:lvl2pPr>
            <a:lvl3pPr>
              <a:defRPr sz="1141">
                <a:latin typeface="Segoe UI Semilight" panose="020B0402040204020203" pitchFamily="34" charset="0"/>
                <a:cs typeface="Segoe UI Semilight" panose="020B0402040204020203" pitchFamily="34" charset="0"/>
              </a:defRPr>
            </a:lvl3pPr>
            <a:lvl4pPr>
              <a:defRPr sz="1141">
                <a:latin typeface="Segoe UI Semilight" panose="020B0402040204020203" pitchFamily="34" charset="0"/>
                <a:cs typeface="Segoe UI Semilight" panose="020B0402040204020203" pitchFamily="34" charset="0"/>
              </a:defRPr>
            </a:lvl4pPr>
            <a:lvl5pPr>
              <a:defRPr sz="1141">
                <a:latin typeface="Segoe UI Semilight" panose="020B0402040204020203" pitchFamily="34" charset="0"/>
                <a:cs typeface="Segoe UI Semilight" panose="020B0402040204020203" pitchFamily="34" charset="0"/>
              </a:defRPr>
            </a:lvl5pPr>
          </a:lstStyle>
          <a:p>
            <a:r>
              <a:rPr lang="en-US" sz="1141">
                <a:solidFill>
                  <a:schemeClr val="accent3"/>
                </a:solidFill>
              </a:rPr>
              <a:t>Click to edit Master title style</a:t>
            </a:r>
          </a:p>
        </p:txBody>
      </p:sp>
    </p:spTree>
    <p:extLst>
      <p:ext uri="{BB962C8B-B14F-4D97-AF65-F5344CB8AC3E}">
        <p14:creationId xmlns:p14="http://schemas.microsoft.com/office/powerpoint/2010/main" val="8071076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Subtitle</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0350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 Main Hero">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35526B3-1B77-DA7E-39AC-F0F77964E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 y="0"/>
            <a:ext cx="12379569" cy="6858000"/>
          </a:xfrm>
          <a:prstGeom prst="rect">
            <a:avLst/>
          </a:prstGeom>
        </p:spPr>
      </p:pic>
      <p:pic>
        <p:nvPicPr>
          <p:cNvPr id="2" name="Picture 1">
            <a:extLst>
              <a:ext uri="{FF2B5EF4-FFF2-40B4-BE49-F238E27FC236}">
                <a16:creationId xmlns:a16="http://schemas.microsoft.com/office/drawing/2014/main" id="{F4A12633-3910-C1C9-2412-C41C7406415D}"/>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val="0"/>
              </a:ext>
            </a:extLst>
          </a:blip>
          <a:srcRect l="30860"/>
          <a:stretch/>
        </p:blipFill>
        <p:spPr>
          <a:xfrm>
            <a:off x="0" y="2849737"/>
            <a:ext cx="12379569" cy="4008263"/>
          </a:xfrm>
          <a:prstGeom prst="rect">
            <a:avLst/>
          </a:prstGeom>
        </p:spPr>
      </p:pic>
      <p:sp>
        <p:nvSpPr>
          <p:cNvPr id="3" name="Rectangle 2">
            <a:extLst>
              <a:ext uri="{FF2B5EF4-FFF2-40B4-BE49-F238E27FC236}">
                <a16:creationId xmlns:a16="http://schemas.microsoft.com/office/drawing/2014/main" id="{BF43EC56-D14B-6EAD-DA40-597D7C1F8990}"/>
              </a:ext>
            </a:extLst>
          </p:cNvPr>
          <p:cNvSpPr/>
          <p:nvPr userDrawn="1"/>
        </p:nvSpPr>
        <p:spPr bwMode="auto">
          <a:xfrm>
            <a:off x="-2" y="0"/>
            <a:ext cx="12379568" cy="4331731"/>
          </a:xfrm>
          <a:prstGeom prst="rect">
            <a:avLst/>
          </a:prstGeom>
          <a:gradFill flip="none" rotWithShape="1">
            <a:gsLst>
              <a:gs pos="52000">
                <a:srgbClr val="FFFFFF"/>
              </a:gs>
              <a:gs pos="42000">
                <a:srgbClr val="FFFFFF">
                  <a:lumMod val="100000"/>
                </a:srgbClr>
              </a:gs>
              <a:gs pos="0">
                <a:schemeClr val="bg1">
                  <a:alpha val="0"/>
                </a:schemeClr>
              </a:gs>
              <a:gs pos="64000">
                <a:srgbClr val="FFFFFF"/>
              </a:gs>
              <a:gs pos="100000">
                <a:schemeClr val="bg1">
                  <a:alpha val="0"/>
                </a:scheme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207695"/>
            <a:ext cx="4412673" cy="1354217"/>
          </a:xfrm>
          <a:noFill/>
        </p:spPr>
        <p:txBody>
          <a:bodyPr wrap="square" lIns="0" tIns="0" rIns="0" bIns="0" anchor="b" anchorCtr="0">
            <a:spAutoFit/>
          </a:bodyPr>
          <a:lstStyle>
            <a:lvl1pPr>
              <a:defRPr lang="en-US" sz="44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412673" cy="369332"/>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sz="2400"/>
              <a:t>Art of the Possible Kick-Off</a:t>
            </a:r>
            <a:endParaRPr lang="en-US"/>
          </a:p>
        </p:txBody>
      </p:sp>
      <p:pic>
        <p:nvPicPr>
          <p:cNvPr id="6" name="MS logo gray - EMF" descr="Microsoft logo, gray text version">
            <a:extLst>
              <a:ext uri="{FF2B5EF4-FFF2-40B4-BE49-F238E27FC236}">
                <a16:creationId xmlns:a16="http://schemas.microsoft.com/office/drawing/2014/main" id="{3CEAEC18-8489-693F-78F7-AC580E3166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0323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677810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5D5AA619-22C5-E624-FD06-098868F01DBA}"/>
              </a:ext>
            </a:extLst>
          </p:cNvPr>
          <p:cNvSpPr>
            <a:spLocks noGrp="1"/>
          </p:cNvSpPr>
          <p:nvPr>
            <p:ph type="title" hasCustomPrompt="1"/>
          </p:nvPr>
        </p:nvSpPr>
        <p:spPr>
          <a:xfrm>
            <a:off x="584200" y="3035178"/>
            <a:ext cx="9144000" cy="498598"/>
          </a:xfrm>
          <a:noFill/>
        </p:spPr>
        <p:txBody>
          <a:bodyPr vert="horz" wrap="square"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pPr lvl="0"/>
            <a:r>
              <a:rPr lang="en-US"/>
              <a:t>Session or demo title</a:t>
            </a:r>
          </a:p>
        </p:txBody>
      </p:sp>
      <p:sp>
        <p:nvSpPr>
          <p:cNvPr id="7" name="Text Placeholder 4">
            <a:extLst>
              <a:ext uri="{FF2B5EF4-FFF2-40B4-BE49-F238E27FC236}">
                <a16:creationId xmlns:a16="http://schemas.microsoft.com/office/drawing/2014/main" id="{F66251B6-6669-3E5F-CBBE-363F82903A09}"/>
              </a:ext>
            </a:extLst>
          </p:cNvPr>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E9310532-FEFD-7A18-695E-D9F2CC968DC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32952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9173450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54493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7" name="Picture Placeholder 6">
            <a:extLst>
              <a:ext uri="{FF2B5EF4-FFF2-40B4-BE49-F238E27FC236}">
                <a16:creationId xmlns:a16="http://schemas.microsoft.com/office/drawing/2014/main" id="{3B01AA23-E126-1E9B-2812-E55E91413EDB}"/>
              </a:ext>
            </a:extLst>
          </p:cNvPr>
          <p:cNvSpPr>
            <a:spLocks noGrp="1"/>
          </p:cNvSpPr>
          <p:nvPr>
            <p:ph type="pic" sz="quarter" idx="10"/>
          </p:nvPr>
        </p:nvSpPr>
        <p:spPr>
          <a:xfrm>
            <a:off x="6242050" y="0"/>
            <a:ext cx="5949950" cy="6857999"/>
          </a:xfrm>
          <a:solidFill>
            <a:schemeClr val="bg1">
              <a:lumMod val="95000"/>
            </a:schemeClr>
          </a:solidFill>
        </p:spPr>
        <p:txBody>
          <a:bodyPr/>
          <a:lstStyle>
            <a:lvl1pPr marL="0" indent="0">
              <a:buNone/>
              <a:defRPr sz="1800"/>
            </a:lvl1pPr>
          </a:lstStyle>
          <a:p>
            <a:endParaRPr lang="en-US"/>
          </a:p>
        </p:txBody>
      </p:sp>
    </p:spTree>
    <p:extLst>
      <p:ext uri="{BB962C8B-B14F-4D97-AF65-F5344CB8AC3E}">
        <p14:creationId xmlns:p14="http://schemas.microsoft.com/office/powerpoint/2010/main" val="671986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389A34C-16BA-6C93-03E6-5CD4F485849C}"/>
              </a:ext>
            </a:extLst>
          </p:cNvPr>
          <p:cNvGrpSpPr/>
          <p:nvPr userDrawn="1"/>
        </p:nvGrpSpPr>
        <p:grpSpPr>
          <a:xfrm>
            <a:off x="6892376" y="0"/>
            <a:ext cx="5299623" cy="6858000"/>
            <a:chOff x="6892376" y="0"/>
            <a:chExt cx="5299623" cy="6858000"/>
          </a:xfrm>
        </p:grpSpPr>
        <p:pic>
          <p:nvPicPr>
            <p:cNvPr id="4" name="Picture 3">
              <a:extLst>
                <a:ext uri="{FF2B5EF4-FFF2-40B4-BE49-F238E27FC236}">
                  <a16:creationId xmlns:a16="http://schemas.microsoft.com/office/drawing/2014/main" id="{C501A791-6B35-799C-BF1D-3492F80D26D7}"/>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D0BA37F-491D-6733-8313-62FE4479946A}"/>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t" anchorCtr="0"/>
          <a:lstStyle/>
          <a:p>
            <a:r>
              <a:rPr lang="en-US"/>
              <a:t>Click to edit Master title style</a:t>
            </a:r>
          </a:p>
        </p:txBody>
      </p:sp>
      <p:sp>
        <p:nvSpPr>
          <p:cNvPr id="10" name="Text Placeholder 11">
            <a:extLst>
              <a:ext uri="{FF2B5EF4-FFF2-40B4-BE49-F238E27FC236}">
                <a16:creationId xmlns:a16="http://schemas.microsoft.com/office/drawing/2014/main" id="{86E03C92-DE23-2C43-07EE-49514B3D2740}"/>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Tree>
    <p:extLst>
      <p:ext uri="{BB962C8B-B14F-4D97-AF65-F5344CB8AC3E}">
        <p14:creationId xmlns:p14="http://schemas.microsoft.com/office/powerpoint/2010/main" val="15329620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955445-9897-4F4A-1AC6-E3E7C73BEB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16469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p:txBody>
          <a:bodyPr anchor="t" anchorCtr="0"/>
          <a:lstStyle/>
          <a:p>
            <a:r>
              <a:rPr lang="en-US"/>
              <a:t>Click to edit Master title style</a:t>
            </a:r>
          </a:p>
        </p:txBody>
      </p:sp>
    </p:spTree>
    <p:extLst>
      <p:ext uri="{BB962C8B-B14F-4D97-AF65-F5344CB8AC3E}">
        <p14:creationId xmlns:p14="http://schemas.microsoft.com/office/powerpoint/2010/main" val="17652136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hasCustomPrompt="1"/>
          </p:nvPr>
        </p:nvSpPr>
        <p:spPr>
          <a:xfrm>
            <a:off x="588263" y="2309812"/>
            <a:ext cx="3178980" cy="3959222"/>
          </a:xfrm>
        </p:spPr>
        <p:txBody>
          <a:bodyPr anchor="t" anchorCtr="0"/>
          <a:lstStyle>
            <a:lvl1pPr>
              <a:defRPr lang="en-US" sz="2800" b="0" kern="1200" cap="none" spc="-50" baseline="0" dirty="0">
                <a:ln w="3175">
                  <a:noFill/>
                </a:ln>
                <a:gradFill>
                  <a:gsLst>
                    <a:gs pos="22000">
                      <a:schemeClr val="accent2"/>
                    </a:gs>
                    <a:gs pos="100000">
                      <a:schemeClr val="accent3"/>
                    </a:gs>
                  </a:gsLst>
                  <a:lin ang="2400000" scaled="0"/>
                </a:gradFill>
                <a:effectLst/>
                <a:latin typeface="+mj-lt"/>
                <a:ea typeface="+mn-ea"/>
                <a:cs typeface="Segoe UI" pitchFamily="34" charset="0"/>
              </a:defRPr>
            </a:lvl1pPr>
          </a:lstStyle>
          <a:p>
            <a:r>
              <a:rPr lang="en-US"/>
              <a:t>Title</a:t>
            </a:r>
          </a:p>
        </p:txBody>
      </p:sp>
      <p:sp>
        <p:nvSpPr>
          <p:cNvPr id="6" name="Text Placeholder 2">
            <a:extLst>
              <a:ext uri="{FF2B5EF4-FFF2-40B4-BE49-F238E27FC236}">
                <a16:creationId xmlns:a16="http://schemas.microsoft.com/office/drawing/2014/main" id="{FD55DC90-96BB-0B22-12A0-75FE75C2C244}"/>
              </a:ext>
            </a:extLst>
          </p:cNvPr>
          <p:cNvSpPr>
            <a:spLocks noGrp="1"/>
          </p:cNvSpPr>
          <p:nvPr>
            <p:ph type="body" sz="quarter" idx="11"/>
          </p:nvPr>
        </p:nvSpPr>
        <p:spPr>
          <a:xfrm>
            <a:off x="4356100" y="2309812"/>
            <a:ext cx="7253288" cy="3959223"/>
          </a:xfrm>
        </p:spPr>
        <p:txBody>
          <a:bodyPr anchor="t"/>
          <a:lstStyle>
            <a:lvl1pPr marL="231775" indent="-231775">
              <a:spcBef>
                <a:spcPts val="1800"/>
              </a:spcBef>
              <a:spcAft>
                <a:spcPts val="600"/>
              </a:spcAft>
              <a:buFont typeface="Arial" panose="020B0604020202020204" pitchFamily="34" charset="0"/>
              <a:buChar char="•"/>
              <a:defRPr sz="1800"/>
            </a:lvl1pPr>
          </a:lstStyle>
          <a:p>
            <a:pPr lvl="0"/>
            <a:r>
              <a:rPr lang="en-US"/>
              <a:t>Click to edit Master text styles</a:t>
            </a:r>
          </a:p>
        </p:txBody>
      </p:sp>
      <p:cxnSp>
        <p:nvCxnSpPr>
          <p:cNvPr id="8" name="Straight Connector 7">
            <a:extLst>
              <a:ext uri="{FF2B5EF4-FFF2-40B4-BE49-F238E27FC236}">
                <a16:creationId xmlns:a16="http://schemas.microsoft.com/office/drawing/2014/main" id="{D301ED40-B32E-3F97-86BC-7F717EDF07C4}"/>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A75B93E4-2B6A-C51B-F70E-802AF87CB943}"/>
              </a:ext>
            </a:extLst>
          </p:cNvPr>
          <p:cNvCxnSpPr/>
          <p:nvPr userDrawn="1"/>
        </p:nvCxnSpPr>
        <p:spPr>
          <a:xfrm>
            <a:off x="585216" y="2013814"/>
            <a:ext cx="3291840" cy="0"/>
          </a:xfrm>
          <a:prstGeom prst="line">
            <a:avLst/>
          </a:prstGeom>
          <a:noFill/>
          <a:ln w="12700">
            <a:gradFill flip="none" rotWithShape="1">
              <a:gsLst>
                <a:gs pos="0">
                  <a:schemeClr val="accent3"/>
                </a:gs>
                <a:gs pos="100000">
                  <a:schemeClr val="accent1">
                    <a:alpha val="0"/>
                  </a:schemeClr>
                </a:gs>
                <a:gs pos="65000">
                  <a:schemeClr val="accent1">
                    <a:alpha val="40000"/>
                  </a:schemeClr>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227290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6">
            <a:extLst>
              <a:ext uri="{FF2B5EF4-FFF2-40B4-BE49-F238E27FC236}">
                <a16:creationId xmlns:a16="http://schemas.microsoft.com/office/drawing/2014/main" id="{51C9B6F3-E735-840E-3BE2-D2B3CC818C47}"/>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6" name="Text Placeholder 2">
            <a:extLst>
              <a:ext uri="{FF2B5EF4-FFF2-40B4-BE49-F238E27FC236}">
                <a16:creationId xmlns:a16="http://schemas.microsoft.com/office/drawing/2014/main" id="{DC5275CD-9BC7-D5C8-CFA6-C95A6628B7BE}"/>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20182847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8E18B7EF-51F4-0AF3-B6B2-14F3663B476B}"/>
              </a:ext>
            </a:extLst>
          </p:cNvPr>
          <p:cNvSpPr>
            <a:spLocks noGrp="1"/>
          </p:cNvSpPr>
          <p:nvPr>
            <p:ph type="title"/>
          </p:nvPr>
        </p:nvSpPr>
        <p:spPr>
          <a:xfrm>
            <a:off x="588263" y="580311"/>
            <a:ext cx="11018520" cy="430887"/>
          </a:xfrm>
        </p:spPr>
        <p:txBody>
          <a:bodyPr anchor="t" anchorCtr="0"/>
          <a:lstStyle/>
          <a:p>
            <a:r>
              <a:rPr lang="en-US"/>
              <a:t>Click to edit Master title style</a:t>
            </a:r>
          </a:p>
        </p:txBody>
      </p:sp>
      <p:sp>
        <p:nvSpPr>
          <p:cNvPr id="7" name="Text Placeholder 11">
            <a:extLst>
              <a:ext uri="{FF2B5EF4-FFF2-40B4-BE49-F238E27FC236}">
                <a16:creationId xmlns:a16="http://schemas.microsoft.com/office/drawing/2014/main" id="{9AC98D00-037E-AA9F-9072-F66D12F7D7B2}"/>
              </a:ext>
            </a:extLst>
          </p:cNvPr>
          <p:cNvSpPr>
            <a:spLocks noGrp="1"/>
          </p:cNvSpPr>
          <p:nvPr>
            <p:ph type="body" sz="quarter" idx="16" hasCustomPrompt="1"/>
          </p:nvPr>
        </p:nvSpPr>
        <p:spPr>
          <a:xfrm>
            <a:off x="585217" y="316933"/>
            <a:ext cx="3536997" cy="338554"/>
          </a:xfrm>
        </p:spPr>
        <p:txBody>
          <a:bodyPr anchor="t"/>
          <a:lstStyle>
            <a:lvl1pPr marL="0" indent="0" algn="l" defTabSz="914367" rtl="0" eaLnBrk="1" latinLnBrk="0" hangingPunct="1">
              <a:spcBef>
                <a:spcPts val="0"/>
              </a:spcBef>
              <a:buNone/>
              <a:defRPr lang="en-US" sz="1600" kern="1200" dirty="0">
                <a:solidFill>
                  <a:schemeClr val="tx1"/>
                </a:solidFill>
                <a:latin typeface="+mj-lt"/>
                <a:ea typeface="+mn-ea"/>
                <a:cs typeface="+mn-cs"/>
              </a:defRPr>
            </a:lvl1pPr>
          </a:lstStyle>
          <a:p>
            <a:pPr lvl="0"/>
            <a:r>
              <a:rPr lang="en-US"/>
              <a:t>Click to edit text styles</a:t>
            </a:r>
          </a:p>
        </p:txBody>
      </p:sp>
      <p:sp>
        <p:nvSpPr>
          <p:cNvPr id="8" name="Text Placeholder 2">
            <a:extLst>
              <a:ext uri="{FF2B5EF4-FFF2-40B4-BE49-F238E27FC236}">
                <a16:creationId xmlns:a16="http://schemas.microsoft.com/office/drawing/2014/main" id="{7F58507D-BE25-A676-EF32-EE4249E5B1E0}"/>
              </a:ext>
            </a:extLst>
          </p:cNvPr>
          <p:cNvSpPr>
            <a:spLocks noGrp="1"/>
          </p:cNvSpPr>
          <p:nvPr>
            <p:ph type="body" sz="quarter" idx="11"/>
          </p:nvPr>
        </p:nvSpPr>
        <p:spPr>
          <a:xfrm>
            <a:off x="584518" y="1039270"/>
            <a:ext cx="11018520" cy="276999"/>
          </a:xfrm>
        </p:spPr>
        <p:txBody>
          <a:bodyPr/>
          <a:lstStyle>
            <a:lvl1pPr marL="0" indent="0">
              <a:buNone/>
              <a:defRPr sz="1800"/>
            </a:lvl1pPr>
          </a:lstStyle>
          <a:p>
            <a:pPr lvl="0"/>
            <a:r>
              <a:rPr lang="en-US"/>
              <a:t>Click to edit Master text styles</a:t>
            </a:r>
          </a:p>
        </p:txBody>
      </p:sp>
    </p:spTree>
    <p:extLst>
      <p:ext uri="{BB962C8B-B14F-4D97-AF65-F5344CB8AC3E}">
        <p14:creationId xmlns:p14="http://schemas.microsoft.com/office/powerpoint/2010/main" val="3017983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82029006"/>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CE989252-C734-F337-C4C4-968C00B84337}"/>
              </a:ext>
            </a:extLst>
          </p:cNvPr>
          <p:cNvSpPr>
            <a:spLocks noGrp="1"/>
          </p:cNvSpPr>
          <p:nvPr>
            <p:ph type="title"/>
          </p:nvPr>
        </p:nvSpPr>
        <p:spPr>
          <a:xfrm>
            <a:off x="588263" y="580311"/>
            <a:ext cx="4710812" cy="430887"/>
          </a:xfrm>
        </p:spPr>
        <p:txBody>
          <a:bodyPr anchor="t" anchorCtr="0"/>
          <a:lstStyle/>
          <a:p>
            <a:r>
              <a:rPr lang="en-US"/>
              <a:t>Click to edit Master title style</a:t>
            </a:r>
          </a:p>
        </p:txBody>
      </p:sp>
      <p:sp>
        <p:nvSpPr>
          <p:cNvPr id="5" name="Picture Placeholder 3">
            <a:extLst>
              <a:ext uri="{FF2B5EF4-FFF2-40B4-BE49-F238E27FC236}">
                <a16:creationId xmlns:a16="http://schemas.microsoft.com/office/drawing/2014/main" id="{B3B58AC5-4798-0617-0437-E66831EDE2C3}"/>
              </a:ext>
            </a:extLst>
          </p:cNvPr>
          <p:cNvSpPr>
            <a:spLocks noGrp="1"/>
          </p:cNvSpPr>
          <p:nvPr>
            <p:ph type="pic" sz="quarter" idx="13"/>
          </p:nvPr>
        </p:nvSpPr>
        <p:spPr>
          <a:xfrm>
            <a:off x="6242050" y="0"/>
            <a:ext cx="5949950" cy="6858000"/>
          </a:xfrm>
          <a:solidFill>
            <a:schemeClr val="bg1"/>
          </a:solidFill>
        </p:spPr>
        <p:txBody>
          <a:bodyPr/>
          <a:lstStyle>
            <a:lvl1pPr marL="0" indent="0">
              <a:buNone/>
              <a:defRPr sz="2000"/>
            </a:lvl1pPr>
          </a:lstStyle>
          <a:p>
            <a:r>
              <a:rPr lang="en-US"/>
              <a:t>Click icon to add picture</a:t>
            </a:r>
          </a:p>
        </p:txBody>
      </p:sp>
    </p:spTree>
    <p:extLst>
      <p:ext uri="{BB962C8B-B14F-4D97-AF65-F5344CB8AC3E}">
        <p14:creationId xmlns:p14="http://schemas.microsoft.com/office/powerpoint/2010/main" val="26674473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A01FF2C-F269-F9D4-58FE-5327AC58EA85}"/>
              </a:ext>
            </a:extLst>
          </p:cNvPr>
          <p:cNvGrpSpPr/>
          <p:nvPr userDrawn="1"/>
        </p:nvGrpSpPr>
        <p:grpSpPr>
          <a:xfrm>
            <a:off x="0" y="0"/>
            <a:ext cx="12296446" cy="6858000"/>
            <a:chOff x="0" y="0"/>
            <a:chExt cx="12296446" cy="6858000"/>
          </a:xfrm>
        </p:grpSpPr>
        <p:grpSp>
          <p:nvGrpSpPr>
            <p:cNvPr id="10" name="Group 9">
              <a:extLst>
                <a:ext uri="{FF2B5EF4-FFF2-40B4-BE49-F238E27FC236}">
                  <a16:creationId xmlns:a16="http://schemas.microsoft.com/office/drawing/2014/main" id="{D682CD50-AEA4-6980-963E-93BE9699F3C5}"/>
                </a:ext>
              </a:extLst>
            </p:cNvPr>
            <p:cNvGrpSpPr/>
            <p:nvPr userDrawn="1"/>
          </p:nvGrpSpPr>
          <p:grpSpPr>
            <a:xfrm>
              <a:off x="0" y="0"/>
              <a:ext cx="12192000" cy="6858000"/>
              <a:chOff x="0" y="0"/>
              <a:chExt cx="12192000" cy="6858000"/>
            </a:xfrm>
          </p:grpSpPr>
          <p:grpSp>
            <p:nvGrpSpPr>
              <p:cNvPr id="3" name="Group 2">
                <a:extLst>
                  <a:ext uri="{FF2B5EF4-FFF2-40B4-BE49-F238E27FC236}">
                    <a16:creationId xmlns:a16="http://schemas.microsoft.com/office/drawing/2014/main" id="{9740519F-E268-7CB3-7FAC-A0AAD0D3EB64}"/>
                  </a:ext>
                </a:extLst>
              </p:cNvPr>
              <p:cNvGrpSpPr/>
              <p:nvPr userDrawn="1"/>
            </p:nvGrpSpPr>
            <p:grpSpPr>
              <a:xfrm>
                <a:off x="3689874" y="0"/>
                <a:ext cx="8502126" cy="6858000"/>
                <a:chOff x="6892376" y="0"/>
                <a:chExt cx="5299623" cy="6858000"/>
              </a:xfrm>
            </p:grpSpPr>
            <p:pic>
              <p:nvPicPr>
                <p:cNvPr id="4" name="Picture 3">
                  <a:extLst>
                    <a:ext uri="{FF2B5EF4-FFF2-40B4-BE49-F238E27FC236}">
                      <a16:creationId xmlns:a16="http://schemas.microsoft.com/office/drawing/2014/main" id="{D2E78BF7-B153-FE60-3465-D3DDF8223B01}"/>
                    </a:ext>
                    <a:ext uri="{C183D7F6-B498-43B3-948B-1728B52AA6E4}">
                      <adec:decorative xmlns:adec="http://schemas.microsoft.com/office/drawing/2017/decorative" val="1"/>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919" t="4793" r="55136" b="5416"/>
                <a:stretch/>
              </p:blipFill>
              <p:spPr>
                <a:xfrm>
                  <a:off x="7347856" y="0"/>
                  <a:ext cx="4844143" cy="6858000"/>
                </a:xfrm>
                <a:prstGeom prst="rect">
                  <a:avLst/>
                </a:prstGeom>
              </p:spPr>
            </p:pic>
            <p:sp>
              <p:nvSpPr>
                <p:cNvPr id="5" name="Rectangle 4">
                  <a:extLst>
                    <a:ext uri="{FF2B5EF4-FFF2-40B4-BE49-F238E27FC236}">
                      <a16:creationId xmlns:a16="http://schemas.microsoft.com/office/drawing/2014/main" id="{F8471465-94B2-66BF-1358-52C0D344BE59}"/>
                    </a:ext>
                    <a:ext uri="{C183D7F6-B498-43B3-948B-1728B52AA6E4}">
                      <adec:decorative xmlns:adec="http://schemas.microsoft.com/office/drawing/2017/decorative" val="1"/>
                    </a:ext>
                  </a:extLst>
                </p:cNvPr>
                <p:cNvSpPr/>
                <p:nvPr/>
              </p:nvSpPr>
              <p:spPr bwMode="auto">
                <a:xfrm>
                  <a:off x="6892376" y="0"/>
                  <a:ext cx="3173184" cy="6858000"/>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9" name="Rectangle 8">
                <a:extLst>
                  <a:ext uri="{FF2B5EF4-FFF2-40B4-BE49-F238E27FC236}">
                    <a16:creationId xmlns:a16="http://schemas.microsoft.com/office/drawing/2014/main" id="{80106421-65CE-0084-9DCD-211DB78EAFB6}"/>
                  </a:ext>
                </a:extLst>
              </p:cNvPr>
              <p:cNvSpPr/>
              <p:nvPr userDrawn="1"/>
            </p:nvSpPr>
            <p:spPr bwMode="auto">
              <a:xfrm>
                <a:off x="0" y="0"/>
                <a:ext cx="6508376" cy="6858000"/>
              </a:xfrm>
              <a:prstGeom prst="rect">
                <a:avLst/>
              </a:prstGeom>
              <a:gradFill flip="none" rotWithShape="1">
                <a:gsLst>
                  <a:gs pos="66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pic>
          <p:nvPicPr>
            <p:cNvPr id="8" name="Picture 7" descr="Background pattern&#10;&#10;Description automatically generated">
              <a:extLst>
                <a:ext uri="{FF2B5EF4-FFF2-40B4-BE49-F238E27FC236}">
                  <a16:creationId xmlns:a16="http://schemas.microsoft.com/office/drawing/2014/main" id="{1DD810FF-B216-4654-9371-0E4D8D802B15}"/>
                </a:ext>
              </a:extLst>
            </p:cNvPr>
            <p:cNvPicPr>
              <a:picLocks noChangeAspect="1"/>
            </p:cNvPicPr>
            <p:nvPr userDrawn="1"/>
          </p:nvPicPr>
          <p:blipFill>
            <a:blip r:embed="rId4" cstate="print">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0ED9E3-69CA-604E-F59C-C22F44EAA35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75AB46-03F6-AC39-00E9-2B3ABDA710C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6109525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ssion Title w/ Photo">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noFill/>
        </p:spPr>
        <p:txBody>
          <a:bodyPr vert="horz" wrap="square" lIns="0" tIns="0" rIns="0" bIns="0" rtlCol="0" anchor="b" anchorCtr="0">
            <a:spAutoFit/>
          </a:bodyPr>
          <a:lstStyle>
            <a:lvl1pPr>
              <a:defRPr lang="en-US" dirty="0">
                <a:gradFill>
                  <a:gsLst>
                    <a:gs pos="26000">
                      <a:schemeClr val="accent1"/>
                    </a:gs>
                    <a:gs pos="100000">
                      <a:schemeClr val="accent3"/>
                    </a:gs>
                  </a:gsLst>
                  <a:lin ang="2400000" scaled="0"/>
                </a:gradFill>
                <a:latin typeface="Segoe UI Semibold" panose="020B0702040204020203" pitchFamily="34" charset="0"/>
                <a:cs typeface="Segoe UI Semibold" panose="020B0702040204020203" pitchFamily="34" charset="0"/>
              </a:defRPr>
            </a:lvl1pPr>
          </a:lstStyle>
          <a:p>
            <a:pPr lvl="0"/>
            <a:r>
              <a:rPr lang="en-US"/>
              <a:t>Session or demo title</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a:t>
            </a:r>
          </a:p>
        </p:txBody>
      </p:sp>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pic>
        <p:nvPicPr>
          <p:cNvPr id="3" name="MS logo gray - EMF" descr="Microsoft logo, gray text version">
            <a:extLst>
              <a:ext uri="{FF2B5EF4-FFF2-40B4-BE49-F238E27FC236}">
                <a16:creationId xmlns:a16="http://schemas.microsoft.com/office/drawing/2014/main" id="{B1E4D60A-74D4-CACF-489D-0AF2C448AF1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544375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itle 1">
            <a:extLst>
              <a:ext uri="{FF2B5EF4-FFF2-40B4-BE49-F238E27FC236}">
                <a16:creationId xmlns:a16="http://schemas.microsoft.com/office/drawing/2014/main" id="{E5F6D8AE-12E3-3B11-B34F-E2C5860AB9EB}"/>
              </a:ext>
            </a:extLst>
          </p:cNvPr>
          <p:cNvSpPr>
            <a:spLocks noGrp="1"/>
          </p:cNvSpPr>
          <p:nvPr>
            <p:ph type="title" hasCustomPrompt="1"/>
          </p:nvPr>
        </p:nvSpPr>
        <p:spPr>
          <a:xfrm>
            <a:off x="585216" y="3033223"/>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Section divider</a:t>
            </a:r>
          </a:p>
        </p:txBody>
      </p:sp>
      <p:sp>
        <p:nvSpPr>
          <p:cNvPr id="7" name="Text Placeholder 4">
            <a:extLst>
              <a:ext uri="{FF2B5EF4-FFF2-40B4-BE49-F238E27FC236}">
                <a16:creationId xmlns:a16="http://schemas.microsoft.com/office/drawing/2014/main" id="{E745F133-79AD-2D10-2A29-D251C1E6B085}"/>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 or speaker name</a:t>
            </a:r>
          </a:p>
        </p:txBody>
      </p:sp>
    </p:spTree>
    <p:extLst>
      <p:ext uri="{BB962C8B-B14F-4D97-AF65-F5344CB8AC3E}">
        <p14:creationId xmlns:p14="http://schemas.microsoft.com/office/powerpoint/2010/main" val="37019852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Title 6">
            <a:extLst>
              <a:ext uri="{FF2B5EF4-FFF2-40B4-BE49-F238E27FC236}">
                <a16:creationId xmlns:a16="http://schemas.microsoft.com/office/drawing/2014/main" id="{4E399E1B-A281-406B-2B38-EEFD19875D89}"/>
              </a:ext>
            </a:extLst>
          </p:cNvPr>
          <p:cNvSpPr>
            <a:spLocks noGrp="1"/>
          </p:cNvSpPr>
          <p:nvPr>
            <p:ph type="title"/>
          </p:nvPr>
        </p:nvSpPr>
        <p:spPr>
          <a:xfrm>
            <a:off x="584200" y="3033223"/>
            <a:ext cx="1101852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Click to edit Master title style</a:t>
            </a:r>
          </a:p>
        </p:txBody>
      </p:sp>
    </p:spTree>
    <p:extLst>
      <p:ext uri="{BB962C8B-B14F-4D97-AF65-F5344CB8AC3E}">
        <p14:creationId xmlns:p14="http://schemas.microsoft.com/office/powerpoint/2010/main" val="8745701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7A7F81D6-D960-882D-2677-0F5176A5B3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30849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18483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3729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43699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accent2"/>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27767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51387181"/>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2"/>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78431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2"/>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63147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2"/>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97825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410853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000176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gradFill>
            <a:gsLst>
              <a:gs pos="0">
                <a:schemeClr val="accent1"/>
              </a:gs>
              <a:gs pos="100000">
                <a:schemeClr val="accent3"/>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7156944"/>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meline Header Line 01">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95D43A3-1599-79ED-3554-60413F5698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gradFill flip="none" rotWithShape="1">
              <a:gsLst>
                <a:gs pos="0">
                  <a:schemeClr val="accent2"/>
                </a:gs>
                <a:gs pos="100000">
                  <a:schemeClr val="accent3"/>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3507296944"/>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01">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FA81D9D0-A8F0-5981-61F1-95B0C9D3D7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666811" y="370312"/>
            <a:ext cx="9866313" cy="2908489"/>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18900">
                <a:gradFill>
                  <a:gsLst>
                    <a:gs pos="0">
                      <a:schemeClr val="accent1"/>
                    </a:gs>
                    <a:gs pos="100000">
                      <a:schemeClr val="accent3"/>
                    </a:gs>
                  </a:gsLst>
                  <a:lin ang="2400000" scaled="0"/>
                </a:gradFill>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2325380" y="4974300"/>
            <a:ext cx="3855502" cy="276999"/>
          </a:xfrm>
        </p:spPr>
        <p:txBody>
          <a:bodyPr/>
          <a:lstStyle>
            <a:lvl1pPr marL="0" indent="0" algn="l">
              <a:spcBef>
                <a:spcPts val="0"/>
              </a:spcBef>
              <a:buNone/>
              <a:defRPr sz="1800">
                <a:solidFill>
                  <a:schemeClr val="accent2"/>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2325380" y="5271879"/>
            <a:ext cx="3855502" cy="430887"/>
          </a:xfrm>
        </p:spPr>
        <p:txBody>
          <a:bodyPr/>
          <a:lstStyle>
            <a:lvl1pPr marL="0" indent="0" algn="l">
              <a:spcBef>
                <a:spcPts val="0"/>
              </a:spcBef>
              <a:buNone/>
              <a:defRPr sz="1400">
                <a:solidFill>
                  <a:schemeClr val="bg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749550" y="2194074"/>
            <a:ext cx="6160536" cy="1661993"/>
          </a:xfrm>
        </p:spPr>
        <p:txBody>
          <a:bodyPr anchor="b"/>
          <a:lstStyle>
            <a:lvl1pPr>
              <a:defRPr>
                <a:solidFill>
                  <a:schemeClr val="accent2"/>
                </a:solidFill>
              </a:defRPr>
            </a:lvl1pPr>
          </a:lstStyle>
          <a:p>
            <a:r>
              <a:rPr lang="en-US"/>
              <a:t>“Add quote text here Add quote text here Add quote text here Add quote text here”</a:t>
            </a:r>
          </a:p>
        </p:txBody>
      </p:sp>
    </p:spTree>
    <p:extLst>
      <p:ext uri="{BB962C8B-B14F-4D97-AF65-F5344CB8AC3E}">
        <p14:creationId xmlns:p14="http://schemas.microsoft.com/office/powerpoint/2010/main" val="35000011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06 w/ photo">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C4256E61-BAE0-966F-33FB-4875F4CFF8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6A76F132-B9CF-86BB-C18A-7AD8C024046B}"/>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9" y="3779493"/>
            <a:ext cx="5908494"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9" y="4077072"/>
            <a:ext cx="5908494"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9" y="2025650"/>
            <a:ext cx="5908494"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5924292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DB660C8-FCFE-8CB6-A08E-975F87F66C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FA57C656-3E5F-8959-00F8-286B44FD1D70}"/>
              </a:ext>
            </a:extLst>
          </p:cNvPr>
          <p:cNvSpPr/>
          <p:nvPr userDrawn="1"/>
        </p:nvSpPr>
        <p:spPr bwMode="auto">
          <a:xfrm>
            <a:off x="0" y="0"/>
            <a:ext cx="12296446" cy="6858000"/>
          </a:xfrm>
          <a:prstGeom prst="rect">
            <a:avLst/>
          </a:prstGeom>
          <a:gradFill>
            <a:gsLst>
              <a:gs pos="0">
                <a:schemeClr val="bg1"/>
              </a:gs>
              <a:gs pos="38000">
                <a:schemeClr val="bg1">
                  <a:alpha val="0"/>
                </a:schemeClr>
              </a:gs>
            </a:gsLst>
            <a:lin ang="2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Title 1">
            <a:extLst>
              <a:ext uri="{FF2B5EF4-FFF2-40B4-BE49-F238E27FC236}">
                <a16:creationId xmlns:a16="http://schemas.microsoft.com/office/drawing/2014/main" id="{1BF1F936-2918-1FF2-729F-CC935DD14A7F}"/>
              </a:ext>
            </a:extLst>
          </p:cNvPr>
          <p:cNvSpPr>
            <a:spLocks noGrp="1"/>
          </p:cNvSpPr>
          <p:nvPr>
            <p:ph type="title" hasCustomPrompt="1"/>
          </p:nvPr>
        </p:nvSpPr>
        <p:spPr>
          <a:xfrm>
            <a:off x="584200" y="2930402"/>
            <a:ext cx="9144000" cy="498598"/>
          </a:xfrm>
          <a:noFill/>
        </p:spPr>
        <p:txBody>
          <a:bodyPr vert="horz" wrap="square" lIns="0" tIns="0" rIns="0" bIns="0" rtlCol="0" anchor="b" anchorCtr="0">
            <a:spAutoFit/>
          </a:bodyPr>
          <a:lstStyle>
            <a:lvl1pPr>
              <a:defRPr lang="en-US" sz="3600" dirty="0">
                <a:gradFill>
                  <a:gsLst>
                    <a:gs pos="22000">
                      <a:schemeClr val="accent2"/>
                    </a:gs>
                    <a:gs pos="100000">
                      <a:schemeClr val="accent3"/>
                    </a:gs>
                  </a:gsLst>
                  <a:lin ang="2400000" scaled="0"/>
                </a:gradFill>
                <a:latin typeface="+mj-lt"/>
                <a:cs typeface="Segoe UI" pitchFamily="34" charset="0"/>
              </a:defRPr>
            </a:lvl1pPr>
          </a:lstStyle>
          <a:p>
            <a:pPr lvl="0">
              <a:lnSpc>
                <a:spcPct val="90000"/>
              </a:lnSpc>
            </a:pPr>
            <a:r>
              <a:rPr lang="en-US"/>
              <a:t>Thank you.</a:t>
            </a:r>
          </a:p>
        </p:txBody>
      </p:sp>
      <p:pic>
        <p:nvPicPr>
          <p:cNvPr id="6" name="MS logo gray - EMF" descr="Microsoft logo, gray text version">
            <a:extLst>
              <a:ext uri="{FF2B5EF4-FFF2-40B4-BE49-F238E27FC236}">
                <a16:creationId xmlns:a16="http://schemas.microsoft.com/office/drawing/2014/main" id="{BF0865EE-605D-2EAB-43E0-A054281062A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479760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image" Target="../media/image8.png"/><Relationship Id="rId5" Type="http://schemas.openxmlformats.org/officeDocument/2006/relationships/slideLayout" Target="../slideLayouts/slideLayout21.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image" Target="../media/image9.svg"/><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3.xml"/><Relationship Id="rId21" Type="http://schemas.openxmlformats.org/officeDocument/2006/relationships/slideLayout" Target="../slideLayouts/slideLayout88.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63" Type="http://schemas.openxmlformats.org/officeDocument/2006/relationships/slideLayout" Target="../slideLayouts/slideLayout130.xml"/><Relationship Id="rId68" Type="http://schemas.openxmlformats.org/officeDocument/2006/relationships/slideLayout" Target="../slideLayouts/slideLayout135.xml"/><Relationship Id="rId84" Type="http://schemas.openxmlformats.org/officeDocument/2006/relationships/slideLayout" Target="../slideLayouts/slideLayout151.xml"/><Relationship Id="rId89" Type="http://schemas.openxmlformats.org/officeDocument/2006/relationships/slideLayout" Target="../slideLayouts/slideLayout156.xml"/><Relationship Id="rId16" Type="http://schemas.openxmlformats.org/officeDocument/2006/relationships/slideLayout" Target="../slideLayouts/slideLayout83.xml"/><Relationship Id="rId11" Type="http://schemas.openxmlformats.org/officeDocument/2006/relationships/slideLayout" Target="../slideLayouts/slideLayout78.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53" Type="http://schemas.openxmlformats.org/officeDocument/2006/relationships/slideLayout" Target="../slideLayouts/slideLayout120.xml"/><Relationship Id="rId58" Type="http://schemas.openxmlformats.org/officeDocument/2006/relationships/slideLayout" Target="../slideLayouts/slideLayout125.xml"/><Relationship Id="rId74" Type="http://schemas.openxmlformats.org/officeDocument/2006/relationships/slideLayout" Target="../slideLayouts/slideLayout141.xml"/><Relationship Id="rId79" Type="http://schemas.openxmlformats.org/officeDocument/2006/relationships/slideLayout" Target="../slideLayouts/slideLayout146.xml"/><Relationship Id="rId5" Type="http://schemas.openxmlformats.org/officeDocument/2006/relationships/slideLayout" Target="../slideLayouts/slideLayout72.xml"/><Relationship Id="rId90" Type="http://schemas.openxmlformats.org/officeDocument/2006/relationships/slideLayout" Target="../slideLayouts/slideLayout157.xml"/><Relationship Id="rId95" Type="http://schemas.openxmlformats.org/officeDocument/2006/relationships/image" Target="../media/image9.svg"/><Relationship Id="rId22" Type="http://schemas.openxmlformats.org/officeDocument/2006/relationships/slideLayout" Target="../slideLayouts/slideLayout89.xml"/><Relationship Id="rId27" Type="http://schemas.openxmlformats.org/officeDocument/2006/relationships/slideLayout" Target="../slideLayouts/slideLayout94.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64" Type="http://schemas.openxmlformats.org/officeDocument/2006/relationships/slideLayout" Target="../slideLayouts/slideLayout131.xml"/><Relationship Id="rId69" Type="http://schemas.openxmlformats.org/officeDocument/2006/relationships/slideLayout" Target="../slideLayouts/slideLayout136.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72" Type="http://schemas.openxmlformats.org/officeDocument/2006/relationships/slideLayout" Target="../slideLayouts/slideLayout139.xml"/><Relationship Id="rId80" Type="http://schemas.openxmlformats.org/officeDocument/2006/relationships/slideLayout" Target="../slideLayouts/slideLayout147.xml"/><Relationship Id="rId85" Type="http://schemas.openxmlformats.org/officeDocument/2006/relationships/slideLayout" Target="../slideLayouts/slideLayout152.xml"/><Relationship Id="rId93" Type="http://schemas.openxmlformats.org/officeDocument/2006/relationships/theme" Target="../theme/theme3.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59" Type="http://schemas.openxmlformats.org/officeDocument/2006/relationships/slideLayout" Target="../slideLayouts/slideLayout126.xml"/><Relationship Id="rId67" Type="http://schemas.openxmlformats.org/officeDocument/2006/relationships/slideLayout" Target="../slideLayouts/slideLayout134.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54" Type="http://schemas.openxmlformats.org/officeDocument/2006/relationships/slideLayout" Target="../slideLayouts/slideLayout121.xml"/><Relationship Id="rId62" Type="http://schemas.openxmlformats.org/officeDocument/2006/relationships/slideLayout" Target="../slideLayouts/slideLayout129.xml"/><Relationship Id="rId70" Type="http://schemas.openxmlformats.org/officeDocument/2006/relationships/slideLayout" Target="../slideLayouts/slideLayout137.xml"/><Relationship Id="rId75" Type="http://schemas.openxmlformats.org/officeDocument/2006/relationships/slideLayout" Target="../slideLayouts/slideLayout142.xml"/><Relationship Id="rId83" Type="http://schemas.openxmlformats.org/officeDocument/2006/relationships/slideLayout" Target="../slideLayouts/slideLayout150.xml"/><Relationship Id="rId88" Type="http://schemas.openxmlformats.org/officeDocument/2006/relationships/slideLayout" Target="../slideLayouts/slideLayout155.xml"/><Relationship Id="rId91" Type="http://schemas.openxmlformats.org/officeDocument/2006/relationships/slideLayout" Target="../slideLayouts/slideLayout158.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57" Type="http://schemas.openxmlformats.org/officeDocument/2006/relationships/slideLayout" Target="../slideLayouts/slideLayout124.xml"/><Relationship Id="rId10" Type="http://schemas.openxmlformats.org/officeDocument/2006/relationships/slideLayout" Target="../slideLayouts/slideLayout77.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slideLayout" Target="../slideLayouts/slideLayout119.xml"/><Relationship Id="rId60" Type="http://schemas.openxmlformats.org/officeDocument/2006/relationships/slideLayout" Target="../slideLayouts/slideLayout127.xml"/><Relationship Id="rId65" Type="http://schemas.openxmlformats.org/officeDocument/2006/relationships/slideLayout" Target="../slideLayouts/slideLayout132.xml"/><Relationship Id="rId73" Type="http://schemas.openxmlformats.org/officeDocument/2006/relationships/slideLayout" Target="../slideLayouts/slideLayout140.xml"/><Relationship Id="rId78" Type="http://schemas.openxmlformats.org/officeDocument/2006/relationships/slideLayout" Target="../slideLayouts/slideLayout145.xml"/><Relationship Id="rId81" Type="http://schemas.openxmlformats.org/officeDocument/2006/relationships/slideLayout" Target="../slideLayouts/slideLayout148.xml"/><Relationship Id="rId86" Type="http://schemas.openxmlformats.org/officeDocument/2006/relationships/slideLayout" Target="../slideLayouts/slideLayout153.xml"/><Relationship Id="rId94" Type="http://schemas.openxmlformats.org/officeDocument/2006/relationships/image" Target="../media/image8.png"/><Relationship Id="rId4" Type="http://schemas.openxmlformats.org/officeDocument/2006/relationships/slideLayout" Target="../slideLayouts/slideLayout71.xml"/><Relationship Id="rId9" Type="http://schemas.openxmlformats.org/officeDocument/2006/relationships/slideLayout" Target="../slideLayouts/slideLayout76.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9" Type="http://schemas.openxmlformats.org/officeDocument/2006/relationships/slideLayout" Target="../slideLayouts/slideLayout106.xml"/><Relationship Id="rId34" Type="http://schemas.openxmlformats.org/officeDocument/2006/relationships/slideLayout" Target="../slideLayouts/slideLayout101.xml"/><Relationship Id="rId50" Type="http://schemas.openxmlformats.org/officeDocument/2006/relationships/slideLayout" Target="../slideLayouts/slideLayout117.xml"/><Relationship Id="rId55" Type="http://schemas.openxmlformats.org/officeDocument/2006/relationships/slideLayout" Target="../slideLayouts/slideLayout122.xml"/><Relationship Id="rId76" Type="http://schemas.openxmlformats.org/officeDocument/2006/relationships/slideLayout" Target="../slideLayouts/slideLayout143.xml"/><Relationship Id="rId7" Type="http://schemas.openxmlformats.org/officeDocument/2006/relationships/slideLayout" Target="../slideLayouts/slideLayout74.xml"/><Relationship Id="rId71" Type="http://schemas.openxmlformats.org/officeDocument/2006/relationships/slideLayout" Target="../slideLayouts/slideLayout138.xml"/><Relationship Id="rId92" Type="http://schemas.openxmlformats.org/officeDocument/2006/relationships/slideLayout" Target="../slideLayouts/slideLayout159.xml"/><Relationship Id="rId2" Type="http://schemas.openxmlformats.org/officeDocument/2006/relationships/slideLayout" Target="../slideLayouts/slideLayout69.xml"/><Relationship Id="rId29" Type="http://schemas.openxmlformats.org/officeDocument/2006/relationships/slideLayout" Target="../slideLayouts/slideLayout96.xml"/><Relationship Id="rId24" Type="http://schemas.openxmlformats.org/officeDocument/2006/relationships/slideLayout" Target="../slideLayouts/slideLayout91.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66" Type="http://schemas.openxmlformats.org/officeDocument/2006/relationships/slideLayout" Target="../slideLayouts/slideLayout133.xml"/><Relationship Id="rId87" Type="http://schemas.openxmlformats.org/officeDocument/2006/relationships/slideLayout" Target="../slideLayouts/slideLayout154.xml"/><Relationship Id="rId61" Type="http://schemas.openxmlformats.org/officeDocument/2006/relationships/slideLayout" Target="../slideLayouts/slideLayout128.xml"/><Relationship Id="rId82" Type="http://schemas.openxmlformats.org/officeDocument/2006/relationships/slideLayout" Target="../slideLayouts/slideLayout149.xml"/><Relationship Id="rId19" Type="http://schemas.openxmlformats.org/officeDocument/2006/relationships/slideLayout" Target="../slideLayouts/slideLayout86.xml"/><Relationship Id="rId14" Type="http://schemas.openxmlformats.org/officeDocument/2006/relationships/slideLayout" Target="../slideLayouts/slideLayout81.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56" Type="http://schemas.openxmlformats.org/officeDocument/2006/relationships/slideLayout" Target="../slideLayouts/slideLayout123.xml"/><Relationship Id="rId77" Type="http://schemas.openxmlformats.org/officeDocument/2006/relationships/slideLayout" Target="../slideLayouts/slideLayout1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image" Target="../media/image9.svg"/><Relationship Id="rId2" Type="http://schemas.openxmlformats.org/officeDocument/2006/relationships/slideLayout" Target="../slideLayouts/slideLayout161.xml"/><Relationship Id="rId16" Type="http://schemas.openxmlformats.org/officeDocument/2006/relationships/image" Target="../media/image8.png"/><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theme" Target="../theme/theme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5216" y="1011217"/>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8" cstate="screen">
            <a:extLst>
              <a:ext uri="{28A0092B-C50C-407E-A947-70E740481C1C}">
                <a14:useLocalDpi xmlns:a14="http://schemas.microsoft.com/office/drawing/2010/main"/>
              </a:ext>
            </a:extLst>
          </a:blip>
          <a:srcRect l="762"/>
          <a:stretch/>
        </p:blipFill>
        <p:spPr>
          <a:xfrm rot="5400000">
            <a:off x="11723358" y="468642"/>
            <a:ext cx="1130169" cy="192886"/>
          </a:xfrm>
          <a:prstGeom prst="rect">
            <a:avLst/>
          </a:prstGeom>
        </p:spPr>
      </p:pic>
      <p:sp>
        <p:nvSpPr>
          <p:cNvPr id="5" name="Text Placeholder 2">
            <a:extLst>
              <a:ext uri="{FF2B5EF4-FFF2-40B4-BE49-F238E27FC236}">
                <a16:creationId xmlns:a16="http://schemas.microsoft.com/office/drawing/2014/main" id="{43C160BC-9870-598F-5D2A-78A6E228772A}"/>
              </a:ext>
            </a:extLst>
          </p:cNvPr>
          <p:cNvSpPr txBox="1">
            <a:spLocks/>
          </p:cNvSpPr>
          <p:nvPr userDrawn="1"/>
        </p:nvSpPr>
        <p:spPr>
          <a:xfrm>
            <a:off x="0" y="-964508"/>
            <a:ext cx="1325760" cy="920318"/>
          </a:xfrm>
          <a:prstGeom prst="rect">
            <a:avLst/>
          </a:prstGeom>
          <a:solidFill>
            <a:srgbClr val="FF5C39"/>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600"/>
              </a:spcAft>
              <a:buClrTx/>
              <a:buSzTx/>
              <a:buFontTx/>
              <a:buNone/>
              <a:tabLst/>
              <a:defRPr kumimoji="0" sz="1600" b="0" i="0" u="none" strike="noStrike" kern="0" cap="none" spc="0" normalizeH="0" baseline="0">
                <a:ln>
                  <a:noFill/>
                </a:ln>
                <a:solidFill>
                  <a:srgbClr val="FFFFFF"/>
                </a:solidFill>
                <a:effectLst/>
                <a:uLnTx/>
                <a:uFillTx/>
                <a:latin typeface="Segoe UI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solidFill>
                <a:schemeClr val="bg1"/>
              </a:solidFill>
            </a:endParaRPr>
          </a:p>
        </p:txBody>
      </p:sp>
      <p:sp>
        <p:nvSpPr>
          <p:cNvPr id="6" name="Text Placeholder 2">
            <a:extLst>
              <a:ext uri="{FF2B5EF4-FFF2-40B4-BE49-F238E27FC236}">
                <a16:creationId xmlns:a16="http://schemas.microsoft.com/office/drawing/2014/main" id="{31257B53-D22D-C2DC-D9F3-4EC07E61F83E}"/>
              </a:ext>
            </a:extLst>
          </p:cNvPr>
          <p:cNvSpPr txBox="1">
            <a:spLocks/>
          </p:cNvSpPr>
          <p:nvPr userDrawn="1"/>
        </p:nvSpPr>
        <p:spPr>
          <a:xfrm>
            <a:off x="1629206" y="-964508"/>
            <a:ext cx="1325760" cy="920318"/>
          </a:xfrm>
          <a:prstGeom prst="rect">
            <a:avLst/>
          </a:prstGeom>
          <a:solidFill>
            <a:srgbClr val="F4364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600"/>
              </a:spcAft>
              <a:buClrTx/>
              <a:buSzTx/>
              <a:buFontTx/>
              <a:buNone/>
              <a:tabLst/>
              <a:defRPr kumimoji="0" sz="1600" b="0" i="0" u="none" strike="noStrike" kern="0" cap="none" spc="0" normalizeH="0" baseline="0">
                <a:ln>
                  <a:noFill/>
                </a:ln>
                <a:solidFill>
                  <a:srgbClr val="FFFFFF"/>
                </a:solidFill>
                <a:effectLst/>
                <a:uLnTx/>
                <a:uFillTx/>
                <a:latin typeface="Segoe UI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solidFill>
                <a:schemeClr val="bg1"/>
              </a:solidFill>
            </a:endParaRPr>
          </a:p>
        </p:txBody>
      </p:sp>
      <p:sp>
        <p:nvSpPr>
          <p:cNvPr id="8" name="Text Placeholder 2">
            <a:extLst>
              <a:ext uri="{FF2B5EF4-FFF2-40B4-BE49-F238E27FC236}">
                <a16:creationId xmlns:a16="http://schemas.microsoft.com/office/drawing/2014/main" id="{7B916BB9-0100-AB91-8CCD-A9696D30BB37}"/>
              </a:ext>
            </a:extLst>
          </p:cNvPr>
          <p:cNvSpPr txBox="1">
            <a:spLocks/>
          </p:cNvSpPr>
          <p:nvPr userDrawn="1"/>
        </p:nvSpPr>
        <p:spPr>
          <a:xfrm>
            <a:off x="3258412" y="-964508"/>
            <a:ext cx="1325760" cy="920318"/>
          </a:xfrm>
          <a:prstGeom prst="rect">
            <a:avLst/>
          </a:prstGeom>
          <a:solidFill>
            <a:srgbClr val="C03BC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600"/>
              </a:spcAft>
              <a:buClrTx/>
              <a:buSzTx/>
              <a:buFontTx/>
              <a:buNone/>
              <a:tabLst/>
              <a:defRPr kumimoji="0" sz="1600" b="0" i="0" u="none" strike="noStrike" kern="0" cap="none" spc="0" normalizeH="0" baseline="0">
                <a:ln>
                  <a:noFill/>
                </a:ln>
                <a:solidFill>
                  <a:srgbClr val="FFFFFF"/>
                </a:solidFill>
                <a:effectLst/>
                <a:uLnTx/>
                <a:uFillTx/>
                <a:latin typeface="Segoe UI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p>
        </p:txBody>
      </p:sp>
      <p:sp>
        <p:nvSpPr>
          <p:cNvPr id="34" name="Text Placeholder 2">
            <a:extLst>
              <a:ext uri="{FF2B5EF4-FFF2-40B4-BE49-F238E27FC236}">
                <a16:creationId xmlns:a16="http://schemas.microsoft.com/office/drawing/2014/main" id="{172CA593-A6E0-9AF2-369C-0754A827CF3C}"/>
              </a:ext>
            </a:extLst>
          </p:cNvPr>
          <p:cNvSpPr txBox="1">
            <a:spLocks/>
          </p:cNvSpPr>
          <p:nvPr userDrawn="1"/>
        </p:nvSpPr>
        <p:spPr>
          <a:xfrm>
            <a:off x="4887618" y="-964508"/>
            <a:ext cx="1325760" cy="920318"/>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600"/>
              </a:spcAft>
              <a:buClrTx/>
              <a:buSzTx/>
              <a:buFontTx/>
              <a:buNone/>
              <a:tabLst/>
              <a:defRPr kumimoji="0" sz="1600" b="0" i="0" u="none" strike="noStrike" kern="0" cap="none" spc="0" normalizeH="0" baseline="0">
                <a:ln>
                  <a:noFill/>
                </a:ln>
                <a:solidFill>
                  <a:srgbClr val="FFFFFF"/>
                </a:solidFill>
                <a:effectLst/>
                <a:uLnTx/>
                <a:uFillTx/>
                <a:latin typeface="Segoe UI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p>
        </p:txBody>
      </p:sp>
      <p:sp>
        <p:nvSpPr>
          <p:cNvPr id="36" name="Text Placeholder 2">
            <a:extLst>
              <a:ext uri="{FF2B5EF4-FFF2-40B4-BE49-F238E27FC236}">
                <a16:creationId xmlns:a16="http://schemas.microsoft.com/office/drawing/2014/main" id="{DFBBCAA7-9266-DC64-B778-52146207AA67}"/>
              </a:ext>
            </a:extLst>
          </p:cNvPr>
          <p:cNvSpPr txBox="1">
            <a:spLocks/>
          </p:cNvSpPr>
          <p:nvPr userDrawn="1"/>
        </p:nvSpPr>
        <p:spPr>
          <a:xfrm>
            <a:off x="6516826" y="-964508"/>
            <a:ext cx="1325760" cy="920318"/>
          </a:xfrm>
          <a:prstGeom prst="rect">
            <a:avLst/>
          </a:prstGeom>
          <a:solidFill>
            <a:srgbClr val="14938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R="0" lvl="0" indent="0" algn="ctr" fontAlgn="auto">
              <a:lnSpc>
                <a:spcPct val="100000"/>
              </a:lnSpc>
              <a:spcBef>
                <a:spcPts val="0"/>
              </a:spcBef>
              <a:spcAft>
                <a:spcPts val="600"/>
              </a:spcAft>
              <a:buClrTx/>
              <a:buSzTx/>
              <a:buFontTx/>
              <a:buNone/>
              <a:tabLst/>
              <a:defRPr kumimoji="0" sz="1600" b="0" i="0" u="none" strike="noStrike" kern="0" cap="none" spc="0" normalizeH="0" baseline="0">
                <a:ln>
                  <a:noFill/>
                </a:ln>
                <a:solidFill>
                  <a:srgbClr val="FFFFFF"/>
                </a:solidFill>
                <a:effectLst/>
                <a:uLnTx/>
                <a:uFillTx/>
                <a:latin typeface="Segoe UI Semibold"/>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solidFill>
                <a:schemeClr val="bg1"/>
              </a:solidFill>
            </a:endParaRPr>
          </a:p>
        </p:txBody>
      </p:sp>
    </p:spTree>
    <p:extLst>
      <p:ext uri="{BB962C8B-B14F-4D97-AF65-F5344CB8AC3E}">
        <p14:creationId xmlns:p14="http://schemas.microsoft.com/office/powerpoint/2010/main" val="413560067"/>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4130" r:id="rId15"/>
    <p:sldLayoutId id="2147484357" r:id="rId1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pic>
        <p:nvPicPr>
          <p:cNvPr id="170" name="Graphic 169">
            <a:extLst>
              <a:ext uri="{FF2B5EF4-FFF2-40B4-BE49-F238E27FC236}">
                <a16:creationId xmlns:a16="http://schemas.microsoft.com/office/drawing/2014/main" id="{87669CC0-3832-FA2C-CEFD-1CCDCD58E618}"/>
              </a:ext>
            </a:extLst>
          </p:cNvPr>
          <p:cNvPicPr>
            <a:picLocks/>
          </p:cNvPicPr>
          <p:nvPr userDrawn="1"/>
        </p:nvPicPr>
        <p:blipFill>
          <a:blip r:embed="rId53">
            <a:extLst>
              <a:ext uri="{96DAC541-7B7A-43D3-8B79-37D633B846F1}">
                <asvg:svgBlip xmlns:asvg="http://schemas.microsoft.com/office/drawing/2016/SVG/main" r:embed="rId54"/>
              </a:ext>
            </a:extLst>
          </a:blip>
          <a:srcRect/>
          <a:stretch/>
        </p:blipFill>
        <p:spPr>
          <a:xfrm rot="5400000">
            <a:off x="9382284" y="2870836"/>
            <a:ext cx="6858000" cy="1116330"/>
          </a:xfrm>
          <a:prstGeom prst="rect">
            <a:avLst/>
          </a:prstGeom>
        </p:spPr>
      </p:pic>
      <p:sp>
        <p:nvSpPr>
          <p:cNvPr id="2" name="Title Placeholder 1"/>
          <p:cNvSpPr>
            <a:spLocks noGrp="1"/>
          </p:cNvSpPr>
          <p:nvPr>
            <p:ph type="title"/>
          </p:nvPr>
        </p:nvSpPr>
        <p:spPr>
          <a:xfrm>
            <a:off x="1609108" y="457202"/>
            <a:ext cx="8973785" cy="451460"/>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1605044" y="1435503"/>
            <a:ext cx="8973785" cy="131445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ctr" defTabSz="759623" fontAlgn="base">
              <a:lnSpc>
                <a:spcPct val="90000"/>
              </a:lnSpc>
              <a:spcBef>
                <a:spcPct val="0"/>
              </a:spcBef>
              <a:spcAft>
                <a:spcPct val="0"/>
              </a:spcAft>
            </a:pPr>
            <a:endParaRPr lang="en-US" sz="1955">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9"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013" tIns="119211" rIns="149013" bIns="119211" numCol="1" spcCol="0" rtlCol="0" fromWordArt="0" anchor="t" anchorCtr="0" forceAA="0" compatLnSpc="1">
            <a:prstTxWarp prst="textNoShape">
              <a:avLst/>
            </a:prstTxWarp>
            <a:noAutofit/>
          </a:bodyPr>
          <a:lstStyle/>
          <a:p>
            <a:pPr algn="ctr" defTabSz="759623" fontAlgn="base">
              <a:lnSpc>
                <a:spcPct val="90000"/>
              </a:lnSpc>
              <a:spcBef>
                <a:spcPct val="0"/>
              </a:spcBef>
              <a:spcAft>
                <a:spcPct val="0"/>
              </a:spcAft>
            </a:pPr>
            <a:endParaRPr lang="en-US" sz="1955">
              <a:gradFill>
                <a:gsLst>
                  <a:gs pos="0">
                    <a:srgbClr val="FFFFFF"/>
                  </a:gs>
                  <a:gs pos="100000">
                    <a:srgbClr val="FFFFFF"/>
                  </a:gs>
                </a:gsLst>
                <a:lin ang="5400000" scaled="0"/>
              </a:gradFill>
              <a:ea typeface="Segoe UI" pitchFamily="34" charset="0"/>
              <a:cs typeface="Segoe UI" pitchFamily="34" charset="0"/>
            </a:endParaRPr>
          </a:p>
        </p:txBody>
      </p:sp>
      <p:sp>
        <p:nvSpPr>
          <p:cNvPr id="5" name="Speaker stage presence" hidden="1">
            <a:extLst>
              <a:ext uri="{FF2B5EF4-FFF2-40B4-BE49-F238E27FC236}">
                <a16:creationId xmlns:a16="http://schemas.microsoft.com/office/drawing/2014/main" id="{43E41BE2-06D9-7A84-6481-48E62E2C7EC3}"/>
              </a:ext>
            </a:extLst>
          </p:cNvPr>
          <p:cNvSpPr/>
          <p:nvPr userDrawn="1"/>
        </p:nvSpPr>
        <p:spPr bwMode="auto">
          <a:xfrm>
            <a:off x="1144159" y="4394349"/>
            <a:ext cx="10015454" cy="2479604"/>
          </a:xfrm>
          <a:prstGeom prst="rect">
            <a:avLst/>
          </a:prstGeom>
          <a:pattFill prst="ltDnDiag">
            <a:fgClr>
              <a:schemeClr val="bg2">
                <a:lumMod val="75000"/>
              </a:schemeClr>
            </a:fgClr>
            <a:bgClr>
              <a:schemeClr val="bg2">
                <a:lumMod val="5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28600" tIns="40640" rIns="50800" bIns="40640" numCol="1" spcCol="0" rtlCol="0" fromWordArt="0" anchor="ctr" anchorCtr="0" forceAA="0" compatLnSpc="1">
            <a:prstTxWarp prst="textNoShape">
              <a:avLst/>
            </a:prstTxWarp>
            <a:noAutofit/>
          </a:bodyPr>
          <a:lstStyle/>
          <a:p>
            <a:pPr marL="0" algn="l" defTabSz="853167" rtl="0" eaLnBrk="1" fontAlgn="base" latinLnBrk="0" hangingPunct="1">
              <a:spcBef>
                <a:spcPct val="0"/>
              </a:spcBef>
              <a:spcAft>
                <a:spcPct val="0"/>
              </a:spcAft>
            </a:pPr>
            <a:r>
              <a:rPr lang="en-US" sz="1500" kern="1200">
                <a:solidFill>
                  <a:schemeClr val="bg2">
                    <a:lumMod val="40000"/>
                    <a:lumOff val="60000"/>
                  </a:schemeClr>
                </a:solidFill>
                <a:latin typeface="Segoe Sans Display Semibold" pitchFamily="2" charset="0"/>
                <a:ea typeface="+mn-ea"/>
                <a:cs typeface="Segoe Sans Display Semibold" pitchFamily="2" charset="0"/>
              </a:rPr>
              <a:t>Speaker stage presence</a:t>
            </a:r>
            <a:r>
              <a:rPr lang="en-US" sz="1500" kern="1200">
                <a:solidFill>
                  <a:schemeClr val="bg2">
                    <a:lumMod val="60000"/>
                    <a:lumOff val="40000"/>
                  </a:schemeClr>
                </a:solidFill>
                <a:latin typeface="Segoe Sans Display Semibold" pitchFamily="2" charset="0"/>
                <a:ea typeface="+mn-ea"/>
                <a:cs typeface="Segoe Sans Display Semibold" pitchFamily="2" charset="0"/>
              </a:rPr>
              <a:t> </a:t>
            </a:r>
          </a:p>
        </p:txBody>
      </p:sp>
      <p:grpSp>
        <p:nvGrpSpPr>
          <p:cNvPr id="169" name="Scale: 6 Foot" hidden="1">
            <a:extLst>
              <a:ext uri="{FF2B5EF4-FFF2-40B4-BE49-F238E27FC236}">
                <a16:creationId xmlns:a16="http://schemas.microsoft.com/office/drawing/2014/main" id="{9B015CDA-565F-74BB-E8A2-A8BBFEE66511}"/>
              </a:ext>
            </a:extLst>
          </p:cNvPr>
          <p:cNvGrpSpPr/>
          <p:nvPr userDrawn="1"/>
        </p:nvGrpSpPr>
        <p:grpSpPr>
          <a:xfrm>
            <a:off x="6243205" y="4201337"/>
            <a:ext cx="1188791" cy="3159566"/>
            <a:chOff x="22475536" y="12323919"/>
            <a:chExt cx="4279649" cy="9268061"/>
          </a:xfrm>
        </p:grpSpPr>
        <p:sp>
          <p:nvSpPr>
            <p:cNvPr id="158" name="Freeform: Shape 157">
              <a:extLst>
                <a:ext uri="{FF2B5EF4-FFF2-40B4-BE49-F238E27FC236}">
                  <a16:creationId xmlns:a16="http://schemas.microsoft.com/office/drawing/2014/main" id="{A36FDD67-879D-C40C-6CD9-7E2B22569D26}"/>
                </a:ext>
              </a:extLst>
            </p:cNvPr>
            <p:cNvSpPr/>
            <p:nvPr userDrawn="1"/>
          </p:nvSpPr>
          <p:spPr>
            <a:xfrm>
              <a:off x="22475536" y="12937068"/>
              <a:ext cx="2782738" cy="8654912"/>
            </a:xfrm>
            <a:custGeom>
              <a:avLst/>
              <a:gdLst>
                <a:gd name="connsiteX0" fmla="*/ 2899 w 4038617"/>
                <a:gd name="connsiteY0" fmla="*/ 4525801 h 12560967"/>
                <a:gd name="connsiteX1" fmla="*/ 77661 w 4038617"/>
                <a:gd name="connsiteY1" fmla="*/ 5078212 h 12560967"/>
                <a:gd name="connsiteX2" fmla="*/ 155539 w 4038617"/>
                <a:gd name="connsiteY2" fmla="*/ 5525749 h 12560967"/>
                <a:gd name="connsiteX3" fmla="*/ 255222 w 4038617"/>
                <a:gd name="connsiteY3" fmla="*/ 5869449 h 12560967"/>
                <a:gd name="connsiteX4" fmla="*/ 343483 w 4038617"/>
                <a:gd name="connsiteY4" fmla="*/ 6174729 h 12560967"/>
                <a:gd name="connsiteX5" fmla="*/ 377749 w 4038617"/>
                <a:gd name="connsiteY5" fmla="*/ 6270259 h 12560967"/>
                <a:gd name="connsiteX6" fmla="*/ 439013 w 4038617"/>
                <a:gd name="connsiteY6" fmla="*/ 6415630 h 12560967"/>
                <a:gd name="connsiteX7" fmla="*/ 450435 w 4038617"/>
                <a:gd name="connsiteY7" fmla="*/ 6247415 h 12560967"/>
                <a:gd name="connsiteX8" fmla="*/ 711066 w 4038617"/>
                <a:gd name="connsiteY8" fmla="*/ 6454050 h 12560967"/>
                <a:gd name="connsiteX9" fmla="*/ 650840 w 4038617"/>
                <a:gd name="connsiteY9" fmla="*/ 6909893 h 12560967"/>
                <a:gd name="connsiteX10" fmla="*/ 656032 w 4038617"/>
                <a:gd name="connsiteY10" fmla="*/ 7080186 h 12560967"/>
                <a:gd name="connsiteX11" fmla="*/ 694452 w 4038617"/>
                <a:gd name="connsiteY11" fmla="*/ 7271245 h 12560967"/>
                <a:gd name="connsiteX12" fmla="*/ 687183 w 4038617"/>
                <a:gd name="connsiteY12" fmla="*/ 7626367 h 12560967"/>
                <a:gd name="connsiteX13" fmla="*/ 728718 w 4038617"/>
                <a:gd name="connsiteY13" fmla="*/ 7965913 h 12560967"/>
                <a:gd name="connsiteX14" fmla="*/ 751562 w 4038617"/>
                <a:gd name="connsiteY14" fmla="*/ 8248350 h 12560967"/>
                <a:gd name="connsiteX15" fmla="*/ 781675 w 4038617"/>
                <a:gd name="connsiteY15" fmla="*/ 8473675 h 12560967"/>
                <a:gd name="connsiteX16" fmla="*/ 778559 w 4038617"/>
                <a:gd name="connsiteY16" fmla="*/ 8766495 h 12560967"/>
                <a:gd name="connsiteX17" fmla="*/ 752600 w 4038617"/>
                <a:gd name="connsiteY17" fmla="*/ 9034394 h 12560967"/>
                <a:gd name="connsiteX18" fmla="*/ 697567 w 4038617"/>
                <a:gd name="connsiteY18" fmla="*/ 9369787 h 12560967"/>
                <a:gd name="connsiteX19" fmla="*/ 659147 w 4038617"/>
                <a:gd name="connsiteY19" fmla="*/ 9684412 h 12560967"/>
                <a:gd name="connsiteX20" fmla="*/ 605152 w 4038617"/>
                <a:gd name="connsiteY20" fmla="*/ 9940889 h 12560967"/>
                <a:gd name="connsiteX21" fmla="*/ 586461 w 4038617"/>
                <a:gd name="connsiteY21" fmla="*/ 10220210 h 12560967"/>
                <a:gd name="connsiteX22" fmla="*/ 529351 w 4038617"/>
                <a:gd name="connsiteY22" fmla="*/ 10465265 h 12560967"/>
                <a:gd name="connsiteX23" fmla="*/ 453550 w 4038617"/>
                <a:gd name="connsiteY23" fmla="*/ 10984449 h 12560967"/>
                <a:gd name="connsiteX24" fmla="*/ 419284 w 4038617"/>
                <a:gd name="connsiteY24" fmla="*/ 11201468 h 12560967"/>
                <a:gd name="connsiteX25" fmla="*/ 369442 w 4038617"/>
                <a:gd name="connsiteY25" fmla="*/ 11449638 h 12560967"/>
                <a:gd name="connsiteX26" fmla="*/ 437975 w 4038617"/>
                <a:gd name="connsiteY26" fmla="*/ 11629275 h 12560967"/>
                <a:gd name="connsiteX27" fmla="*/ 449397 w 4038617"/>
                <a:gd name="connsiteY27" fmla="*/ 11823450 h 12560967"/>
                <a:gd name="connsiteX28" fmla="*/ 376711 w 4038617"/>
                <a:gd name="connsiteY28" fmla="*/ 11976090 h 12560967"/>
                <a:gd name="connsiteX29" fmla="*/ 320639 w 4038617"/>
                <a:gd name="connsiteY29" fmla="*/ 12080965 h 12560967"/>
                <a:gd name="connsiteX30" fmla="*/ 199150 w 4038617"/>
                <a:gd name="connsiteY30" fmla="*/ 12239836 h 12560967"/>
                <a:gd name="connsiteX31" fmla="*/ 184613 w 4038617"/>
                <a:gd name="connsiteY31" fmla="*/ 12414282 h 12560967"/>
                <a:gd name="connsiteX32" fmla="*/ 299872 w 4038617"/>
                <a:gd name="connsiteY32" fmla="*/ 12540962 h 12560967"/>
                <a:gd name="connsiteX33" fmla="*/ 553234 w 4038617"/>
                <a:gd name="connsiteY33" fmla="*/ 12559653 h 12560967"/>
                <a:gd name="connsiteX34" fmla="*/ 888626 w 4038617"/>
                <a:gd name="connsiteY34" fmla="*/ 12510850 h 12560967"/>
                <a:gd name="connsiteX35" fmla="*/ 1094223 w 4038617"/>
                <a:gd name="connsiteY35" fmla="*/ 12421550 h 12560967"/>
                <a:gd name="connsiteX36" fmla="*/ 1131605 w 4038617"/>
                <a:gd name="connsiteY36" fmla="*/ 12280332 h 12560967"/>
                <a:gd name="connsiteX37" fmla="*/ 1102530 w 4038617"/>
                <a:gd name="connsiteY37" fmla="*/ 12006203 h 12560967"/>
                <a:gd name="connsiteX38" fmla="*/ 1262439 w 4038617"/>
                <a:gd name="connsiteY38" fmla="*/ 11836949 h 12560967"/>
                <a:gd name="connsiteX39" fmla="*/ 1240633 w 4038617"/>
                <a:gd name="connsiteY39" fmla="*/ 11723767 h 12560967"/>
                <a:gd name="connsiteX40" fmla="*/ 1186638 w 4038617"/>
                <a:gd name="connsiteY40" fmla="*/ 11601239 h 12560967"/>
                <a:gd name="connsiteX41" fmla="*/ 1310204 w 4038617"/>
                <a:gd name="connsiteY41" fmla="*/ 11441331 h 12560967"/>
                <a:gd name="connsiteX42" fmla="*/ 1256209 w 4038617"/>
                <a:gd name="connsiteY42" fmla="*/ 11189007 h 12560967"/>
                <a:gd name="connsiteX43" fmla="*/ 1281130 w 4038617"/>
                <a:gd name="connsiteY43" fmla="*/ 10930454 h 12560967"/>
                <a:gd name="connsiteX44" fmla="*/ 1340317 w 4038617"/>
                <a:gd name="connsiteY44" fmla="*/ 10532759 h 12560967"/>
                <a:gd name="connsiteX45" fmla="*/ 1386005 w 4038617"/>
                <a:gd name="connsiteY45" fmla="*/ 10234747 h 12560967"/>
                <a:gd name="connsiteX46" fmla="*/ 1397427 w 4038617"/>
                <a:gd name="connsiteY46" fmla="*/ 9975155 h 12560967"/>
                <a:gd name="connsiteX47" fmla="*/ 1413002 w 4038617"/>
                <a:gd name="connsiteY47" fmla="*/ 9806940 h 12560967"/>
                <a:gd name="connsiteX48" fmla="*/ 1451422 w 4038617"/>
                <a:gd name="connsiteY48" fmla="*/ 9631455 h 12560967"/>
                <a:gd name="connsiteX49" fmla="*/ 1432731 w 4038617"/>
                <a:gd name="connsiteY49" fmla="*/ 9447665 h 12560967"/>
                <a:gd name="connsiteX50" fmla="*/ 1471151 w 4038617"/>
                <a:gd name="connsiteY50" fmla="*/ 9249336 h 12560967"/>
                <a:gd name="connsiteX51" fmla="*/ 1524108 w 4038617"/>
                <a:gd name="connsiteY51" fmla="*/ 9036470 h 12560967"/>
                <a:gd name="connsiteX52" fmla="*/ 1578103 w 4038617"/>
                <a:gd name="connsiteY52" fmla="*/ 8761303 h 12560967"/>
                <a:gd name="connsiteX53" fmla="*/ 1668441 w 4038617"/>
                <a:gd name="connsiteY53" fmla="*/ 8456023 h 12560967"/>
                <a:gd name="connsiteX54" fmla="*/ 1692323 w 4038617"/>
                <a:gd name="connsiteY54" fmla="*/ 8196431 h 12560967"/>
                <a:gd name="connsiteX55" fmla="*/ 1776431 w 4038617"/>
                <a:gd name="connsiteY55" fmla="*/ 7951376 h 12560967"/>
                <a:gd name="connsiteX56" fmla="*/ 1806544 w 4038617"/>
                <a:gd name="connsiteY56" fmla="*/ 7691784 h 12560967"/>
                <a:gd name="connsiteX57" fmla="*/ 1943608 w 4038617"/>
                <a:gd name="connsiteY57" fmla="*/ 7401041 h 12560967"/>
                <a:gd name="connsiteX58" fmla="*/ 2004872 w 4038617"/>
                <a:gd name="connsiteY58" fmla="*/ 7125874 h 12560967"/>
                <a:gd name="connsiteX59" fmla="*/ 2111824 w 4038617"/>
                <a:gd name="connsiteY59" fmla="*/ 7625329 h 12560967"/>
                <a:gd name="connsiteX60" fmla="*/ 2259272 w 4038617"/>
                <a:gd name="connsiteY60" fmla="*/ 8053137 h 12560967"/>
                <a:gd name="connsiteX61" fmla="*/ 2370377 w 4038617"/>
                <a:gd name="connsiteY61" fmla="*/ 8430064 h 12560967"/>
                <a:gd name="connsiteX62" fmla="*/ 2518864 w 4038617"/>
                <a:gd name="connsiteY62" fmla="*/ 9020895 h 12560967"/>
                <a:gd name="connsiteX63" fmla="*/ 2580128 w 4038617"/>
                <a:gd name="connsiteY63" fmla="*/ 9341751 h 12560967"/>
                <a:gd name="connsiteX64" fmla="*/ 2661121 w 4038617"/>
                <a:gd name="connsiteY64" fmla="*/ 9622110 h 12560967"/>
                <a:gd name="connsiteX65" fmla="*/ 2714077 w 4038617"/>
                <a:gd name="connsiteY65" fmla="*/ 10051995 h 12560967"/>
                <a:gd name="connsiteX66" fmla="*/ 2752497 w 4038617"/>
                <a:gd name="connsiteY66" fmla="*/ 10507838 h 12560967"/>
                <a:gd name="connsiteX67" fmla="*/ 2807530 w 4038617"/>
                <a:gd name="connsiteY67" fmla="*/ 10754969 h 12560967"/>
                <a:gd name="connsiteX68" fmla="*/ 2828298 w 4038617"/>
                <a:gd name="connsiteY68" fmla="*/ 10960567 h 12560967"/>
                <a:gd name="connsiteX69" fmla="*/ 2828298 w 4038617"/>
                <a:gd name="connsiteY69" fmla="*/ 11167202 h 12560967"/>
                <a:gd name="connsiteX70" fmla="*/ 2889561 w 4038617"/>
                <a:gd name="connsiteY70" fmla="*/ 11388374 h 12560967"/>
                <a:gd name="connsiteX71" fmla="*/ 2828298 w 4038617"/>
                <a:gd name="connsiteY71" fmla="*/ 11690539 h 12560967"/>
                <a:gd name="connsiteX72" fmla="*/ 2909291 w 4038617"/>
                <a:gd name="connsiteY72" fmla="*/ 11802683 h 12560967"/>
                <a:gd name="connsiteX73" fmla="*/ 2986130 w 4038617"/>
                <a:gd name="connsiteY73" fmla="*/ 11835911 h 12560967"/>
                <a:gd name="connsiteX74" fmla="*/ 3044278 w 4038617"/>
                <a:gd name="connsiteY74" fmla="*/ 11998935 h 12560967"/>
                <a:gd name="connsiteX75" fmla="*/ 3013127 w 4038617"/>
                <a:gd name="connsiteY75" fmla="*/ 12373785 h 12560967"/>
                <a:gd name="connsiteX76" fmla="*/ 3236376 w 4038617"/>
                <a:gd name="connsiteY76" fmla="*/ 12399745 h 12560967"/>
                <a:gd name="connsiteX77" fmla="*/ 3463779 w 4038617"/>
                <a:gd name="connsiteY77" fmla="*/ 12533693 h 12560967"/>
                <a:gd name="connsiteX78" fmla="*/ 3843822 w 4038617"/>
                <a:gd name="connsiteY78" fmla="*/ 12533693 h 12560967"/>
                <a:gd name="connsiteX79" fmla="*/ 4019306 w 4038617"/>
                <a:gd name="connsiteY79" fmla="*/ 12444394 h 12560967"/>
                <a:gd name="connsiteX80" fmla="*/ 4023459 w 4038617"/>
                <a:gd name="connsiteY80" fmla="*/ 12224260 h 12560967"/>
                <a:gd name="connsiteX81" fmla="*/ 3843822 w 4038617"/>
                <a:gd name="connsiteY81" fmla="*/ 12051891 h 12560967"/>
                <a:gd name="connsiteX82" fmla="*/ 3782558 w 4038617"/>
                <a:gd name="connsiteY82" fmla="*/ 11926248 h 12560967"/>
                <a:gd name="connsiteX83" fmla="*/ 3725448 w 4038617"/>
                <a:gd name="connsiteY83" fmla="*/ 11849409 h 12560967"/>
                <a:gd name="connsiteX84" fmla="*/ 3628879 w 4038617"/>
                <a:gd name="connsiteY84" fmla="*/ 11762186 h 12560967"/>
                <a:gd name="connsiteX85" fmla="*/ 3664184 w 4038617"/>
                <a:gd name="connsiteY85" fmla="*/ 11742458 h 12560967"/>
                <a:gd name="connsiteX86" fmla="*/ 3584230 w 4038617"/>
                <a:gd name="connsiteY86" fmla="*/ 11581510 h 12560967"/>
                <a:gd name="connsiteX87" fmla="*/ 3661069 w 4038617"/>
                <a:gd name="connsiteY87" fmla="*/ 11440292 h 12560967"/>
                <a:gd name="connsiteX88" fmla="*/ 3638225 w 4038617"/>
                <a:gd name="connsiteY88" fmla="*/ 11160972 h 12560967"/>
                <a:gd name="connsiteX89" fmla="*/ 3596690 w 4038617"/>
                <a:gd name="connsiteY89" fmla="*/ 10939799 h 12560967"/>
                <a:gd name="connsiteX90" fmla="*/ 3542695 w 4038617"/>
                <a:gd name="connsiteY90" fmla="*/ 10710320 h 12560967"/>
                <a:gd name="connsiteX91" fmla="*/ 3516736 w 4038617"/>
                <a:gd name="connsiteY91" fmla="*/ 10325085 h 12560967"/>
                <a:gd name="connsiteX92" fmla="*/ 3516736 w 4038617"/>
                <a:gd name="connsiteY92" fmla="*/ 9904546 h 12560967"/>
                <a:gd name="connsiteX93" fmla="*/ 3447165 w 4038617"/>
                <a:gd name="connsiteY93" fmla="*/ 9553578 h 12560967"/>
                <a:gd name="connsiteX94" fmla="*/ 3378633 w 4038617"/>
                <a:gd name="connsiteY94" fmla="*/ 9346943 h 12560967"/>
                <a:gd name="connsiteX95" fmla="*/ 3316331 w 4038617"/>
                <a:gd name="connsiteY95" fmla="*/ 9002205 h 12560967"/>
                <a:gd name="connsiteX96" fmla="*/ 3292448 w 4038617"/>
                <a:gd name="connsiteY96" fmla="*/ 8660582 h 12560967"/>
                <a:gd name="connsiteX97" fmla="*/ 3224954 w 4038617"/>
                <a:gd name="connsiteY97" fmla="*/ 8216160 h 12560967"/>
                <a:gd name="connsiteX98" fmla="*/ 3270642 w 4038617"/>
                <a:gd name="connsiteY98" fmla="*/ 8025100 h 12560967"/>
                <a:gd name="connsiteX99" fmla="*/ 3313216 w 4038617"/>
                <a:gd name="connsiteY99" fmla="*/ 7803928 h 12560967"/>
                <a:gd name="connsiteX100" fmla="*/ 3324638 w 4038617"/>
                <a:gd name="connsiteY100" fmla="*/ 7406233 h 12560967"/>
                <a:gd name="connsiteX101" fmla="*/ 3300755 w 4038617"/>
                <a:gd name="connsiteY101" fmla="*/ 7115490 h 12560967"/>
                <a:gd name="connsiteX102" fmla="*/ 3316331 w 4038617"/>
                <a:gd name="connsiteY102" fmla="*/ 6837207 h 12560967"/>
                <a:gd name="connsiteX103" fmla="*/ 3491815 w 4038617"/>
                <a:gd name="connsiteY103" fmla="*/ 6814364 h 12560967"/>
                <a:gd name="connsiteX104" fmla="*/ 3400439 w 4038617"/>
                <a:gd name="connsiteY104" fmla="*/ 6356443 h 12560967"/>
                <a:gd name="connsiteX105" fmla="*/ 3495968 w 4038617"/>
                <a:gd name="connsiteY105" fmla="*/ 6212110 h 12560967"/>
                <a:gd name="connsiteX106" fmla="*/ 3582153 w 4038617"/>
                <a:gd name="connsiteY106" fmla="*/ 6101005 h 12560967"/>
                <a:gd name="connsiteX107" fmla="*/ 3671453 w 4038617"/>
                <a:gd name="connsiteY107" fmla="*/ 5952518 h 12560967"/>
                <a:gd name="connsiteX108" fmla="*/ 3687028 w 4038617"/>
                <a:gd name="connsiteY108" fmla="*/ 5765612 h 12560967"/>
                <a:gd name="connsiteX109" fmla="*/ 3709872 w 4038617"/>
                <a:gd name="connsiteY109" fmla="*/ 5544439 h 12560967"/>
                <a:gd name="connsiteX110" fmla="*/ 3820978 w 4038617"/>
                <a:gd name="connsiteY110" fmla="*/ 5391799 h 12560967"/>
                <a:gd name="connsiteX111" fmla="*/ 3950774 w 4038617"/>
                <a:gd name="connsiteY111" fmla="*/ 5040831 h 12560967"/>
                <a:gd name="connsiteX112" fmla="*/ 3965311 w 4038617"/>
                <a:gd name="connsiteY112" fmla="*/ 4824850 h 12560967"/>
                <a:gd name="connsiteX113" fmla="*/ 3927929 w 4038617"/>
                <a:gd name="connsiteY113" fmla="*/ 4627561 h 12560967"/>
                <a:gd name="connsiteX114" fmla="*/ 3950774 w 4038617"/>
                <a:gd name="connsiteY114" fmla="*/ 4276592 h 12560967"/>
                <a:gd name="connsiteX115" fmla="*/ 3893663 w 4038617"/>
                <a:gd name="connsiteY115" fmla="*/ 3810365 h 12560967"/>
                <a:gd name="connsiteX116" fmla="*/ 3882241 w 4038617"/>
                <a:gd name="connsiteY116" fmla="*/ 3451090 h 12560967"/>
                <a:gd name="connsiteX117" fmla="*/ 3813709 w 4038617"/>
                <a:gd name="connsiteY117" fmla="*/ 2767843 h 12560967"/>
                <a:gd name="connsiteX118" fmla="*/ 3745177 w 4038617"/>
                <a:gd name="connsiteY118" fmla="*/ 2481254 h 12560967"/>
                <a:gd name="connsiteX119" fmla="*/ 3572808 w 4038617"/>
                <a:gd name="connsiteY119" fmla="*/ 2374302 h 12560967"/>
                <a:gd name="connsiteX120" fmla="*/ 3224954 w 4038617"/>
                <a:gd name="connsiteY120" fmla="*/ 2207125 h 12560967"/>
                <a:gd name="connsiteX121" fmla="*/ 2878140 w 4038617"/>
                <a:gd name="connsiteY121" fmla="*/ 2045139 h 12560967"/>
                <a:gd name="connsiteX122" fmla="*/ 2608164 w 4038617"/>
                <a:gd name="connsiteY122" fmla="*/ 1905998 h 12560967"/>
                <a:gd name="connsiteX123" fmla="*/ 2448255 w 4038617"/>
                <a:gd name="connsiteY123" fmla="*/ 1789701 h 12560967"/>
                <a:gd name="connsiteX124" fmla="*/ 2463831 w 4038617"/>
                <a:gd name="connsiteY124" fmla="*/ 1485459 h 12560967"/>
                <a:gd name="connsiteX125" fmla="*/ 2474214 w 4038617"/>
                <a:gd name="connsiteY125" fmla="*/ 1449116 h 12560967"/>
                <a:gd name="connsiteX126" fmla="*/ 2478368 w 4038617"/>
                <a:gd name="connsiteY126" fmla="*/ 1481306 h 12560967"/>
                <a:gd name="connsiteX127" fmla="*/ 2481483 w 4038617"/>
                <a:gd name="connsiteY127" fmla="*/ 1413812 h 12560967"/>
                <a:gd name="connsiteX128" fmla="*/ 2489790 w 4038617"/>
                <a:gd name="connsiteY128" fmla="*/ 1375392 h 12560967"/>
                <a:gd name="connsiteX129" fmla="*/ 2493943 w 4038617"/>
                <a:gd name="connsiteY129" fmla="*/ 1444963 h 12560967"/>
                <a:gd name="connsiteX130" fmla="*/ 2500173 w 4038617"/>
                <a:gd name="connsiteY130" fmla="*/ 1351510 h 12560967"/>
                <a:gd name="connsiteX131" fmla="*/ 2518864 w 4038617"/>
                <a:gd name="connsiteY131" fmla="*/ 1451193 h 12560967"/>
                <a:gd name="connsiteX132" fmla="*/ 2521979 w 4038617"/>
                <a:gd name="connsiteY132" fmla="*/ 1293361 h 12560967"/>
                <a:gd name="connsiteX133" fmla="*/ 2521979 w 4038617"/>
                <a:gd name="connsiteY133" fmla="*/ 1392006 h 12560967"/>
                <a:gd name="connsiteX134" fmla="*/ 2526133 w 4038617"/>
                <a:gd name="connsiteY134" fmla="*/ 1296476 h 12560967"/>
                <a:gd name="connsiteX135" fmla="*/ 2529248 w 4038617"/>
                <a:gd name="connsiteY135" fmla="*/ 1338011 h 12560967"/>
                <a:gd name="connsiteX136" fmla="*/ 2531325 w 4038617"/>
                <a:gd name="connsiteY136" fmla="*/ 1291284 h 12560967"/>
                <a:gd name="connsiteX137" fmla="*/ 2534440 w 4038617"/>
                <a:gd name="connsiteY137" fmla="*/ 1327627 h 12560967"/>
                <a:gd name="connsiteX138" fmla="*/ 2536516 w 4038617"/>
                <a:gd name="connsiteY138" fmla="*/ 1295438 h 12560967"/>
                <a:gd name="connsiteX139" fmla="*/ 2580128 w 4038617"/>
                <a:gd name="connsiteY139" fmla="*/ 1266363 h 12560967"/>
                <a:gd name="connsiteX140" fmla="*/ 2620624 w 4038617"/>
                <a:gd name="connsiteY140" fmla="*/ 1058690 h 12560967"/>
                <a:gd name="connsiteX141" fmla="*/ 2620624 w 4038617"/>
                <a:gd name="connsiteY141" fmla="*/ 1035846 h 12560967"/>
                <a:gd name="connsiteX142" fmla="*/ 2614394 w 4038617"/>
                <a:gd name="connsiteY142" fmla="*/ 1162527 h 12560967"/>
                <a:gd name="connsiteX143" fmla="*/ 2626855 w 4038617"/>
                <a:gd name="connsiteY143" fmla="*/ 1056613 h 12560967"/>
                <a:gd name="connsiteX144" fmla="*/ 2623739 w 4038617"/>
                <a:gd name="connsiteY144" fmla="*/ 1156296 h 12560967"/>
                <a:gd name="connsiteX145" fmla="*/ 2646583 w 4038617"/>
                <a:gd name="connsiteY145" fmla="*/ 976659 h 12560967"/>
                <a:gd name="connsiteX146" fmla="*/ 2646583 w 4038617"/>
                <a:gd name="connsiteY146" fmla="*/ 1070112 h 12560967"/>
                <a:gd name="connsiteX147" fmla="*/ 2652814 w 4038617"/>
                <a:gd name="connsiteY147" fmla="*/ 979774 h 12560967"/>
                <a:gd name="connsiteX148" fmla="*/ 2646583 w 4038617"/>
                <a:gd name="connsiteY148" fmla="*/ 886321 h 12560967"/>
                <a:gd name="connsiteX149" fmla="*/ 2622701 w 4038617"/>
                <a:gd name="connsiteY149" fmla="*/ 762755 h 12560967"/>
                <a:gd name="connsiteX150" fmla="*/ 2648660 w 4038617"/>
                <a:gd name="connsiteY150" fmla="*/ 809481 h 12560967"/>
                <a:gd name="connsiteX151" fmla="*/ 2626855 w 4038617"/>
                <a:gd name="connsiteY151" fmla="*/ 760678 h 12560967"/>
                <a:gd name="connsiteX152" fmla="*/ 2651775 w 4038617"/>
                <a:gd name="connsiteY152" fmla="*/ 798059 h 12560967"/>
                <a:gd name="connsiteX153" fmla="*/ 2574936 w 4038617"/>
                <a:gd name="connsiteY153" fmla="*/ 412825 h 12560967"/>
                <a:gd name="connsiteX154" fmla="*/ 2608164 w 4038617"/>
                <a:gd name="connsiteY154" fmla="*/ 512508 h 12560967"/>
                <a:gd name="connsiteX155" fmla="*/ 2529248 w 4038617"/>
                <a:gd name="connsiteY155" fmla="*/ 305873 h 12560967"/>
                <a:gd name="connsiteX156" fmla="*/ 2338188 w 4038617"/>
                <a:gd name="connsiteY156" fmla="*/ 105468 h 12560967"/>
                <a:gd name="connsiteX157" fmla="*/ 2155435 w 4038617"/>
                <a:gd name="connsiteY157" fmla="*/ 27590 h 12560967"/>
                <a:gd name="connsiteX158" fmla="*/ 2051599 w 4038617"/>
                <a:gd name="connsiteY158" fmla="*/ 24475 h 12560967"/>
                <a:gd name="connsiteX159" fmla="*/ 2189702 w 4038617"/>
                <a:gd name="connsiteY159" fmla="*/ 31744 h 12560967"/>
                <a:gd name="connsiteX160" fmla="*/ 1984105 w 4038617"/>
                <a:gd name="connsiteY160" fmla="*/ 34859 h 12560967"/>
                <a:gd name="connsiteX161" fmla="*/ 1787853 w 4038617"/>
                <a:gd name="connsiteY161" fmla="*/ 5785 h 12560967"/>
                <a:gd name="connsiteX162" fmla="*/ 1928033 w 4038617"/>
                <a:gd name="connsiteY162" fmla="*/ 19283 h 12560967"/>
                <a:gd name="connsiteX163" fmla="*/ 1776431 w 4038617"/>
                <a:gd name="connsiteY163" fmla="*/ 13053 h 12560967"/>
                <a:gd name="connsiteX164" fmla="*/ 1610292 w 4038617"/>
                <a:gd name="connsiteY164" fmla="*/ 66010 h 12560967"/>
                <a:gd name="connsiteX165" fmla="*/ 1468036 w 4038617"/>
                <a:gd name="connsiteY165" fmla="*/ 184384 h 12560967"/>
                <a:gd name="connsiteX166" fmla="*/ 1561489 w 4038617"/>
                <a:gd name="connsiteY166" fmla="*/ 101314 h 12560967"/>
                <a:gd name="connsiteX167" fmla="*/ 1359007 w 4038617"/>
                <a:gd name="connsiteY167" fmla="*/ 347408 h 12560967"/>
                <a:gd name="connsiteX168" fmla="*/ 1299820 w 4038617"/>
                <a:gd name="connsiteY168" fmla="*/ 570657 h 12560967"/>
                <a:gd name="connsiteX169" fmla="*/ 1298782 w 4038617"/>
                <a:gd name="connsiteY169" fmla="*/ 842709 h 12560967"/>
                <a:gd name="connsiteX170" fmla="*/ 1308127 w 4038617"/>
                <a:gd name="connsiteY170" fmla="*/ 1016117 h 12560967"/>
                <a:gd name="connsiteX171" fmla="*/ 1305012 w 4038617"/>
                <a:gd name="connsiteY171" fmla="*/ 916433 h 12560967"/>
                <a:gd name="connsiteX172" fmla="*/ 1312281 w 4038617"/>
                <a:gd name="connsiteY172" fmla="*/ 1033769 h 12560967"/>
                <a:gd name="connsiteX173" fmla="*/ 1343432 w 4038617"/>
                <a:gd name="connsiteY173" fmla="*/ 1186409 h 12560967"/>
                <a:gd name="connsiteX174" fmla="*/ 1330971 w 4038617"/>
                <a:gd name="connsiteY174" fmla="*/ 1032731 h 12560967"/>
                <a:gd name="connsiteX175" fmla="*/ 1341355 w 4038617"/>
                <a:gd name="connsiteY175" fmla="*/ 1124107 h 12560967"/>
                <a:gd name="connsiteX176" fmla="*/ 1337201 w 4038617"/>
                <a:gd name="connsiteY176" fmla="*/ 1050383 h 12560967"/>
                <a:gd name="connsiteX177" fmla="*/ 1350700 w 4038617"/>
                <a:gd name="connsiteY177" fmla="*/ 1126184 h 12560967"/>
                <a:gd name="connsiteX178" fmla="*/ 1341355 w 4038617"/>
                <a:gd name="connsiteY178" fmla="*/ 1032731 h 12560967"/>
                <a:gd name="connsiteX179" fmla="*/ 1348623 w 4038617"/>
                <a:gd name="connsiteY179" fmla="*/ 1082572 h 12560967"/>
                <a:gd name="connsiteX180" fmla="*/ 1343432 w 4038617"/>
                <a:gd name="connsiteY180" fmla="*/ 1020270 h 12560967"/>
                <a:gd name="connsiteX181" fmla="*/ 1349662 w 4038617"/>
                <a:gd name="connsiteY181" fmla="*/ 1056613 h 12560967"/>
                <a:gd name="connsiteX182" fmla="*/ 1353815 w 4038617"/>
                <a:gd name="connsiteY182" fmla="*/ 1079457 h 12560967"/>
                <a:gd name="connsiteX183" fmla="*/ 1356930 w 4038617"/>
                <a:gd name="connsiteY183" fmla="*/ 1156296 h 12560967"/>
                <a:gd name="connsiteX184" fmla="*/ 1357969 w 4038617"/>
                <a:gd name="connsiteY184" fmla="*/ 1108531 h 12560967"/>
                <a:gd name="connsiteX185" fmla="*/ 1376659 w 4038617"/>
                <a:gd name="connsiteY185" fmla="*/ 1232097 h 12560967"/>
                <a:gd name="connsiteX186" fmla="*/ 1364199 w 4038617"/>
                <a:gd name="connsiteY186" fmla="*/ 1139683 h 12560967"/>
                <a:gd name="connsiteX187" fmla="*/ 1374583 w 4038617"/>
                <a:gd name="connsiteY187" fmla="*/ 1201985 h 12560967"/>
                <a:gd name="connsiteX188" fmla="*/ 1395350 w 4038617"/>
                <a:gd name="connsiteY188" fmla="*/ 1265325 h 12560967"/>
                <a:gd name="connsiteX189" fmla="*/ 1390158 w 4038617"/>
                <a:gd name="connsiteY189" fmla="*/ 1204061 h 12560967"/>
                <a:gd name="connsiteX190" fmla="*/ 1400542 w 4038617"/>
                <a:gd name="connsiteY190" fmla="*/ 1270517 h 12560967"/>
                <a:gd name="connsiteX191" fmla="*/ 1395350 w 4038617"/>
                <a:gd name="connsiteY191" fmla="*/ 1216522 h 12560967"/>
                <a:gd name="connsiteX192" fmla="*/ 1410926 w 4038617"/>
                <a:gd name="connsiteY192" fmla="*/ 1292323 h 12560967"/>
                <a:gd name="connsiteX193" fmla="*/ 1402619 w 4038617"/>
                <a:gd name="connsiteY193" fmla="*/ 1199908 h 12560967"/>
                <a:gd name="connsiteX194" fmla="*/ 1406772 w 4038617"/>
                <a:gd name="connsiteY194" fmla="*/ 1231059 h 12560967"/>
                <a:gd name="connsiteX195" fmla="*/ 1463882 w 4038617"/>
                <a:gd name="connsiteY195" fmla="*/ 1358778 h 12560967"/>
                <a:gd name="connsiteX196" fmla="*/ 1504379 w 4038617"/>
                <a:gd name="connsiteY196" fmla="*/ 1368123 h 12560967"/>
                <a:gd name="connsiteX197" fmla="*/ 1514762 w 4038617"/>
                <a:gd name="connsiteY197" fmla="*/ 1425234 h 12560967"/>
                <a:gd name="connsiteX198" fmla="*/ 1509571 w 4038617"/>
                <a:gd name="connsiteY198" fmla="*/ 1367085 h 12560967"/>
                <a:gd name="connsiteX199" fmla="*/ 1515801 w 4038617"/>
                <a:gd name="connsiteY199" fmla="*/ 1365008 h 12560967"/>
                <a:gd name="connsiteX200" fmla="*/ 1526184 w 4038617"/>
                <a:gd name="connsiteY200" fmla="*/ 1475075 h 12560967"/>
                <a:gd name="connsiteX201" fmla="*/ 1532415 w 4038617"/>
                <a:gd name="connsiteY201" fmla="*/ 1396159 h 12560967"/>
                <a:gd name="connsiteX202" fmla="*/ 1535530 w 4038617"/>
                <a:gd name="connsiteY202" fmla="*/ 1485459 h 12560967"/>
                <a:gd name="connsiteX203" fmla="*/ 1535530 w 4038617"/>
                <a:gd name="connsiteY203" fmla="*/ 1389929 h 12560967"/>
                <a:gd name="connsiteX204" fmla="*/ 1542798 w 4038617"/>
                <a:gd name="connsiteY204" fmla="*/ 1413812 h 12560967"/>
                <a:gd name="connsiteX205" fmla="*/ 1553182 w 4038617"/>
                <a:gd name="connsiteY205" fmla="*/ 1475075 h 12560967"/>
                <a:gd name="connsiteX206" fmla="*/ 1550067 w 4038617"/>
                <a:gd name="connsiteY206" fmla="*/ 1435617 h 12560967"/>
                <a:gd name="connsiteX207" fmla="*/ 1589525 w 4038617"/>
                <a:gd name="connsiteY207" fmla="*/ 1588257 h 12560967"/>
                <a:gd name="connsiteX208" fmla="*/ 1580179 w 4038617"/>
                <a:gd name="connsiteY208" fmla="*/ 1791778 h 12560967"/>
                <a:gd name="connsiteX209" fmla="*/ 1453499 w 4038617"/>
                <a:gd name="connsiteY209" fmla="*/ 1924689 h 12560967"/>
                <a:gd name="connsiteX210" fmla="*/ 1077609 w 4038617"/>
                <a:gd name="connsiteY210" fmla="*/ 2088751 h 12560967"/>
                <a:gd name="connsiteX211" fmla="*/ 650840 w 4038617"/>
                <a:gd name="connsiteY211" fmla="*/ 2225815 h 12560967"/>
                <a:gd name="connsiteX212" fmla="*/ 431745 w 4038617"/>
                <a:gd name="connsiteY212" fmla="*/ 2344189 h 12560967"/>
                <a:gd name="connsiteX213" fmla="*/ 372558 w 4038617"/>
                <a:gd name="connsiteY213" fmla="*/ 2569515 h 12560967"/>
                <a:gd name="connsiteX214" fmla="*/ 336215 w 4038617"/>
                <a:gd name="connsiteY214" fmla="*/ 2744999 h 12560967"/>
                <a:gd name="connsiteX215" fmla="*/ 267682 w 4038617"/>
                <a:gd name="connsiteY215" fmla="*/ 3003553 h 12560967"/>
                <a:gd name="connsiteX216" fmla="*/ 251069 w 4038617"/>
                <a:gd name="connsiteY216" fmla="*/ 3171769 h 12560967"/>
                <a:gd name="connsiteX217" fmla="*/ 206419 w 4038617"/>
                <a:gd name="connsiteY217" fmla="*/ 3370097 h 12560967"/>
                <a:gd name="connsiteX218" fmla="*/ 160731 w 4038617"/>
                <a:gd name="connsiteY218" fmla="*/ 3660840 h 12560967"/>
                <a:gd name="connsiteX219" fmla="*/ 62086 w 4038617"/>
                <a:gd name="connsiteY219" fmla="*/ 4081379 h 12560967"/>
                <a:gd name="connsiteX220" fmla="*/ 822 w 4038617"/>
                <a:gd name="connsiteY220" fmla="*/ 4527877 h 12560967"/>
                <a:gd name="connsiteX221" fmla="*/ 3295563 w 4038617"/>
                <a:gd name="connsiteY221" fmla="*/ 4493611 h 12560967"/>
                <a:gd name="connsiteX222" fmla="*/ 3346444 w 4038617"/>
                <a:gd name="connsiteY222" fmla="*/ 4139528 h 12560967"/>
                <a:gd name="connsiteX223" fmla="*/ 3395247 w 4038617"/>
                <a:gd name="connsiteY223" fmla="*/ 4549683 h 12560967"/>
                <a:gd name="connsiteX224" fmla="*/ 3320484 w 4038617"/>
                <a:gd name="connsiteY224" fmla="*/ 4876769 h 12560967"/>
                <a:gd name="connsiteX225" fmla="*/ 3295563 w 4038617"/>
                <a:gd name="connsiteY225" fmla="*/ 4493611 h 12560967"/>
                <a:gd name="connsiteX226" fmla="*/ 658109 w 4038617"/>
                <a:gd name="connsiteY226" fmla="*/ 4969183 h 12560967"/>
                <a:gd name="connsiteX227" fmla="*/ 596845 w 4038617"/>
                <a:gd name="connsiteY227" fmla="*/ 4846656 h 12560967"/>
                <a:gd name="connsiteX228" fmla="*/ 705874 w 4038617"/>
                <a:gd name="connsiteY228" fmla="*/ 4770855 h 12560967"/>
                <a:gd name="connsiteX229" fmla="*/ 800365 w 4038617"/>
                <a:gd name="connsiteY229" fmla="*/ 4599525 h 12560967"/>
                <a:gd name="connsiteX230" fmla="*/ 810749 w 4038617"/>
                <a:gd name="connsiteY230" fmla="*/ 4464537 h 12560967"/>
                <a:gd name="connsiteX231" fmla="*/ 886550 w 4038617"/>
                <a:gd name="connsiteY231" fmla="*/ 4869500 h 12560967"/>
                <a:gd name="connsiteX232" fmla="*/ 828401 w 4038617"/>
                <a:gd name="connsiteY232" fmla="*/ 5078212 h 12560967"/>
                <a:gd name="connsiteX233" fmla="*/ 739101 w 4038617"/>
                <a:gd name="connsiteY233" fmla="*/ 5284847 h 12560967"/>
                <a:gd name="connsiteX234" fmla="*/ 708989 w 4038617"/>
                <a:gd name="connsiteY234" fmla="*/ 5149860 h 12560967"/>
                <a:gd name="connsiteX235" fmla="*/ 663301 w 4038617"/>
                <a:gd name="connsiteY235" fmla="*/ 5068867 h 12560967"/>
                <a:gd name="connsiteX236" fmla="*/ 658109 w 4038617"/>
                <a:gd name="connsiteY236" fmla="*/ 4969183 h 1256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Lst>
              <a:rect l="l" t="t" r="r" b="b"/>
              <a:pathLst>
                <a:path w="4038617" h="12560967">
                  <a:moveTo>
                    <a:pt x="2899" y="4525801"/>
                  </a:moveTo>
                  <a:cubicBezTo>
                    <a:pt x="12244" y="4702323"/>
                    <a:pt x="38203" y="4907920"/>
                    <a:pt x="77661" y="5078212"/>
                  </a:cubicBezTo>
                  <a:cubicBezTo>
                    <a:pt x="110889" y="5215277"/>
                    <a:pt x="120234" y="5381416"/>
                    <a:pt x="155539" y="5525749"/>
                  </a:cubicBezTo>
                  <a:cubicBezTo>
                    <a:pt x="178383" y="5622317"/>
                    <a:pt x="185651" y="5717847"/>
                    <a:pt x="255222" y="5869449"/>
                  </a:cubicBezTo>
                  <a:cubicBezTo>
                    <a:pt x="295718" y="5959787"/>
                    <a:pt x="317524" y="6083353"/>
                    <a:pt x="343483" y="6174729"/>
                  </a:cubicBezTo>
                  <a:cubicBezTo>
                    <a:pt x="351790" y="6206918"/>
                    <a:pt x="366327" y="6239108"/>
                    <a:pt x="377749" y="6270259"/>
                  </a:cubicBezTo>
                  <a:cubicBezTo>
                    <a:pt x="388133" y="6298295"/>
                    <a:pt x="423438" y="6388633"/>
                    <a:pt x="439013" y="6415630"/>
                  </a:cubicBezTo>
                  <a:cubicBezTo>
                    <a:pt x="456665" y="6384479"/>
                    <a:pt x="448358" y="6283757"/>
                    <a:pt x="450435" y="6247415"/>
                  </a:cubicBezTo>
                  <a:cubicBezTo>
                    <a:pt x="496123" y="6327369"/>
                    <a:pt x="589576" y="6433282"/>
                    <a:pt x="711066" y="6454050"/>
                  </a:cubicBezTo>
                  <a:cubicBezTo>
                    <a:pt x="672646" y="6586961"/>
                    <a:pt x="650840" y="6719872"/>
                    <a:pt x="650840" y="6909893"/>
                  </a:cubicBezTo>
                  <a:cubicBezTo>
                    <a:pt x="650840" y="6964927"/>
                    <a:pt x="642533" y="7028267"/>
                    <a:pt x="656032" y="7080186"/>
                  </a:cubicBezTo>
                  <a:cubicBezTo>
                    <a:pt x="670569" y="7134180"/>
                    <a:pt x="681991" y="7213097"/>
                    <a:pt x="694452" y="7271245"/>
                  </a:cubicBezTo>
                  <a:cubicBezTo>
                    <a:pt x="718334" y="7393772"/>
                    <a:pt x="671608" y="7530837"/>
                    <a:pt x="687183" y="7626367"/>
                  </a:cubicBezTo>
                  <a:cubicBezTo>
                    <a:pt x="702759" y="7721897"/>
                    <a:pt x="710027" y="7794582"/>
                    <a:pt x="728718" y="7965913"/>
                  </a:cubicBezTo>
                  <a:cubicBezTo>
                    <a:pt x="748447" y="8138283"/>
                    <a:pt x="743255" y="8205776"/>
                    <a:pt x="751562" y="8248350"/>
                  </a:cubicBezTo>
                  <a:cubicBezTo>
                    <a:pt x="766099" y="8325189"/>
                    <a:pt x="772329" y="8413449"/>
                    <a:pt x="781675" y="8473675"/>
                  </a:cubicBezTo>
                  <a:cubicBezTo>
                    <a:pt x="801404" y="8599317"/>
                    <a:pt x="771291" y="8628392"/>
                    <a:pt x="778559" y="8766495"/>
                  </a:cubicBezTo>
                  <a:cubicBezTo>
                    <a:pt x="784790" y="8872409"/>
                    <a:pt x="773368" y="8930557"/>
                    <a:pt x="752600" y="9034394"/>
                  </a:cubicBezTo>
                  <a:cubicBezTo>
                    <a:pt x="730795" y="9136154"/>
                    <a:pt x="717296" y="9268027"/>
                    <a:pt x="697567" y="9369787"/>
                  </a:cubicBezTo>
                  <a:cubicBezTo>
                    <a:pt x="676799" y="9477777"/>
                    <a:pt x="667454" y="9574345"/>
                    <a:pt x="659147" y="9684412"/>
                  </a:cubicBezTo>
                  <a:cubicBezTo>
                    <a:pt x="649802" y="9793441"/>
                    <a:pt x="599960" y="9832899"/>
                    <a:pt x="605152" y="9940889"/>
                  </a:cubicBezTo>
                  <a:cubicBezTo>
                    <a:pt x="608267" y="10004229"/>
                    <a:pt x="599960" y="10135064"/>
                    <a:pt x="586461" y="10220210"/>
                  </a:cubicBezTo>
                  <a:cubicBezTo>
                    <a:pt x="576078" y="10288742"/>
                    <a:pt x="547003" y="10397771"/>
                    <a:pt x="529351" y="10465265"/>
                  </a:cubicBezTo>
                  <a:cubicBezTo>
                    <a:pt x="475356" y="10671900"/>
                    <a:pt x="486778" y="10818310"/>
                    <a:pt x="453550" y="10984449"/>
                  </a:cubicBezTo>
                  <a:cubicBezTo>
                    <a:pt x="441090" y="11047789"/>
                    <a:pt x="435898" y="11140204"/>
                    <a:pt x="419284" y="11201468"/>
                  </a:cubicBezTo>
                  <a:cubicBezTo>
                    <a:pt x="401632" y="11265846"/>
                    <a:pt x="359059" y="11368645"/>
                    <a:pt x="369442" y="11449638"/>
                  </a:cubicBezTo>
                  <a:cubicBezTo>
                    <a:pt x="379826" y="11530630"/>
                    <a:pt x="420322" y="11555551"/>
                    <a:pt x="437975" y="11629275"/>
                  </a:cubicBezTo>
                  <a:cubicBezTo>
                    <a:pt x="451474" y="11683271"/>
                    <a:pt x="373596" y="11774647"/>
                    <a:pt x="449397" y="11823450"/>
                  </a:cubicBezTo>
                  <a:cubicBezTo>
                    <a:pt x="415131" y="11861870"/>
                    <a:pt x="386056" y="11906520"/>
                    <a:pt x="376711" y="11976090"/>
                  </a:cubicBezTo>
                  <a:cubicBezTo>
                    <a:pt x="369442" y="12031124"/>
                    <a:pt x="354905" y="12039431"/>
                    <a:pt x="320639" y="12080965"/>
                  </a:cubicBezTo>
                  <a:cubicBezTo>
                    <a:pt x="280143" y="12132883"/>
                    <a:pt x="242762" y="12130807"/>
                    <a:pt x="199150" y="12239836"/>
                  </a:cubicBezTo>
                  <a:cubicBezTo>
                    <a:pt x="177344" y="12295908"/>
                    <a:pt x="181498" y="12353018"/>
                    <a:pt x="184613" y="12414282"/>
                  </a:cubicBezTo>
                  <a:cubicBezTo>
                    <a:pt x="187728" y="12499428"/>
                    <a:pt x="204342" y="12509811"/>
                    <a:pt x="299872" y="12540962"/>
                  </a:cubicBezTo>
                  <a:cubicBezTo>
                    <a:pt x="363212" y="12561730"/>
                    <a:pt x="487816" y="12562768"/>
                    <a:pt x="553234" y="12559653"/>
                  </a:cubicBezTo>
                  <a:cubicBezTo>
                    <a:pt x="665377" y="12554461"/>
                    <a:pt x="773368" y="12545116"/>
                    <a:pt x="888626" y="12510850"/>
                  </a:cubicBezTo>
                  <a:cubicBezTo>
                    <a:pt x="969619" y="12488006"/>
                    <a:pt x="1045420" y="12465162"/>
                    <a:pt x="1094223" y="12421550"/>
                  </a:cubicBezTo>
                  <a:cubicBezTo>
                    <a:pt x="1143027" y="12378977"/>
                    <a:pt x="1134720" y="12329136"/>
                    <a:pt x="1131605" y="12280332"/>
                  </a:cubicBezTo>
                  <a:cubicBezTo>
                    <a:pt x="1127451" y="12230490"/>
                    <a:pt x="1102530" y="12006203"/>
                    <a:pt x="1102530" y="12006203"/>
                  </a:cubicBezTo>
                  <a:cubicBezTo>
                    <a:pt x="1176254" y="11982320"/>
                    <a:pt x="1261401" y="11877445"/>
                    <a:pt x="1262439" y="11836949"/>
                  </a:cubicBezTo>
                  <a:cubicBezTo>
                    <a:pt x="1262439" y="11796452"/>
                    <a:pt x="1261401" y="11763225"/>
                    <a:pt x="1240633" y="11723767"/>
                  </a:cubicBezTo>
                  <a:cubicBezTo>
                    <a:pt x="1217789" y="11682232"/>
                    <a:pt x="1164832" y="11664580"/>
                    <a:pt x="1186638" y="11601239"/>
                  </a:cubicBezTo>
                  <a:cubicBezTo>
                    <a:pt x="1208444" y="11537899"/>
                    <a:pt x="1288398" y="11512978"/>
                    <a:pt x="1310204" y="11441331"/>
                  </a:cubicBezTo>
                  <a:cubicBezTo>
                    <a:pt x="1338240" y="11345801"/>
                    <a:pt x="1262439" y="11283499"/>
                    <a:pt x="1256209" y="11189007"/>
                  </a:cubicBezTo>
                  <a:cubicBezTo>
                    <a:pt x="1251017" y="11099708"/>
                    <a:pt x="1264516" y="11015600"/>
                    <a:pt x="1281130" y="10930454"/>
                  </a:cubicBezTo>
                  <a:cubicBezTo>
                    <a:pt x="1313319" y="10758084"/>
                    <a:pt x="1340317" y="10706166"/>
                    <a:pt x="1340317" y="10532759"/>
                  </a:cubicBezTo>
                  <a:cubicBezTo>
                    <a:pt x="1340317" y="10439306"/>
                    <a:pt x="1370429" y="10357274"/>
                    <a:pt x="1386005" y="10234747"/>
                  </a:cubicBezTo>
                  <a:cubicBezTo>
                    <a:pt x="1395350" y="10164138"/>
                    <a:pt x="1394312" y="10086260"/>
                    <a:pt x="1397427" y="9975155"/>
                  </a:cubicBezTo>
                  <a:cubicBezTo>
                    <a:pt x="1398465" y="9945042"/>
                    <a:pt x="1407810" y="9837053"/>
                    <a:pt x="1413002" y="9806940"/>
                  </a:cubicBezTo>
                  <a:cubicBezTo>
                    <a:pt x="1423386" y="9748791"/>
                    <a:pt x="1448307" y="9684412"/>
                    <a:pt x="1451422" y="9631455"/>
                  </a:cubicBezTo>
                  <a:cubicBezTo>
                    <a:pt x="1454537" y="9567076"/>
                    <a:pt x="1429616" y="9512043"/>
                    <a:pt x="1432731" y="9447665"/>
                  </a:cubicBezTo>
                  <a:cubicBezTo>
                    <a:pt x="1434808" y="9384324"/>
                    <a:pt x="1466997" y="9317869"/>
                    <a:pt x="1471151" y="9249336"/>
                  </a:cubicBezTo>
                  <a:cubicBezTo>
                    <a:pt x="1475304" y="9170420"/>
                    <a:pt x="1511647" y="9110195"/>
                    <a:pt x="1524108" y="9036470"/>
                  </a:cubicBezTo>
                  <a:cubicBezTo>
                    <a:pt x="1537606" y="8957555"/>
                    <a:pt x="1558374" y="8839181"/>
                    <a:pt x="1578103" y="8761303"/>
                  </a:cubicBezTo>
                  <a:cubicBezTo>
                    <a:pt x="1608215" y="8638776"/>
                    <a:pt x="1651827" y="8581665"/>
                    <a:pt x="1668441" y="8456023"/>
                  </a:cubicBezTo>
                  <a:cubicBezTo>
                    <a:pt x="1682978" y="8351148"/>
                    <a:pt x="1686093" y="8302344"/>
                    <a:pt x="1692323" y="8196431"/>
                  </a:cubicBezTo>
                  <a:cubicBezTo>
                    <a:pt x="1697515" y="8104016"/>
                    <a:pt x="1763971" y="8042752"/>
                    <a:pt x="1776431" y="7951376"/>
                  </a:cubicBezTo>
                  <a:cubicBezTo>
                    <a:pt x="1786815" y="7875575"/>
                    <a:pt x="1786815" y="7765508"/>
                    <a:pt x="1806544" y="7691784"/>
                  </a:cubicBezTo>
                  <a:cubicBezTo>
                    <a:pt x="1829388" y="7614945"/>
                    <a:pt x="1921803" y="7477881"/>
                    <a:pt x="1943608" y="7401041"/>
                  </a:cubicBezTo>
                  <a:cubicBezTo>
                    <a:pt x="1965414" y="7324202"/>
                    <a:pt x="1973721" y="7211020"/>
                    <a:pt x="2004872" y="7125874"/>
                  </a:cubicBezTo>
                  <a:cubicBezTo>
                    <a:pt x="2043292" y="7218289"/>
                    <a:pt x="2075481" y="7507994"/>
                    <a:pt x="2111824" y="7625329"/>
                  </a:cubicBezTo>
                  <a:cubicBezTo>
                    <a:pt x="2147128" y="7742664"/>
                    <a:pt x="2223968" y="7969028"/>
                    <a:pt x="2259272" y="8053137"/>
                  </a:cubicBezTo>
                  <a:cubicBezTo>
                    <a:pt x="2311191" y="8175664"/>
                    <a:pt x="2330920" y="8302344"/>
                    <a:pt x="2370377" y="8430064"/>
                  </a:cubicBezTo>
                  <a:cubicBezTo>
                    <a:pt x="2434756" y="8633584"/>
                    <a:pt x="2465907" y="8818413"/>
                    <a:pt x="2518864" y="9020895"/>
                  </a:cubicBezTo>
                  <a:cubicBezTo>
                    <a:pt x="2541708" y="9105003"/>
                    <a:pt x="2545862" y="9262834"/>
                    <a:pt x="2580128" y="9341751"/>
                  </a:cubicBezTo>
                  <a:cubicBezTo>
                    <a:pt x="2619586" y="9430012"/>
                    <a:pt x="2658005" y="9526580"/>
                    <a:pt x="2661121" y="9622110"/>
                  </a:cubicBezTo>
                  <a:cubicBezTo>
                    <a:pt x="2669428" y="9789287"/>
                    <a:pt x="2708885" y="9881702"/>
                    <a:pt x="2714077" y="10051995"/>
                  </a:cubicBezTo>
                  <a:cubicBezTo>
                    <a:pt x="2720308" y="10216056"/>
                    <a:pt x="2728615" y="10345852"/>
                    <a:pt x="2752497" y="10507838"/>
                  </a:cubicBezTo>
                  <a:cubicBezTo>
                    <a:pt x="2763919" y="10586754"/>
                    <a:pt x="2823106" y="10650094"/>
                    <a:pt x="2807530" y="10754969"/>
                  </a:cubicBezTo>
                  <a:cubicBezTo>
                    <a:pt x="2797147" y="10824540"/>
                    <a:pt x="2828298" y="10887880"/>
                    <a:pt x="2828298" y="10960567"/>
                  </a:cubicBezTo>
                  <a:cubicBezTo>
                    <a:pt x="2828298" y="11027022"/>
                    <a:pt x="2818953" y="11101785"/>
                    <a:pt x="2828298" y="11167202"/>
                  </a:cubicBezTo>
                  <a:cubicBezTo>
                    <a:pt x="2837643" y="11231581"/>
                    <a:pt x="2894753" y="11317765"/>
                    <a:pt x="2889561" y="11388374"/>
                  </a:cubicBezTo>
                  <a:cubicBezTo>
                    <a:pt x="2880216" y="11518170"/>
                    <a:pt x="2757689" y="11561781"/>
                    <a:pt x="2828298" y="11690539"/>
                  </a:cubicBezTo>
                  <a:cubicBezTo>
                    <a:pt x="2858411" y="11747649"/>
                    <a:pt x="2859449" y="11786069"/>
                    <a:pt x="2909291" y="11802683"/>
                  </a:cubicBezTo>
                  <a:cubicBezTo>
                    <a:pt x="2949787" y="11815143"/>
                    <a:pt x="2969516" y="11809952"/>
                    <a:pt x="2986130" y="11835911"/>
                  </a:cubicBezTo>
                  <a:cubicBezTo>
                    <a:pt x="3016242" y="11883676"/>
                    <a:pt x="3033895" y="11966745"/>
                    <a:pt x="3044278" y="11998935"/>
                  </a:cubicBezTo>
                  <a:cubicBezTo>
                    <a:pt x="2986130" y="12113155"/>
                    <a:pt x="2983015" y="12356133"/>
                    <a:pt x="3013127" y="12373785"/>
                  </a:cubicBezTo>
                  <a:cubicBezTo>
                    <a:pt x="3101389" y="12428819"/>
                    <a:pt x="3156422" y="12397667"/>
                    <a:pt x="3236376" y="12399745"/>
                  </a:cubicBezTo>
                  <a:cubicBezTo>
                    <a:pt x="3258182" y="12463084"/>
                    <a:pt x="3302832" y="12503581"/>
                    <a:pt x="3463779" y="12533693"/>
                  </a:cubicBezTo>
                  <a:cubicBezTo>
                    <a:pt x="3548925" y="12550308"/>
                    <a:pt x="3724409" y="12544078"/>
                    <a:pt x="3843822" y="12533693"/>
                  </a:cubicBezTo>
                  <a:cubicBezTo>
                    <a:pt x="3927929" y="12526425"/>
                    <a:pt x="3999577" y="12490082"/>
                    <a:pt x="4019306" y="12444394"/>
                  </a:cubicBezTo>
                  <a:cubicBezTo>
                    <a:pt x="4037997" y="12398706"/>
                    <a:pt x="4049419" y="12289677"/>
                    <a:pt x="4023459" y="12224260"/>
                  </a:cubicBezTo>
                  <a:cubicBezTo>
                    <a:pt x="3993347" y="12146383"/>
                    <a:pt x="3888471" y="12112116"/>
                    <a:pt x="3843822" y="12051891"/>
                  </a:cubicBezTo>
                  <a:cubicBezTo>
                    <a:pt x="3820978" y="12019702"/>
                    <a:pt x="3805402" y="11960515"/>
                    <a:pt x="3782558" y="11926248"/>
                  </a:cubicBezTo>
                  <a:cubicBezTo>
                    <a:pt x="3760752" y="11893021"/>
                    <a:pt x="3736870" y="11882637"/>
                    <a:pt x="3725448" y="11849409"/>
                  </a:cubicBezTo>
                  <a:cubicBezTo>
                    <a:pt x="3717141" y="11822412"/>
                    <a:pt x="3656915" y="11799567"/>
                    <a:pt x="3628879" y="11762186"/>
                  </a:cubicBezTo>
                  <a:cubicBezTo>
                    <a:pt x="3635110" y="11752841"/>
                    <a:pt x="3646532" y="11745573"/>
                    <a:pt x="3664184" y="11742458"/>
                  </a:cubicBezTo>
                  <a:cubicBezTo>
                    <a:pt x="3661069" y="11687424"/>
                    <a:pt x="3622649" y="11626160"/>
                    <a:pt x="3584230" y="11581510"/>
                  </a:cubicBezTo>
                  <a:cubicBezTo>
                    <a:pt x="3638225" y="11585664"/>
                    <a:pt x="3662107" y="11537899"/>
                    <a:pt x="3661069" y="11440292"/>
                  </a:cubicBezTo>
                  <a:cubicBezTo>
                    <a:pt x="3661069" y="11349955"/>
                    <a:pt x="3661069" y="11241964"/>
                    <a:pt x="3638225" y="11160972"/>
                  </a:cubicBezTo>
                  <a:cubicBezTo>
                    <a:pt x="3618496" y="11090363"/>
                    <a:pt x="3624726" y="11010408"/>
                    <a:pt x="3596690" y="10939799"/>
                  </a:cubicBezTo>
                  <a:cubicBezTo>
                    <a:pt x="3569692" y="10872305"/>
                    <a:pt x="3551002" y="10781967"/>
                    <a:pt x="3542695" y="10710320"/>
                  </a:cubicBezTo>
                  <a:cubicBezTo>
                    <a:pt x="3528158" y="10569101"/>
                    <a:pt x="3516736" y="10467342"/>
                    <a:pt x="3516736" y="10325085"/>
                  </a:cubicBezTo>
                  <a:lnTo>
                    <a:pt x="3516736" y="9904546"/>
                  </a:lnTo>
                  <a:cubicBezTo>
                    <a:pt x="3516736" y="9760213"/>
                    <a:pt x="3485585" y="9587844"/>
                    <a:pt x="3447165" y="9553578"/>
                  </a:cubicBezTo>
                  <a:cubicBezTo>
                    <a:pt x="3408745" y="9519311"/>
                    <a:pt x="3405630" y="9450780"/>
                    <a:pt x="3378633" y="9346943"/>
                  </a:cubicBezTo>
                  <a:cubicBezTo>
                    <a:pt x="3351635" y="9244144"/>
                    <a:pt x="3332945" y="9100849"/>
                    <a:pt x="3316331" y="9002205"/>
                  </a:cubicBezTo>
                  <a:cubicBezTo>
                    <a:pt x="3297640" y="8878639"/>
                    <a:pt x="3298678" y="8785185"/>
                    <a:pt x="3292448" y="8660582"/>
                  </a:cubicBezTo>
                  <a:cubicBezTo>
                    <a:pt x="3285180" y="8499634"/>
                    <a:pt x="3243645" y="8361531"/>
                    <a:pt x="3224954" y="8216160"/>
                  </a:cubicBezTo>
                  <a:cubicBezTo>
                    <a:pt x="3240530" y="8147628"/>
                    <a:pt x="3250914" y="8102978"/>
                    <a:pt x="3270642" y="8025100"/>
                  </a:cubicBezTo>
                  <a:cubicBezTo>
                    <a:pt x="3293487" y="7932686"/>
                    <a:pt x="3313216" y="7866230"/>
                    <a:pt x="3313216" y="7803928"/>
                  </a:cubicBezTo>
                  <a:cubicBezTo>
                    <a:pt x="3313216" y="7632597"/>
                    <a:pt x="3316331" y="7577564"/>
                    <a:pt x="3324638" y="7406233"/>
                  </a:cubicBezTo>
                  <a:cubicBezTo>
                    <a:pt x="3328791" y="7319011"/>
                    <a:pt x="3316331" y="7203752"/>
                    <a:pt x="3300755" y="7115490"/>
                  </a:cubicBezTo>
                  <a:cubicBezTo>
                    <a:pt x="3291410" y="7061495"/>
                    <a:pt x="3354750" y="6967003"/>
                    <a:pt x="3316331" y="6837207"/>
                  </a:cubicBezTo>
                  <a:cubicBezTo>
                    <a:pt x="3358904" y="6837207"/>
                    <a:pt x="3446127" y="6837207"/>
                    <a:pt x="3491815" y="6814364"/>
                  </a:cubicBezTo>
                  <a:cubicBezTo>
                    <a:pt x="3499083" y="6726102"/>
                    <a:pt x="3426398" y="6447820"/>
                    <a:pt x="3400439" y="6356443"/>
                  </a:cubicBezTo>
                  <a:cubicBezTo>
                    <a:pt x="3457549" y="6283757"/>
                    <a:pt x="3465856" y="6272336"/>
                    <a:pt x="3495968" y="6212110"/>
                  </a:cubicBezTo>
                  <a:cubicBezTo>
                    <a:pt x="3527119" y="6148769"/>
                    <a:pt x="3549964" y="6139424"/>
                    <a:pt x="3582153" y="6101005"/>
                  </a:cubicBezTo>
                  <a:cubicBezTo>
                    <a:pt x="3625764" y="6050124"/>
                    <a:pt x="3646532" y="6005475"/>
                    <a:pt x="3671453" y="5952518"/>
                  </a:cubicBezTo>
                  <a:cubicBezTo>
                    <a:pt x="3693258" y="5907868"/>
                    <a:pt x="3677683" y="5850758"/>
                    <a:pt x="3687028" y="5765612"/>
                  </a:cubicBezTo>
                  <a:cubicBezTo>
                    <a:pt x="3696373" y="5680466"/>
                    <a:pt x="3709872" y="5608818"/>
                    <a:pt x="3709872" y="5544439"/>
                  </a:cubicBezTo>
                  <a:cubicBezTo>
                    <a:pt x="3755560" y="5475907"/>
                    <a:pt x="3777366" y="5456178"/>
                    <a:pt x="3820978" y="5391799"/>
                  </a:cubicBezTo>
                  <a:cubicBezTo>
                    <a:pt x="3897817" y="5275502"/>
                    <a:pt x="3913392" y="5173742"/>
                    <a:pt x="3950774" y="5040831"/>
                  </a:cubicBezTo>
                  <a:cubicBezTo>
                    <a:pt x="3966349" y="4985797"/>
                    <a:pt x="3976733" y="4881961"/>
                    <a:pt x="3965311" y="4824850"/>
                  </a:cubicBezTo>
                  <a:cubicBezTo>
                    <a:pt x="3951812" y="4756318"/>
                    <a:pt x="3935198" y="4702323"/>
                    <a:pt x="3927929" y="4627561"/>
                  </a:cubicBezTo>
                  <a:cubicBezTo>
                    <a:pt x="3914430" y="4496726"/>
                    <a:pt x="3957004" y="4407426"/>
                    <a:pt x="3950774" y="4276592"/>
                  </a:cubicBezTo>
                  <a:cubicBezTo>
                    <a:pt x="3944543" y="4142643"/>
                    <a:pt x="3913392" y="3943276"/>
                    <a:pt x="3893663" y="3810365"/>
                  </a:cubicBezTo>
                  <a:cubicBezTo>
                    <a:pt x="3880165" y="3715873"/>
                    <a:pt x="3890548" y="3616190"/>
                    <a:pt x="3882241" y="3451090"/>
                  </a:cubicBezTo>
                  <a:cubicBezTo>
                    <a:pt x="3873934" y="3287027"/>
                    <a:pt x="3828246" y="2874795"/>
                    <a:pt x="3813709" y="2767843"/>
                  </a:cubicBezTo>
                  <a:cubicBezTo>
                    <a:pt x="3799172" y="2660892"/>
                    <a:pt x="3782558" y="2559131"/>
                    <a:pt x="3745177" y="2481254"/>
                  </a:cubicBezTo>
                  <a:cubicBezTo>
                    <a:pt x="3712987" y="2414798"/>
                    <a:pt x="3638225" y="2405453"/>
                    <a:pt x="3572808" y="2374302"/>
                  </a:cubicBezTo>
                  <a:cubicBezTo>
                    <a:pt x="3453395" y="2317192"/>
                    <a:pt x="3345405" y="2269427"/>
                    <a:pt x="3224954" y="2207125"/>
                  </a:cubicBezTo>
                  <a:cubicBezTo>
                    <a:pt x="3122156" y="2154168"/>
                    <a:pt x="3011051" y="2117825"/>
                    <a:pt x="2878140" y="2045139"/>
                  </a:cubicBezTo>
                  <a:cubicBezTo>
                    <a:pt x="2837643" y="2022295"/>
                    <a:pt x="2673581" y="1951686"/>
                    <a:pt x="2608164" y="1905998"/>
                  </a:cubicBezTo>
                  <a:cubicBezTo>
                    <a:pt x="2545862" y="1862387"/>
                    <a:pt x="2474214" y="1781394"/>
                    <a:pt x="2448255" y="1789701"/>
                  </a:cubicBezTo>
                  <a:cubicBezTo>
                    <a:pt x="2450332" y="1688979"/>
                    <a:pt x="2459677" y="1513495"/>
                    <a:pt x="2463831" y="1485459"/>
                  </a:cubicBezTo>
                  <a:cubicBezTo>
                    <a:pt x="2463831" y="1485459"/>
                    <a:pt x="2467984" y="1471960"/>
                    <a:pt x="2474214" y="1449116"/>
                  </a:cubicBezTo>
                  <a:cubicBezTo>
                    <a:pt x="2474214" y="1461577"/>
                    <a:pt x="2475253" y="1471960"/>
                    <a:pt x="2478368" y="1481306"/>
                  </a:cubicBezTo>
                  <a:cubicBezTo>
                    <a:pt x="2475253" y="1447039"/>
                    <a:pt x="2480445" y="1432502"/>
                    <a:pt x="2481483" y="1413812"/>
                  </a:cubicBezTo>
                  <a:cubicBezTo>
                    <a:pt x="2484598" y="1402390"/>
                    <a:pt x="2486675" y="1388891"/>
                    <a:pt x="2489790" y="1375392"/>
                  </a:cubicBezTo>
                  <a:cubicBezTo>
                    <a:pt x="2487713" y="1402390"/>
                    <a:pt x="2487713" y="1427310"/>
                    <a:pt x="2493943" y="1444963"/>
                  </a:cubicBezTo>
                  <a:cubicBezTo>
                    <a:pt x="2489790" y="1396159"/>
                    <a:pt x="2496020" y="1375392"/>
                    <a:pt x="2500173" y="1351510"/>
                  </a:cubicBezTo>
                  <a:cubicBezTo>
                    <a:pt x="2501212" y="1379545"/>
                    <a:pt x="2506404" y="1406543"/>
                    <a:pt x="2518864" y="1451193"/>
                  </a:cubicBezTo>
                  <a:cubicBezTo>
                    <a:pt x="2505365" y="1385776"/>
                    <a:pt x="2510557" y="1329704"/>
                    <a:pt x="2521979" y="1293361"/>
                  </a:cubicBezTo>
                  <a:cubicBezTo>
                    <a:pt x="2516787" y="1316205"/>
                    <a:pt x="2517826" y="1341126"/>
                    <a:pt x="2521979" y="1392006"/>
                  </a:cubicBezTo>
                  <a:cubicBezTo>
                    <a:pt x="2521979" y="1342164"/>
                    <a:pt x="2521979" y="1318282"/>
                    <a:pt x="2526133" y="1296476"/>
                  </a:cubicBezTo>
                  <a:cubicBezTo>
                    <a:pt x="2526133" y="1308936"/>
                    <a:pt x="2526133" y="1325550"/>
                    <a:pt x="2529248" y="1338011"/>
                  </a:cubicBezTo>
                  <a:cubicBezTo>
                    <a:pt x="2528209" y="1317243"/>
                    <a:pt x="2530286" y="1290246"/>
                    <a:pt x="2531325" y="1291284"/>
                  </a:cubicBezTo>
                  <a:cubicBezTo>
                    <a:pt x="2531325" y="1304783"/>
                    <a:pt x="2531325" y="1316205"/>
                    <a:pt x="2534440" y="1327627"/>
                  </a:cubicBezTo>
                  <a:cubicBezTo>
                    <a:pt x="2534440" y="1311013"/>
                    <a:pt x="2534440" y="1304783"/>
                    <a:pt x="2536516" y="1295438"/>
                  </a:cubicBezTo>
                  <a:cubicBezTo>
                    <a:pt x="2555207" y="1302706"/>
                    <a:pt x="2566629" y="1285054"/>
                    <a:pt x="2580128" y="1266363"/>
                  </a:cubicBezTo>
                  <a:cubicBezTo>
                    <a:pt x="2601934" y="1236251"/>
                    <a:pt x="2618548" y="1113723"/>
                    <a:pt x="2620624" y="1058690"/>
                  </a:cubicBezTo>
                  <a:cubicBezTo>
                    <a:pt x="2620624" y="1052460"/>
                    <a:pt x="2620624" y="1044153"/>
                    <a:pt x="2620624" y="1035846"/>
                  </a:cubicBezTo>
                  <a:cubicBezTo>
                    <a:pt x="2624778" y="1064920"/>
                    <a:pt x="2622701" y="1096071"/>
                    <a:pt x="2614394" y="1162527"/>
                  </a:cubicBezTo>
                  <a:cubicBezTo>
                    <a:pt x="2623739" y="1109570"/>
                    <a:pt x="2627893" y="1081534"/>
                    <a:pt x="2626855" y="1056613"/>
                  </a:cubicBezTo>
                  <a:cubicBezTo>
                    <a:pt x="2628931" y="1090879"/>
                    <a:pt x="2625816" y="1138644"/>
                    <a:pt x="2623739" y="1156296"/>
                  </a:cubicBezTo>
                  <a:cubicBezTo>
                    <a:pt x="2642430" y="1089841"/>
                    <a:pt x="2647622" y="1033769"/>
                    <a:pt x="2646583" y="976659"/>
                  </a:cubicBezTo>
                  <a:cubicBezTo>
                    <a:pt x="2648660" y="998464"/>
                    <a:pt x="2646583" y="1026500"/>
                    <a:pt x="2646583" y="1070112"/>
                  </a:cubicBezTo>
                  <a:cubicBezTo>
                    <a:pt x="2650737" y="1025462"/>
                    <a:pt x="2653852" y="1001580"/>
                    <a:pt x="2652814" y="979774"/>
                  </a:cubicBezTo>
                  <a:cubicBezTo>
                    <a:pt x="2652814" y="936162"/>
                    <a:pt x="2650737" y="926817"/>
                    <a:pt x="2646583" y="886321"/>
                  </a:cubicBezTo>
                  <a:cubicBezTo>
                    <a:pt x="2642430" y="830249"/>
                    <a:pt x="2635161" y="811558"/>
                    <a:pt x="2622701" y="762755"/>
                  </a:cubicBezTo>
                  <a:cubicBezTo>
                    <a:pt x="2629969" y="780407"/>
                    <a:pt x="2638276" y="795983"/>
                    <a:pt x="2648660" y="809481"/>
                  </a:cubicBezTo>
                  <a:cubicBezTo>
                    <a:pt x="2641392" y="793906"/>
                    <a:pt x="2634123" y="777292"/>
                    <a:pt x="2626855" y="760678"/>
                  </a:cubicBezTo>
                  <a:cubicBezTo>
                    <a:pt x="2634123" y="775215"/>
                    <a:pt x="2643468" y="793906"/>
                    <a:pt x="2651775" y="798059"/>
                  </a:cubicBezTo>
                  <a:cubicBezTo>
                    <a:pt x="2610241" y="643343"/>
                    <a:pt x="2625816" y="532237"/>
                    <a:pt x="2574936" y="412825"/>
                  </a:cubicBezTo>
                  <a:cubicBezTo>
                    <a:pt x="2588435" y="437746"/>
                    <a:pt x="2600895" y="469935"/>
                    <a:pt x="2608164" y="512508"/>
                  </a:cubicBezTo>
                  <a:cubicBezTo>
                    <a:pt x="2601934" y="454360"/>
                    <a:pt x="2562476" y="356753"/>
                    <a:pt x="2529248" y="305873"/>
                  </a:cubicBezTo>
                  <a:cubicBezTo>
                    <a:pt x="2496020" y="256031"/>
                    <a:pt x="2439948" y="179192"/>
                    <a:pt x="2338188" y="105468"/>
                  </a:cubicBezTo>
                  <a:cubicBezTo>
                    <a:pt x="2274848" y="59780"/>
                    <a:pt x="2209431" y="37974"/>
                    <a:pt x="2155435" y="27590"/>
                  </a:cubicBezTo>
                  <a:cubicBezTo>
                    <a:pt x="2115977" y="20322"/>
                    <a:pt x="2079634" y="21360"/>
                    <a:pt x="2051599" y="24475"/>
                  </a:cubicBezTo>
                  <a:cubicBezTo>
                    <a:pt x="2084826" y="17207"/>
                    <a:pt x="2129476" y="16168"/>
                    <a:pt x="2189702" y="31744"/>
                  </a:cubicBezTo>
                  <a:cubicBezTo>
                    <a:pt x="2091057" y="-2522"/>
                    <a:pt x="2012141" y="23437"/>
                    <a:pt x="1984105" y="34859"/>
                  </a:cubicBezTo>
                  <a:cubicBezTo>
                    <a:pt x="1953992" y="18245"/>
                    <a:pt x="1881306" y="-12906"/>
                    <a:pt x="1787853" y="5785"/>
                  </a:cubicBezTo>
                  <a:cubicBezTo>
                    <a:pt x="1844963" y="593"/>
                    <a:pt x="1892728" y="8900"/>
                    <a:pt x="1928033" y="19283"/>
                  </a:cubicBezTo>
                  <a:cubicBezTo>
                    <a:pt x="1872999" y="4746"/>
                    <a:pt x="1826273" y="4746"/>
                    <a:pt x="1776431" y="13053"/>
                  </a:cubicBezTo>
                  <a:cubicBezTo>
                    <a:pt x="1719321" y="22399"/>
                    <a:pt x="1667402" y="30705"/>
                    <a:pt x="1610292" y="66010"/>
                  </a:cubicBezTo>
                  <a:cubicBezTo>
                    <a:pt x="1553182" y="101314"/>
                    <a:pt x="1514762" y="120005"/>
                    <a:pt x="1468036" y="184384"/>
                  </a:cubicBezTo>
                  <a:cubicBezTo>
                    <a:pt x="1499187" y="145964"/>
                    <a:pt x="1532415" y="118967"/>
                    <a:pt x="1561489" y="101314"/>
                  </a:cubicBezTo>
                  <a:cubicBezTo>
                    <a:pt x="1470113" y="167770"/>
                    <a:pt x="1404695" y="260185"/>
                    <a:pt x="1359007" y="347408"/>
                  </a:cubicBezTo>
                  <a:cubicBezTo>
                    <a:pt x="1320587" y="422170"/>
                    <a:pt x="1311242" y="486549"/>
                    <a:pt x="1299820" y="570657"/>
                  </a:cubicBezTo>
                  <a:cubicBezTo>
                    <a:pt x="1286321" y="664110"/>
                    <a:pt x="1297743" y="792868"/>
                    <a:pt x="1298782" y="842709"/>
                  </a:cubicBezTo>
                  <a:cubicBezTo>
                    <a:pt x="1298782" y="891512"/>
                    <a:pt x="1297743" y="957968"/>
                    <a:pt x="1308127" y="1016117"/>
                  </a:cubicBezTo>
                  <a:cubicBezTo>
                    <a:pt x="1305012" y="969390"/>
                    <a:pt x="1302935" y="940316"/>
                    <a:pt x="1305012" y="916433"/>
                  </a:cubicBezTo>
                  <a:cubicBezTo>
                    <a:pt x="1307089" y="949661"/>
                    <a:pt x="1310204" y="995349"/>
                    <a:pt x="1312281" y="1033769"/>
                  </a:cubicBezTo>
                  <a:cubicBezTo>
                    <a:pt x="1313319" y="1058690"/>
                    <a:pt x="1317472" y="1105416"/>
                    <a:pt x="1343432" y="1186409"/>
                  </a:cubicBezTo>
                  <a:cubicBezTo>
                    <a:pt x="1335125" y="1132414"/>
                    <a:pt x="1330971" y="1095033"/>
                    <a:pt x="1330971" y="1032731"/>
                  </a:cubicBezTo>
                  <a:cubicBezTo>
                    <a:pt x="1330971" y="1069073"/>
                    <a:pt x="1334086" y="1102301"/>
                    <a:pt x="1341355" y="1124107"/>
                  </a:cubicBezTo>
                  <a:cubicBezTo>
                    <a:pt x="1339278" y="1100225"/>
                    <a:pt x="1338240" y="1074265"/>
                    <a:pt x="1337201" y="1050383"/>
                  </a:cubicBezTo>
                  <a:cubicBezTo>
                    <a:pt x="1340317" y="1075304"/>
                    <a:pt x="1344470" y="1103340"/>
                    <a:pt x="1350700" y="1126184"/>
                  </a:cubicBezTo>
                  <a:cubicBezTo>
                    <a:pt x="1346547" y="1097109"/>
                    <a:pt x="1343432" y="1061805"/>
                    <a:pt x="1341355" y="1032731"/>
                  </a:cubicBezTo>
                  <a:cubicBezTo>
                    <a:pt x="1344470" y="1051421"/>
                    <a:pt x="1344470" y="1072189"/>
                    <a:pt x="1348623" y="1082572"/>
                  </a:cubicBezTo>
                  <a:cubicBezTo>
                    <a:pt x="1347585" y="1068035"/>
                    <a:pt x="1344470" y="1032731"/>
                    <a:pt x="1343432" y="1020270"/>
                  </a:cubicBezTo>
                  <a:cubicBezTo>
                    <a:pt x="1343432" y="1023385"/>
                    <a:pt x="1348623" y="1053498"/>
                    <a:pt x="1349662" y="1056613"/>
                  </a:cubicBezTo>
                  <a:cubicBezTo>
                    <a:pt x="1351739" y="1072189"/>
                    <a:pt x="1351739" y="1063882"/>
                    <a:pt x="1353815" y="1079457"/>
                  </a:cubicBezTo>
                  <a:cubicBezTo>
                    <a:pt x="1354854" y="1098148"/>
                    <a:pt x="1356930" y="1126184"/>
                    <a:pt x="1356930" y="1156296"/>
                  </a:cubicBezTo>
                  <a:cubicBezTo>
                    <a:pt x="1356930" y="1137606"/>
                    <a:pt x="1357969" y="1122030"/>
                    <a:pt x="1357969" y="1108531"/>
                  </a:cubicBezTo>
                  <a:cubicBezTo>
                    <a:pt x="1359007" y="1147989"/>
                    <a:pt x="1361084" y="1172910"/>
                    <a:pt x="1376659" y="1232097"/>
                  </a:cubicBezTo>
                  <a:cubicBezTo>
                    <a:pt x="1368352" y="1186409"/>
                    <a:pt x="1364199" y="1162527"/>
                    <a:pt x="1364199" y="1139683"/>
                  </a:cubicBezTo>
                  <a:cubicBezTo>
                    <a:pt x="1368352" y="1164603"/>
                    <a:pt x="1370429" y="1183294"/>
                    <a:pt x="1374583" y="1201985"/>
                  </a:cubicBezTo>
                  <a:cubicBezTo>
                    <a:pt x="1378736" y="1222752"/>
                    <a:pt x="1384966" y="1244558"/>
                    <a:pt x="1395350" y="1265325"/>
                  </a:cubicBezTo>
                  <a:cubicBezTo>
                    <a:pt x="1391197" y="1242481"/>
                    <a:pt x="1390158" y="1218598"/>
                    <a:pt x="1390158" y="1204061"/>
                  </a:cubicBezTo>
                  <a:cubicBezTo>
                    <a:pt x="1392235" y="1224829"/>
                    <a:pt x="1396388" y="1251826"/>
                    <a:pt x="1400542" y="1270517"/>
                  </a:cubicBezTo>
                  <a:cubicBezTo>
                    <a:pt x="1397427" y="1253903"/>
                    <a:pt x="1396388" y="1235212"/>
                    <a:pt x="1395350" y="1216522"/>
                  </a:cubicBezTo>
                  <a:cubicBezTo>
                    <a:pt x="1398465" y="1246634"/>
                    <a:pt x="1404695" y="1275709"/>
                    <a:pt x="1410926" y="1292323"/>
                  </a:cubicBezTo>
                  <a:cubicBezTo>
                    <a:pt x="1405734" y="1253903"/>
                    <a:pt x="1403657" y="1223790"/>
                    <a:pt x="1402619" y="1199908"/>
                  </a:cubicBezTo>
                  <a:cubicBezTo>
                    <a:pt x="1403657" y="1211330"/>
                    <a:pt x="1405734" y="1221714"/>
                    <a:pt x="1406772" y="1231059"/>
                  </a:cubicBezTo>
                  <a:cubicBezTo>
                    <a:pt x="1421309" y="1307898"/>
                    <a:pt x="1431693" y="1341126"/>
                    <a:pt x="1463882" y="1358778"/>
                  </a:cubicBezTo>
                  <a:cubicBezTo>
                    <a:pt x="1479458" y="1367085"/>
                    <a:pt x="1495033" y="1369162"/>
                    <a:pt x="1504379" y="1368123"/>
                  </a:cubicBezTo>
                  <a:cubicBezTo>
                    <a:pt x="1512686" y="1389929"/>
                    <a:pt x="1514762" y="1410696"/>
                    <a:pt x="1514762" y="1425234"/>
                  </a:cubicBezTo>
                  <a:cubicBezTo>
                    <a:pt x="1516839" y="1411735"/>
                    <a:pt x="1514762" y="1390968"/>
                    <a:pt x="1509571" y="1367085"/>
                  </a:cubicBezTo>
                  <a:cubicBezTo>
                    <a:pt x="1511647" y="1367085"/>
                    <a:pt x="1513724" y="1366047"/>
                    <a:pt x="1515801" y="1365008"/>
                  </a:cubicBezTo>
                  <a:cubicBezTo>
                    <a:pt x="1520993" y="1402390"/>
                    <a:pt x="1523069" y="1447039"/>
                    <a:pt x="1526184" y="1475075"/>
                  </a:cubicBezTo>
                  <a:cubicBezTo>
                    <a:pt x="1530338" y="1443924"/>
                    <a:pt x="1531376" y="1419003"/>
                    <a:pt x="1532415" y="1396159"/>
                  </a:cubicBezTo>
                  <a:cubicBezTo>
                    <a:pt x="1534491" y="1417965"/>
                    <a:pt x="1535530" y="1444963"/>
                    <a:pt x="1535530" y="1485459"/>
                  </a:cubicBezTo>
                  <a:cubicBezTo>
                    <a:pt x="1537606" y="1439771"/>
                    <a:pt x="1537606" y="1411735"/>
                    <a:pt x="1535530" y="1389929"/>
                  </a:cubicBezTo>
                  <a:cubicBezTo>
                    <a:pt x="1537606" y="1398236"/>
                    <a:pt x="1540722" y="1406543"/>
                    <a:pt x="1542798" y="1413812"/>
                  </a:cubicBezTo>
                  <a:cubicBezTo>
                    <a:pt x="1543837" y="1437694"/>
                    <a:pt x="1546952" y="1458461"/>
                    <a:pt x="1553182" y="1475075"/>
                  </a:cubicBezTo>
                  <a:cubicBezTo>
                    <a:pt x="1552144" y="1460538"/>
                    <a:pt x="1551105" y="1448078"/>
                    <a:pt x="1550067" y="1435617"/>
                  </a:cubicBezTo>
                  <a:cubicBezTo>
                    <a:pt x="1566681" y="1483382"/>
                    <a:pt x="1584333" y="1522840"/>
                    <a:pt x="1589525" y="1588257"/>
                  </a:cubicBezTo>
                  <a:cubicBezTo>
                    <a:pt x="1593678" y="1644329"/>
                    <a:pt x="1589525" y="1725322"/>
                    <a:pt x="1580179" y="1791778"/>
                  </a:cubicBezTo>
                  <a:cubicBezTo>
                    <a:pt x="1544875" y="1816698"/>
                    <a:pt x="1503340" y="1882116"/>
                    <a:pt x="1453499" y="1924689"/>
                  </a:cubicBezTo>
                  <a:cubicBezTo>
                    <a:pt x="1394312" y="1975569"/>
                    <a:pt x="1201175" y="2045139"/>
                    <a:pt x="1077609" y="2088751"/>
                  </a:cubicBezTo>
                  <a:cubicBezTo>
                    <a:pt x="924969" y="2141708"/>
                    <a:pt x="800365" y="2150015"/>
                    <a:pt x="650840" y="2225815"/>
                  </a:cubicBezTo>
                  <a:cubicBezTo>
                    <a:pt x="592692" y="2255928"/>
                    <a:pt x="464972" y="2286041"/>
                    <a:pt x="431745" y="2344189"/>
                  </a:cubicBezTo>
                  <a:cubicBezTo>
                    <a:pt x="396440" y="2404415"/>
                    <a:pt x="376711" y="2492676"/>
                    <a:pt x="372558" y="2569515"/>
                  </a:cubicBezTo>
                  <a:cubicBezTo>
                    <a:pt x="371519" y="2615203"/>
                    <a:pt x="344522" y="2664007"/>
                    <a:pt x="336215" y="2744999"/>
                  </a:cubicBezTo>
                  <a:cubicBezTo>
                    <a:pt x="327908" y="2825992"/>
                    <a:pt x="278066" y="2923599"/>
                    <a:pt x="267682" y="3003553"/>
                  </a:cubicBezTo>
                  <a:cubicBezTo>
                    <a:pt x="260414" y="3057548"/>
                    <a:pt x="259375" y="3116735"/>
                    <a:pt x="251069" y="3171769"/>
                  </a:cubicBezTo>
                  <a:cubicBezTo>
                    <a:pt x="239646" y="3240301"/>
                    <a:pt x="226148" y="3298449"/>
                    <a:pt x="206419" y="3370097"/>
                  </a:cubicBezTo>
                  <a:cubicBezTo>
                    <a:pt x="187728" y="3442783"/>
                    <a:pt x="179421" y="3538312"/>
                    <a:pt x="160731" y="3660840"/>
                  </a:cubicBezTo>
                  <a:cubicBezTo>
                    <a:pt x="142040" y="3783367"/>
                    <a:pt x="72469" y="3944314"/>
                    <a:pt x="62086" y="4081379"/>
                  </a:cubicBezTo>
                  <a:cubicBezTo>
                    <a:pt x="49625" y="4235057"/>
                    <a:pt x="-7485" y="4373160"/>
                    <a:pt x="822" y="4527877"/>
                  </a:cubicBezTo>
                  <a:close/>
                  <a:moveTo>
                    <a:pt x="3295563" y="4493611"/>
                  </a:moveTo>
                  <a:cubicBezTo>
                    <a:pt x="3297640" y="4449999"/>
                    <a:pt x="3346444" y="4139528"/>
                    <a:pt x="3346444" y="4139528"/>
                  </a:cubicBezTo>
                  <a:cubicBezTo>
                    <a:pt x="3346444" y="4139528"/>
                    <a:pt x="3395247" y="4501918"/>
                    <a:pt x="3395247" y="4549683"/>
                  </a:cubicBezTo>
                  <a:cubicBezTo>
                    <a:pt x="3395247" y="4597448"/>
                    <a:pt x="3320484" y="4876769"/>
                    <a:pt x="3320484" y="4876769"/>
                  </a:cubicBezTo>
                  <a:cubicBezTo>
                    <a:pt x="3320484" y="4876769"/>
                    <a:pt x="3290372" y="4572527"/>
                    <a:pt x="3295563" y="4493611"/>
                  </a:cubicBezTo>
                  <a:close/>
                  <a:moveTo>
                    <a:pt x="658109" y="4969183"/>
                  </a:moveTo>
                  <a:cubicBezTo>
                    <a:pt x="645648" y="4905843"/>
                    <a:pt x="591653" y="4877807"/>
                    <a:pt x="596845" y="4846656"/>
                  </a:cubicBezTo>
                  <a:cubicBezTo>
                    <a:pt x="602037" y="4816544"/>
                    <a:pt x="658109" y="4832119"/>
                    <a:pt x="705874" y="4770855"/>
                  </a:cubicBezTo>
                  <a:cubicBezTo>
                    <a:pt x="753639" y="4709591"/>
                    <a:pt x="792058" y="4663903"/>
                    <a:pt x="800365" y="4599525"/>
                  </a:cubicBezTo>
                  <a:cubicBezTo>
                    <a:pt x="807634" y="4535146"/>
                    <a:pt x="810749" y="4464537"/>
                    <a:pt x="810749" y="4464537"/>
                  </a:cubicBezTo>
                  <a:cubicBezTo>
                    <a:pt x="810749" y="4464537"/>
                    <a:pt x="889665" y="4752165"/>
                    <a:pt x="886550" y="4869500"/>
                  </a:cubicBezTo>
                  <a:cubicBezTo>
                    <a:pt x="884473" y="4986836"/>
                    <a:pt x="874089" y="5001373"/>
                    <a:pt x="828401" y="5078212"/>
                  </a:cubicBezTo>
                  <a:cubicBezTo>
                    <a:pt x="782713" y="5155051"/>
                    <a:pt x="739101" y="5284847"/>
                    <a:pt x="739101" y="5284847"/>
                  </a:cubicBezTo>
                  <a:cubicBezTo>
                    <a:pt x="739101" y="5284847"/>
                    <a:pt x="737025" y="5218392"/>
                    <a:pt x="708989" y="5149860"/>
                  </a:cubicBezTo>
                  <a:cubicBezTo>
                    <a:pt x="680953" y="5081327"/>
                    <a:pt x="677838" y="5108325"/>
                    <a:pt x="663301" y="5068867"/>
                  </a:cubicBezTo>
                  <a:cubicBezTo>
                    <a:pt x="647725" y="5027332"/>
                    <a:pt x="670569" y="5032524"/>
                    <a:pt x="658109" y="4969183"/>
                  </a:cubicBezTo>
                  <a:close/>
                </a:path>
              </a:pathLst>
            </a:custGeom>
            <a:solidFill>
              <a:srgbClr val="8DE971"/>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510"/>
            </a:p>
          </p:txBody>
        </p:sp>
        <p:grpSp>
          <p:nvGrpSpPr>
            <p:cNvPr id="163" name="Group 162">
              <a:extLst>
                <a:ext uri="{FF2B5EF4-FFF2-40B4-BE49-F238E27FC236}">
                  <a16:creationId xmlns:a16="http://schemas.microsoft.com/office/drawing/2014/main" id="{AA23BD82-F0AF-AB3F-1310-31470B013AC9}"/>
                </a:ext>
              </a:extLst>
            </p:cNvPr>
            <p:cNvGrpSpPr/>
            <p:nvPr userDrawn="1"/>
          </p:nvGrpSpPr>
          <p:grpSpPr>
            <a:xfrm>
              <a:off x="24606375" y="12323919"/>
              <a:ext cx="2148810" cy="7792881"/>
              <a:chOff x="24280426" y="12370713"/>
              <a:chExt cx="2148810" cy="7792881"/>
            </a:xfrm>
          </p:grpSpPr>
          <p:cxnSp>
            <p:nvCxnSpPr>
              <p:cNvPr id="164" name="Straight Connector 163">
                <a:extLst>
                  <a:ext uri="{FF2B5EF4-FFF2-40B4-BE49-F238E27FC236}">
                    <a16:creationId xmlns:a16="http://schemas.microsoft.com/office/drawing/2014/main" id="{95033D06-362E-F062-9CCE-CC03172587F9}"/>
                  </a:ext>
                </a:extLst>
              </p:cNvPr>
              <p:cNvCxnSpPr>
                <a:cxnSpLocks/>
              </p:cNvCxnSpPr>
              <p:nvPr/>
            </p:nvCxnSpPr>
            <p:spPr>
              <a:xfrm>
                <a:off x="25354831" y="13004800"/>
                <a:ext cx="0" cy="7158794"/>
              </a:xfrm>
              <a:prstGeom prst="line">
                <a:avLst/>
              </a:prstGeom>
              <a:ln w="635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5" name="TextBox 164">
                <a:extLst>
                  <a:ext uri="{FF2B5EF4-FFF2-40B4-BE49-F238E27FC236}">
                    <a16:creationId xmlns:a16="http://schemas.microsoft.com/office/drawing/2014/main" id="{FC16BCE5-CD60-2C27-C098-B25CC7589F9F}"/>
                  </a:ext>
                </a:extLst>
              </p:cNvPr>
              <p:cNvSpPr txBox="1"/>
              <p:nvPr/>
            </p:nvSpPr>
            <p:spPr>
              <a:xfrm>
                <a:off x="24280426" y="12370713"/>
                <a:ext cx="2148810" cy="350942"/>
              </a:xfrm>
              <a:prstGeom prst="rect">
                <a:avLst/>
              </a:prstGeom>
              <a:noFill/>
            </p:spPr>
            <p:txBody>
              <a:bodyPr wrap="square" lIns="0" tIns="0" rIns="0" bIns="0" rtlCol="0">
                <a:spAutoFit/>
              </a:bodyPr>
              <a:lstStyle/>
              <a:p>
                <a:pPr algn="ctr"/>
                <a:r>
                  <a:rPr lang="en-US" sz="777">
                    <a:latin typeface="Segoe Sans Display Semibold" pitchFamily="2" charset="0"/>
                    <a:cs typeface="Segoe Sans Display Semibold" pitchFamily="2" charset="0"/>
                  </a:rPr>
                  <a:t>6 ft 3 inch</a:t>
                </a:r>
              </a:p>
            </p:txBody>
          </p:sp>
          <p:cxnSp>
            <p:nvCxnSpPr>
              <p:cNvPr id="166" name="Straight Connector 165">
                <a:extLst>
                  <a:ext uri="{FF2B5EF4-FFF2-40B4-BE49-F238E27FC236}">
                    <a16:creationId xmlns:a16="http://schemas.microsoft.com/office/drawing/2014/main" id="{8E068F05-51E0-8052-016E-ABA33B5507F9}"/>
                  </a:ext>
                </a:extLst>
              </p:cNvPr>
              <p:cNvCxnSpPr>
                <a:cxnSpLocks/>
              </p:cNvCxnSpPr>
              <p:nvPr/>
            </p:nvCxnSpPr>
            <p:spPr>
              <a:xfrm>
                <a:off x="25149220" y="13004800"/>
                <a:ext cx="411223" cy="0"/>
              </a:xfrm>
              <a:prstGeom prst="line">
                <a:avLst/>
              </a:prstGeom>
              <a:ln w="635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8" name="Scale: 5 Foot" hidden="1">
            <a:extLst>
              <a:ext uri="{FF2B5EF4-FFF2-40B4-BE49-F238E27FC236}">
                <a16:creationId xmlns:a16="http://schemas.microsoft.com/office/drawing/2014/main" id="{B181B683-4474-209D-1E85-F8A2AA087DF7}"/>
              </a:ext>
            </a:extLst>
          </p:cNvPr>
          <p:cNvGrpSpPr/>
          <p:nvPr userDrawn="1"/>
        </p:nvGrpSpPr>
        <p:grpSpPr>
          <a:xfrm>
            <a:off x="4760005" y="4560357"/>
            <a:ext cx="1093188" cy="3043259"/>
            <a:chOff x="17136016" y="13377048"/>
            <a:chExt cx="3935477" cy="8926891"/>
          </a:xfrm>
        </p:grpSpPr>
        <p:sp>
          <p:nvSpPr>
            <p:cNvPr id="157" name="Freeform: Shape 156">
              <a:extLst>
                <a:ext uri="{FF2B5EF4-FFF2-40B4-BE49-F238E27FC236}">
                  <a16:creationId xmlns:a16="http://schemas.microsoft.com/office/drawing/2014/main" id="{FB1758F0-1088-7FB2-C8D4-5C18EF7006DB}"/>
                </a:ext>
              </a:extLst>
            </p:cNvPr>
            <p:cNvSpPr/>
            <p:nvPr userDrawn="1"/>
          </p:nvSpPr>
          <p:spPr>
            <a:xfrm>
              <a:off x="17136016" y="14045270"/>
              <a:ext cx="2500900" cy="8258669"/>
            </a:xfrm>
            <a:custGeom>
              <a:avLst/>
              <a:gdLst>
                <a:gd name="connsiteX0" fmla="*/ 3560689 w 3629583"/>
                <a:gd name="connsiteY0" fmla="*/ 3757532 h 11985895"/>
                <a:gd name="connsiteX1" fmla="*/ 3420509 w 3629583"/>
                <a:gd name="connsiteY1" fmla="*/ 3338032 h 11985895"/>
                <a:gd name="connsiteX2" fmla="*/ 3301097 w 3629583"/>
                <a:gd name="connsiteY2" fmla="*/ 2909186 h 11985895"/>
                <a:gd name="connsiteX3" fmla="*/ 3185838 w 3629583"/>
                <a:gd name="connsiteY3" fmla="*/ 2564448 h 11985895"/>
                <a:gd name="connsiteX4" fmla="*/ 3092385 w 3629583"/>
                <a:gd name="connsiteY4" fmla="*/ 2390002 h 11985895"/>
                <a:gd name="connsiteX5" fmla="*/ 2588776 w 3629583"/>
                <a:gd name="connsiteY5" fmla="*/ 2122103 h 11985895"/>
                <a:gd name="connsiteX6" fmla="*/ 2320878 w 3629583"/>
                <a:gd name="connsiteY6" fmla="*/ 2042148 h 11985895"/>
                <a:gd name="connsiteX7" fmla="*/ 2106973 w 3629583"/>
                <a:gd name="connsiteY7" fmla="*/ 1987115 h 11985895"/>
                <a:gd name="connsiteX8" fmla="*/ 2061286 w 3629583"/>
                <a:gd name="connsiteY8" fmla="*/ 1915468 h 11985895"/>
                <a:gd name="connsiteX9" fmla="*/ 2046749 w 3629583"/>
                <a:gd name="connsiteY9" fmla="*/ 1705717 h 11985895"/>
                <a:gd name="connsiteX10" fmla="*/ 2143316 w 3629583"/>
                <a:gd name="connsiteY10" fmla="*/ 1752444 h 11985895"/>
                <a:gd name="connsiteX11" fmla="*/ 2112166 w 3629583"/>
                <a:gd name="connsiteY11" fmla="*/ 1691180 h 11985895"/>
                <a:gd name="connsiteX12" fmla="*/ 2274151 w 3629583"/>
                <a:gd name="connsiteY12" fmla="*/ 1733753 h 11985895"/>
                <a:gd name="connsiteX13" fmla="*/ 2182775 w 3629583"/>
                <a:gd name="connsiteY13" fmla="*/ 1646530 h 11985895"/>
                <a:gd name="connsiteX14" fmla="*/ 2307379 w 3629583"/>
                <a:gd name="connsiteY14" fmla="*/ 1710909 h 11985895"/>
                <a:gd name="connsiteX15" fmla="*/ 2408100 w 3629583"/>
                <a:gd name="connsiteY15" fmla="*/ 1710909 h 11985895"/>
                <a:gd name="connsiteX16" fmla="*/ 2237808 w 3629583"/>
                <a:gd name="connsiteY16" fmla="*/ 1583190 h 11985895"/>
                <a:gd name="connsiteX17" fmla="*/ 2404985 w 3629583"/>
                <a:gd name="connsiteY17" fmla="*/ 1556192 h 11985895"/>
                <a:gd name="connsiteX18" fmla="*/ 2262729 w 3629583"/>
                <a:gd name="connsiteY18" fmla="*/ 1539579 h 11985895"/>
                <a:gd name="connsiteX19" fmla="*/ 2226386 w 3629583"/>
                <a:gd name="connsiteY19" fmla="*/ 1330867 h 11985895"/>
                <a:gd name="connsiteX20" fmla="*/ 2267921 w 3629583"/>
                <a:gd name="connsiteY20" fmla="*/ 974706 h 11985895"/>
                <a:gd name="connsiteX21" fmla="*/ 2245077 w 3629583"/>
                <a:gd name="connsiteY21" fmla="*/ 701616 h 11985895"/>
                <a:gd name="connsiteX22" fmla="*/ 2176545 w 3629583"/>
                <a:gd name="connsiteY22" fmla="*/ 454484 h 11985895"/>
                <a:gd name="connsiteX23" fmla="*/ 1989638 w 3629583"/>
                <a:gd name="connsiteY23" fmla="*/ 168933 h 11985895"/>
                <a:gd name="connsiteX24" fmla="*/ 1848420 w 3629583"/>
                <a:gd name="connsiteY24" fmla="*/ 67173 h 11985895"/>
                <a:gd name="connsiteX25" fmla="*/ 1679166 w 3629583"/>
                <a:gd name="connsiteY25" fmla="*/ 5909 h 11985895"/>
                <a:gd name="connsiteX26" fmla="*/ 1508874 w 3629583"/>
                <a:gd name="connsiteY26" fmla="*/ 15254 h 11985895"/>
                <a:gd name="connsiteX27" fmla="*/ 1400883 w 3629583"/>
                <a:gd name="connsiteY27" fmla="*/ 79633 h 11985895"/>
                <a:gd name="connsiteX28" fmla="*/ 1200478 w 3629583"/>
                <a:gd name="connsiteY28" fmla="*/ 119091 h 11985895"/>
                <a:gd name="connsiteX29" fmla="*/ 993843 w 3629583"/>
                <a:gd name="connsiteY29" fmla="*/ 282115 h 11985895"/>
                <a:gd name="connsiteX30" fmla="*/ 787208 w 3629583"/>
                <a:gd name="connsiteY30" fmla="*/ 643467 h 11985895"/>
                <a:gd name="connsiteX31" fmla="*/ 749827 w 3629583"/>
                <a:gd name="connsiteY31" fmla="*/ 868793 h 11985895"/>
                <a:gd name="connsiteX32" fmla="*/ 776824 w 3629583"/>
                <a:gd name="connsiteY32" fmla="*/ 1277910 h 11985895"/>
                <a:gd name="connsiteX33" fmla="*/ 898313 w 3629583"/>
                <a:gd name="connsiteY33" fmla="*/ 1644454 h 11985895"/>
                <a:gd name="connsiteX34" fmla="*/ 1115332 w 3629583"/>
                <a:gd name="connsiteY34" fmla="*/ 1897815 h 11985895"/>
                <a:gd name="connsiteX35" fmla="*/ 988651 w 3629583"/>
                <a:gd name="connsiteY35" fmla="*/ 1700525 h 11985895"/>
                <a:gd name="connsiteX36" fmla="*/ 1192172 w 3629583"/>
                <a:gd name="connsiteY36" fmla="*/ 1925851 h 11985895"/>
                <a:gd name="connsiteX37" fmla="*/ 1130908 w 3629583"/>
                <a:gd name="connsiteY37" fmla="*/ 1840705 h 11985895"/>
                <a:gd name="connsiteX38" fmla="*/ 1238898 w 3629583"/>
                <a:gd name="connsiteY38" fmla="*/ 1916506 h 11985895"/>
                <a:gd name="connsiteX39" fmla="*/ 1211900 w 3629583"/>
                <a:gd name="connsiteY39" fmla="*/ 1840705 h 11985895"/>
                <a:gd name="connsiteX40" fmla="*/ 1316776 w 3629583"/>
                <a:gd name="connsiteY40" fmla="*/ 1891585 h 11985895"/>
                <a:gd name="connsiteX41" fmla="*/ 1277318 w 3629583"/>
                <a:gd name="connsiteY41" fmla="*/ 1800209 h 11985895"/>
                <a:gd name="connsiteX42" fmla="*/ 1333390 w 3629583"/>
                <a:gd name="connsiteY42" fmla="*/ 1822015 h 11985895"/>
                <a:gd name="connsiteX43" fmla="*/ 1315737 w 3629583"/>
                <a:gd name="connsiteY43" fmla="*/ 1926890 h 11985895"/>
                <a:gd name="connsiteX44" fmla="*/ 1277318 w 3629583"/>
                <a:gd name="connsiteY44" fmla="*/ 1975693 h 11985895"/>
                <a:gd name="connsiteX45" fmla="*/ 1092488 w 3629583"/>
                <a:gd name="connsiteY45" fmla="*/ 2073300 h 11985895"/>
                <a:gd name="connsiteX46" fmla="*/ 932579 w 3629583"/>
                <a:gd name="connsiteY46" fmla="*/ 2124180 h 11985895"/>
                <a:gd name="connsiteX47" fmla="*/ 675064 w 3629583"/>
                <a:gd name="connsiteY47" fmla="*/ 2167791 h 11985895"/>
                <a:gd name="connsiteX48" fmla="*/ 489196 w 3629583"/>
                <a:gd name="connsiteY48" fmla="*/ 2255014 h 11985895"/>
                <a:gd name="connsiteX49" fmla="*/ 286715 w 3629583"/>
                <a:gd name="connsiteY49" fmla="*/ 2567563 h 11985895"/>
                <a:gd name="connsiteX50" fmla="*/ 216105 w 3629583"/>
                <a:gd name="connsiteY50" fmla="*/ 2944490 h 11985895"/>
                <a:gd name="connsiteX51" fmla="*/ 169379 w 3629583"/>
                <a:gd name="connsiteY51" fmla="*/ 3462636 h 11985895"/>
                <a:gd name="connsiteX52" fmla="*/ 122653 w 3629583"/>
                <a:gd name="connsiteY52" fmla="*/ 4586150 h 11985895"/>
                <a:gd name="connsiteX53" fmla="*/ 114345 w 3629583"/>
                <a:gd name="connsiteY53" fmla="*/ 6163431 h 11985895"/>
                <a:gd name="connsiteX54" fmla="*/ 195338 w 3629583"/>
                <a:gd name="connsiteY54" fmla="*/ 6202889 h 11985895"/>
                <a:gd name="connsiteX55" fmla="*/ 167302 w 3629583"/>
                <a:gd name="connsiteY55" fmla="*/ 6346184 h 11985895"/>
                <a:gd name="connsiteX56" fmla="*/ 157957 w 3629583"/>
                <a:gd name="connsiteY56" fmla="*/ 6425100 h 11985895"/>
                <a:gd name="connsiteX57" fmla="*/ 147573 w 3629583"/>
                <a:gd name="connsiteY57" fmla="*/ 6493632 h 11985895"/>
                <a:gd name="connsiteX58" fmla="*/ 157957 w 3629583"/>
                <a:gd name="connsiteY58" fmla="*/ 6602660 h 11985895"/>
                <a:gd name="connsiteX59" fmla="*/ 160034 w 3629583"/>
                <a:gd name="connsiteY59" fmla="*/ 6715843 h 11985895"/>
                <a:gd name="connsiteX60" fmla="*/ 170417 w 3629583"/>
                <a:gd name="connsiteY60" fmla="*/ 6824871 h 11985895"/>
                <a:gd name="connsiteX61" fmla="*/ 231681 w 3629583"/>
                <a:gd name="connsiteY61" fmla="*/ 6928708 h 11985895"/>
                <a:gd name="connsiteX62" fmla="*/ 340710 w 3629583"/>
                <a:gd name="connsiteY62" fmla="*/ 7010739 h 11985895"/>
                <a:gd name="connsiteX63" fmla="*/ 281523 w 3629583"/>
                <a:gd name="connsiteY63" fmla="*/ 7474890 h 11985895"/>
                <a:gd name="connsiteX64" fmla="*/ 265947 w 3629583"/>
                <a:gd name="connsiteY64" fmla="*/ 7960846 h 11985895"/>
                <a:gd name="connsiteX65" fmla="*/ 202607 w 3629583"/>
                <a:gd name="connsiteY65" fmla="*/ 8372039 h 11985895"/>
                <a:gd name="connsiteX66" fmla="*/ 356285 w 3629583"/>
                <a:gd name="connsiteY66" fmla="*/ 8399037 h 11985895"/>
                <a:gd name="connsiteX67" fmla="*/ 347978 w 3629583"/>
                <a:gd name="connsiteY67" fmla="*/ 8434341 h 11985895"/>
                <a:gd name="connsiteX68" fmla="*/ 313712 w 3629583"/>
                <a:gd name="connsiteY68" fmla="*/ 8633708 h 11985895"/>
                <a:gd name="connsiteX69" fmla="*/ 264909 w 3629583"/>
                <a:gd name="connsiteY69" fmla="*/ 8865264 h 11985895"/>
                <a:gd name="connsiteX70" fmla="*/ 208837 w 3629583"/>
                <a:gd name="connsiteY70" fmla="*/ 9055285 h 11985895"/>
                <a:gd name="connsiteX71" fmla="*/ 156919 w 3629583"/>
                <a:gd name="connsiteY71" fmla="*/ 9545395 h 11985895"/>
                <a:gd name="connsiteX72" fmla="*/ 191185 w 3629583"/>
                <a:gd name="connsiteY72" fmla="*/ 10036543 h 11985895"/>
                <a:gd name="connsiteX73" fmla="*/ 270101 w 3629583"/>
                <a:gd name="connsiteY73" fmla="*/ 10548458 h 11985895"/>
                <a:gd name="connsiteX74" fmla="*/ 270101 w 3629583"/>
                <a:gd name="connsiteY74" fmla="*/ 10975228 h 11985895"/>
                <a:gd name="connsiteX75" fmla="*/ 147573 w 3629583"/>
                <a:gd name="connsiteY75" fmla="*/ 11368769 h 11985895"/>
                <a:gd name="connsiteX76" fmla="*/ 17777 w 3629583"/>
                <a:gd name="connsiteY76" fmla="*/ 11676126 h 11985895"/>
                <a:gd name="connsiteX77" fmla="*/ 2202 w 3629583"/>
                <a:gd name="connsiteY77" fmla="*/ 11928449 h 11985895"/>
                <a:gd name="connsiteX78" fmla="*/ 251410 w 3629583"/>
                <a:gd name="connsiteY78" fmla="*/ 11983483 h 11985895"/>
                <a:gd name="connsiteX79" fmla="*/ 630414 w 3629583"/>
                <a:gd name="connsiteY79" fmla="*/ 11886914 h 11985895"/>
                <a:gd name="connsiteX80" fmla="*/ 675064 w 3629583"/>
                <a:gd name="connsiteY80" fmla="*/ 11832920 h 11985895"/>
                <a:gd name="connsiteX81" fmla="*/ 685448 w 3629583"/>
                <a:gd name="connsiteY81" fmla="*/ 11318928 h 11985895"/>
                <a:gd name="connsiteX82" fmla="*/ 789285 w 3629583"/>
                <a:gd name="connsiteY82" fmla="*/ 11049990 h 11985895"/>
                <a:gd name="connsiteX83" fmla="*/ 782016 w 3629583"/>
                <a:gd name="connsiteY83" fmla="*/ 10884890 h 11985895"/>
                <a:gd name="connsiteX84" fmla="*/ 690640 w 3629583"/>
                <a:gd name="connsiteY84" fmla="*/ 10707329 h 11985895"/>
                <a:gd name="connsiteX85" fmla="*/ 757095 w 3629583"/>
                <a:gd name="connsiteY85" fmla="*/ 10246294 h 11985895"/>
                <a:gd name="connsiteX86" fmla="*/ 833934 w 3629583"/>
                <a:gd name="connsiteY86" fmla="*/ 9972165 h 11985895"/>
                <a:gd name="connsiteX87" fmla="*/ 941925 w 3629583"/>
                <a:gd name="connsiteY87" fmla="*/ 9459211 h 11985895"/>
                <a:gd name="connsiteX88" fmla="*/ 990728 w 3629583"/>
                <a:gd name="connsiteY88" fmla="*/ 9000252 h 11985895"/>
                <a:gd name="connsiteX89" fmla="*/ 1091450 w 3629583"/>
                <a:gd name="connsiteY89" fmla="*/ 8678358 h 11985895"/>
                <a:gd name="connsiteX90" fmla="*/ 1210862 w 3629583"/>
                <a:gd name="connsiteY90" fmla="*/ 8400076 h 11985895"/>
                <a:gd name="connsiteX91" fmla="*/ 1618941 w 3629583"/>
                <a:gd name="connsiteY91" fmla="*/ 8476915 h 11985895"/>
                <a:gd name="connsiteX92" fmla="*/ 1967832 w 3629583"/>
                <a:gd name="connsiteY92" fmla="*/ 8484183 h 11985895"/>
                <a:gd name="connsiteX93" fmla="*/ 2023904 w 3629583"/>
                <a:gd name="connsiteY93" fmla="*/ 8485222 h 11985895"/>
                <a:gd name="connsiteX94" fmla="*/ 2023904 w 3629583"/>
                <a:gd name="connsiteY94" fmla="*/ 8734430 h 11985895"/>
                <a:gd name="connsiteX95" fmla="*/ 1942912 w 3629583"/>
                <a:gd name="connsiteY95" fmla="*/ 9321107 h 11985895"/>
                <a:gd name="connsiteX96" fmla="*/ 1942912 w 3629583"/>
                <a:gd name="connsiteY96" fmla="*/ 9875596 h 11985895"/>
                <a:gd name="connsiteX97" fmla="*/ 1928374 w 3629583"/>
                <a:gd name="connsiteY97" fmla="*/ 10609722 h 11985895"/>
                <a:gd name="connsiteX98" fmla="*/ 1812077 w 3629583"/>
                <a:gd name="connsiteY98" fmla="*/ 10821550 h 11985895"/>
                <a:gd name="connsiteX99" fmla="*/ 1843228 w 3629583"/>
                <a:gd name="connsiteY99" fmla="*/ 11139290 h 11985895"/>
                <a:gd name="connsiteX100" fmla="*/ 1906568 w 3629583"/>
                <a:gd name="connsiteY100" fmla="*/ 11412380 h 11985895"/>
                <a:gd name="connsiteX101" fmla="*/ 1929413 w 3629583"/>
                <a:gd name="connsiteY101" fmla="*/ 11829805 h 11985895"/>
                <a:gd name="connsiteX102" fmla="*/ 1973024 w 3629583"/>
                <a:gd name="connsiteY102" fmla="*/ 11855764 h 11985895"/>
                <a:gd name="connsiteX103" fmla="*/ 2340606 w 3629583"/>
                <a:gd name="connsiteY103" fmla="*/ 11935718 h 11985895"/>
                <a:gd name="connsiteX104" fmla="*/ 2559702 w 3629583"/>
                <a:gd name="connsiteY104" fmla="*/ 11875493 h 11985895"/>
                <a:gd name="connsiteX105" fmla="*/ 2534781 w 3629583"/>
                <a:gd name="connsiteY105" fmla="*/ 11572289 h 11985895"/>
                <a:gd name="connsiteX106" fmla="*/ 2447558 w 3629583"/>
                <a:gd name="connsiteY106" fmla="*/ 11390575 h 11985895"/>
                <a:gd name="connsiteX107" fmla="*/ 2347875 w 3629583"/>
                <a:gd name="connsiteY107" fmla="*/ 11106062 h 11985895"/>
                <a:gd name="connsiteX108" fmla="*/ 2319839 w 3629583"/>
                <a:gd name="connsiteY108" fmla="*/ 10919156 h 11985895"/>
                <a:gd name="connsiteX109" fmla="*/ 2330223 w 3629583"/>
                <a:gd name="connsiteY109" fmla="*/ 10729135 h 11985895"/>
                <a:gd name="connsiteX110" fmla="*/ 2371758 w 3629583"/>
                <a:gd name="connsiteY110" fmla="*/ 10495502 h 11985895"/>
                <a:gd name="connsiteX111" fmla="*/ 2551395 w 3629583"/>
                <a:gd name="connsiteY111" fmla="*/ 9953474 h 11985895"/>
                <a:gd name="connsiteX112" fmla="*/ 2619927 w 3629583"/>
                <a:gd name="connsiteY112" fmla="*/ 9689728 h 11985895"/>
                <a:gd name="connsiteX113" fmla="*/ 2684307 w 3629583"/>
                <a:gd name="connsiteY113" fmla="*/ 9357451 h 11985895"/>
                <a:gd name="connsiteX114" fmla="*/ 2728956 w 3629583"/>
                <a:gd name="connsiteY114" fmla="*/ 8910952 h 11985895"/>
                <a:gd name="connsiteX115" fmla="*/ 2714419 w 3629583"/>
                <a:gd name="connsiteY115" fmla="*/ 8514296 h 11985895"/>
                <a:gd name="connsiteX116" fmla="*/ 2720649 w 3629583"/>
                <a:gd name="connsiteY116" fmla="*/ 8363732 h 11985895"/>
                <a:gd name="connsiteX117" fmla="*/ 2740378 w 3629583"/>
                <a:gd name="connsiteY117" fmla="*/ 8356464 h 11985895"/>
                <a:gd name="connsiteX118" fmla="*/ 3068502 w 3629583"/>
                <a:gd name="connsiteY118" fmla="*/ 8333620 h 11985895"/>
                <a:gd name="connsiteX119" fmla="*/ 3088232 w 3629583"/>
                <a:gd name="connsiteY119" fmla="*/ 7751096 h 11985895"/>
                <a:gd name="connsiteX120" fmla="*/ 3068502 w 3629583"/>
                <a:gd name="connsiteY120" fmla="*/ 6608891 h 11985895"/>
                <a:gd name="connsiteX121" fmla="*/ 3026968 w 3629583"/>
                <a:gd name="connsiteY121" fmla="*/ 6085554 h 11985895"/>
                <a:gd name="connsiteX122" fmla="*/ 3110037 w 3629583"/>
                <a:gd name="connsiteY122" fmla="*/ 6074131 h 11985895"/>
                <a:gd name="connsiteX123" fmla="*/ 3051888 w 3629583"/>
                <a:gd name="connsiteY123" fmla="*/ 5721086 h 11985895"/>
                <a:gd name="connsiteX124" fmla="*/ 2890942 w 3629583"/>
                <a:gd name="connsiteY124" fmla="*/ 5078337 h 11985895"/>
                <a:gd name="connsiteX125" fmla="*/ 3102769 w 3629583"/>
                <a:gd name="connsiteY125" fmla="*/ 5085605 h 11985895"/>
                <a:gd name="connsiteX126" fmla="*/ 3183761 w 3629583"/>
                <a:gd name="connsiteY126" fmla="*/ 5011881 h 11985895"/>
                <a:gd name="connsiteX127" fmla="*/ 3231526 w 3629583"/>
                <a:gd name="connsiteY127" fmla="*/ 4918428 h 11985895"/>
                <a:gd name="connsiteX128" fmla="*/ 3357169 w 3629583"/>
                <a:gd name="connsiteY128" fmla="*/ 4973461 h 11985895"/>
                <a:gd name="connsiteX129" fmla="*/ 3468274 w 3629583"/>
                <a:gd name="connsiteY129" fmla="*/ 4703486 h 11985895"/>
                <a:gd name="connsiteX130" fmla="*/ 3531614 w 3629583"/>
                <a:gd name="connsiteY130" fmla="*/ 4489582 h 11985895"/>
                <a:gd name="connsiteX131" fmla="*/ 3626106 w 3629583"/>
                <a:gd name="connsiteY131" fmla="*/ 4157304 h 11985895"/>
                <a:gd name="connsiteX132" fmla="*/ 3586648 w 3629583"/>
                <a:gd name="connsiteY132" fmla="*/ 3841640 h 11985895"/>
                <a:gd name="connsiteX133" fmla="*/ 3562766 w 3629583"/>
                <a:gd name="connsiteY133" fmla="*/ 3755456 h 11985895"/>
                <a:gd name="connsiteX134" fmla="*/ 617954 w 3629583"/>
                <a:gd name="connsiteY134" fmla="*/ 4981768 h 11985895"/>
                <a:gd name="connsiteX135" fmla="*/ 569151 w 3629583"/>
                <a:gd name="connsiteY135" fmla="*/ 5460456 h 11985895"/>
                <a:gd name="connsiteX136" fmla="*/ 528654 w 3629583"/>
                <a:gd name="connsiteY136" fmla="*/ 5850882 h 11985895"/>
                <a:gd name="connsiteX137" fmla="*/ 514117 w 3629583"/>
                <a:gd name="connsiteY137" fmla="*/ 5681628 h 11985895"/>
                <a:gd name="connsiteX138" fmla="*/ 525539 w 3629583"/>
                <a:gd name="connsiteY138" fmla="*/ 5479147 h 11985895"/>
                <a:gd name="connsiteX139" fmla="*/ 552537 w 3629583"/>
                <a:gd name="connsiteY139" fmla="*/ 5221632 h 11985895"/>
                <a:gd name="connsiteX140" fmla="*/ 572266 w 3629583"/>
                <a:gd name="connsiteY140" fmla="*/ 4888315 h 11985895"/>
                <a:gd name="connsiteX141" fmla="*/ 642875 w 3629583"/>
                <a:gd name="connsiteY141" fmla="*/ 4534232 h 11985895"/>
                <a:gd name="connsiteX142" fmla="*/ 618992 w 3629583"/>
                <a:gd name="connsiteY142" fmla="*/ 4982807 h 11985895"/>
                <a:gd name="connsiteX143" fmla="*/ 3122497 w 3629583"/>
                <a:gd name="connsiteY143" fmla="*/ 4173918 h 11985895"/>
                <a:gd name="connsiteX144" fmla="*/ 3083039 w 3629583"/>
                <a:gd name="connsiteY144" fmla="*/ 4346287 h 11985895"/>
                <a:gd name="connsiteX145" fmla="*/ 3002047 w 3629583"/>
                <a:gd name="connsiteY145" fmla="*/ 4599649 h 11985895"/>
                <a:gd name="connsiteX146" fmla="*/ 2958436 w 3629583"/>
                <a:gd name="connsiteY146" fmla="*/ 4685833 h 11985895"/>
                <a:gd name="connsiteX147" fmla="*/ 2907555 w 3629583"/>
                <a:gd name="connsiteY147" fmla="*/ 4713869 h 11985895"/>
                <a:gd name="connsiteX148" fmla="*/ 2809949 w 3629583"/>
                <a:gd name="connsiteY148" fmla="*/ 4647414 h 11985895"/>
                <a:gd name="connsiteX149" fmla="*/ 2764261 w 3629583"/>
                <a:gd name="connsiteY149" fmla="*/ 4607956 h 11985895"/>
                <a:gd name="connsiteX150" fmla="*/ 2702997 w 3629583"/>
                <a:gd name="connsiteY150" fmla="*/ 4591342 h 11985895"/>
                <a:gd name="connsiteX151" fmla="*/ 2685344 w 3629583"/>
                <a:gd name="connsiteY151" fmla="*/ 4342134 h 11985895"/>
                <a:gd name="connsiteX152" fmla="*/ 2680153 w 3629583"/>
                <a:gd name="connsiteY152" fmla="*/ 4214415 h 11985895"/>
                <a:gd name="connsiteX153" fmla="*/ 2667692 w 3629583"/>
                <a:gd name="connsiteY153" fmla="*/ 4117846 h 11985895"/>
                <a:gd name="connsiteX154" fmla="*/ 2653155 w 3629583"/>
                <a:gd name="connsiteY154" fmla="*/ 4014009 h 11985895"/>
                <a:gd name="connsiteX155" fmla="*/ 2644848 w 3629583"/>
                <a:gd name="connsiteY155" fmla="*/ 3867600 h 11985895"/>
                <a:gd name="connsiteX156" fmla="*/ 2657309 w 3629583"/>
                <a:gd name="connsiteY156" fmla="*/ 3728458 h 11985895"/>
                <a:gd name="connsiteX157" fmla="*/ 2700920 w 3629583"/>
                <a:gd name="connsiteY157" fmla="*/ 3601777 h 11985895"/>
                <a:gd name="connsiteX158" fmla="*/ 2724803 w 3629583"/>
                <a:gd name="connsiteY158" fmla="*/ 3462636 h 11985895"/>
                <a:gd name="connsiteX159" fmla="*/ 2752838 w 3629583"/>
                <a:gd name="connsiteY159" fmla="*/ 3276768 h 11985895"/>
                <a:gd name="connsiteX160" fmla="*/ 2975049 w 3629583"/>
                <a:gd name="connsiteY160" fmla="*/ 3631890 h 11985895"/>
                <a:gd name="connsiteX161" fmla="*/ 3068502 w 3629583"/>
                <a:gd name="connsiteY161" fmla="*/ 3789722 h 11985895"/>
                <a:gd name="connsiteX162" fmla="*/ 3127689 w 3629583"/>
                <a:gd name="connsiteY162" fmla="*/ 3929901 h 11985895"/>
                <a:gd name="connsiteX163" fmla="*/ 3149495 w 3629583"/>
                <a:gd name="connsiteY163" fmla="*/ 4036853 h 11985895"/>
                <a:gd name="connsiteX164" fmla="*/ 3122497 w 3629583"/>
                <a:gd name="connsiteY164" fmla="*/ 4172880 h 1198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3629583" h="11985895">
                  <a:moveTo>
                    <a:pt x="3560689" y="3757532"/>
                  </a:moveTo>
                  <a:cubicBezTo>
                    <a:pt x="3523307" y="3638120"/>
                    <a:pt x="3462044" y="3486518"/>
                    <a:pt x="3420509" y="3338032"/>
                  </a:cubicBezTo>
                  <a:cubicBezTo>
                    <a:pt x="3382089" y="3205121"/>
                    <a:pt x="3347824" y="3049365"/>
                    <a:pt x="3301097" y="2909186"/>
                  </a:cubicBezTo>
                  <a:cubicBezTo>
                    <a:pt x="3254370" y="2769006"/>
                    <a:pt x="3199337" y="2605982"/>
                    <a:pt x="3185838" y="2564448"/>
                  </a:cubicBezTo>
                  <a:cubicBezTo>
                    <a:pt x="3169224" y="2511491"/>
                    <a:pt x="3132881" y="2446074"/>
                    <a:pt x="3092385" y="2390002"/>
                  </a:cubicBezTo>
                  <a:cubicBezTo>
                    <a:pt x="2975049" y="2228016"/>
                    <a:pt x="2807872" y="2185443"/>
                    <a:pt x="2588776" y="2122103"/>
                  </a:cubicBezTo>
                  <a:cubicBezTo>
                    <a:pt x="2464172" y="2085760"/>
                    <a:pt x="2389410" y="2066031"/>
                    <a:pt x="2320878" y="2042148"/>
                  </a:cubicBezTo>
                  <a:cubicBezTo>
                    <a:pt x="2204580" y="1999575"/>
                    <a:pt x="2119434" y="1959079"/>
                    <a:pt x="2106973" y="1987115"/>
                  </a:cubicBezTo>
                  <a:cubicBezTo>
                    <a:pt x="2106973" y="1987115"/>
                    <a:pt x="2087245" y="1990230"/>
                    <a:pt x="2061286" y="1915468"/>
                  </a:cubicBezTo>
                  <a:cubicBezTo>
                    <a:pt x="2044671" y="1869779"/>
                    <a:pt x="2044671" y="1789825"/>
                    <a:pt x="2046749" y="1705717"/>
                  </a:cubicBezTo>
                  <a:cubicBezTo>
                    <a:pt x="2061286" y="1739983"/>
                    <a:pt x="2118396" y="1757636"/>
                    <a:pt x="2143316" y="1752444"/>
                  </a:cubicBezTo>
                  <a:cubicBezTo>
                    <a:pt x="2119434" y="1732715"/>
                    <a:pt x="2116319" y="1710909"/>
                    <a:pt x="2112166" y="1691180"/>
                  </a:cubicBezTo>
                  <a:cubicBezTo>
                    <a:pt x="2143316" y="1715063"/>
                    <a:pt x="2195235" y="1743099"/>
                    <a:pt x="2274151" y="1733753"/>
                  </a:cubicBezTo>
                  <a:cubicBezTo>
                    <a:pt x="2224310" y="1717139"/>
                    <a:pt x="2187966" y="1678720"/>
                    <a:pt x="2182775" y="1646530"/>
                  </a:cubicBezTo>
                  <a:cubicBezTo>
                    <a:pt x="2225347" y="1683912"/>
                    <a:pt x="2268959" y="1703641"/>
                    <a:pt x="2307379" y="1710909"/>
                  </a:cubicBezTo>
                  <a:cubicBezTo>
                    <a:pt x="2333338" y="1716101"/>
                    <a:pt x="2360335" y="1718178"/>
                    <a:pt x="2408100" y="1710909"/>
                  </a:cubicBezTo>
                  <a:cubicBezTo>
                    <a:pt x="2272074" y="1680796"/>
                    <a:pt x="2247153" y="1637185"/>
                    <a:pt x="2237808" y="1583190"/>
                  </a:cubicBezTo>
                  <a:cubicBezTo>
                    <a:pt x="2278304" y="1613303"/>
                    <a:pt x="2366565" y="1619533"/>
                    <a:pt x="2404985" y="1556192"/>
                  </a:cubicBezTo>
                  <a:cubicBezTo>
                    <a:pt x="2366565" y="1593574"/>
                    <a:pt x="2295956" y="1586305"/>
                    <a:pt x="2262729" y="1539579"/>
                  </a:cubicBezTo>
                  <a:cubicBezTo>
                    <a:pt x="2223271" y="1484545"/>
                    <a:pt x="2220156" y="1416013"/>
                    <a:pt x="2226386" y="1330867"/>
                  </a:cubicBezTo>
                  <a:cubicBezTo>
                    <a:pt x="2234693" y="1217684"/>
                    <a:pt x="2269997" y="1086850"/>
                    <a:pt x="2267921" y="974706"/>
                  </a:cubicBezTo>
                  <a:cubicBezTo>
                    <a:pt x="2265844" y="843872"/>
                    <a:pt x="2262729" y="805452"/>
                    <a:pt x="2245077" y="701616"/>
                  </a:cubicBezTo>
                  <a:cubicBezTo>
                    <a:pt x="2225347" y="579088"/>
                    <a:pt x="2210810" y="526131"/>
                    <a:pt x="2176545" y="454484"/>
                  </a:cubicBezTo>
                  <a:cubicBezTo>
                    <a:pt x="2111127" y="318458"/>
                    <a:pt x="2068554" y="237465"/>
                    <a:pt x="1989638" y="168933"/>
                  </a:cubicBezTo>
                  <a:cubicBezTo>
                    <a:pt x="1940835" y="126360"/>
                    <a:pt x="1905531" y="98324"/>
                    <a:pt x="1848420" y="67173"/>
                  </a:cubicBezTo>
                  <a:cubicBezTo>
                    <a:pt x="1771581" y="25638"/>
                    <a:pt x="1747698" y="19408"/>
                    <a:pt x="1679166" y="5909"/>
                  </a:cubicBezTo>
                  <a:cubicBezTo>
                    <a:pt x="1622056" y="-5513"/>
                    <a:pt x="1560792" y="717"/>
                    <a:pt x="1508874" y="15254"/>
                  </a:cubicBezTo>
                  <a:cubicBezTo>
                    <a:pt x="1482914" y="22523"/>
                    <a:pt x="1454878" y="29791"/>
                    <a:pt x="1400883" y="79633"/>
                  </a:cubicBezTo>
                  <a:cubicBezTo>
                    <a:pt x="1348965" y="65096"/>
                    <a:pt x="1254473" y="87940"/>
                    <a:pt x="1200478" y="119091"/>
                  </a:cubicBezTo>
                  <a:cubicBezTo>
                    <a:pt x="1107025" y="173086"/>
                    <a:pt x="1049915" y="217736"/>
                    <a:pt x="993843" y="282115"/>
                  </a:cubicBezTo>
                  <a:cubicBezTo>
                    <a:pt x="895198" y="394259"/>
                    <a:pt x="813167" y="538592"/>
                    <a:pt x="787208" y="643467"/>
                  </a:cubicBezTo>
                  <a:cubicBezTo>
                    <a:pt x="767479" y="722383"/>
                    <a:pt x="755019" y="797145"/>
                    <a:pt x="749827" y="868793"/>
                  </a:cubicBezTo>
                  <a:cubicBezTo>
                    <a:pt x="739443" y="1019356"/>
                    <a:pt x="744635" y="1123193"/>
                    <a:pt x="776824" y="1277910"/>
                  </a:cubicBezTo>
                  <a:cubicBezTo>
                    <a:pt x="804860" y="1408744"/>
                    <a:pt x="844318" y="1516734"/>
                    <a:pt x="898313" y="1644454"/>
                  </a:cubicBezTo>
                  <a:cubicBezTo>
                    <a:pt x="940886" y="1746214"/>
                    <a:pt x="996958" y="1816823"/>
                    <a:pt x="1115332" y="1897815"/>
                  </a:cubicBezTo>
                  <a:cubicBezTo>
                    <a:pt x="1047838" y="1829283"/>
                    <a:pt x="1019802" y="1796055"/>
                    <a:pt x="988651" y="1700525"/>
                  </a:cubicBezTo>
                  <a:cubicBezTo>
                    <a:pt x="1033301" y="1801247"/>
                    <a:pt x="1090411" y="1876010"/>
                    <a:pt x="1192172" y="1925851"/>
                  </a:cubicBezTo>
                  <a:cubicBezTo>
                    <a:pt x="1150637" y="1884317"/>
                    <a:pt x="1135061" y="1864588"/>
                    <a:pt x="1130908" y="1840705"/>
                  </a:cubicBezTo>
                  <a:cubicBezTo>
                    <a:pt x="1157905" y="1880163"/>
                    <a:pt x="1204632" y="1906122"/>
                    <a:pt x="1238898" y="1916506"/>
                  </a:cubicBezTo>
                  <a:cubicBezTo>
                    <a:pt x="1213977" y="1884317"/>
                    <a:pt x="1206709" y="1857319"/>
                    <a:pt x="1211900" y="1840705"/>
                  </a:cubicBezTo>
                  <a:cubicBezTo>
                    <a:pt x="1237860" y="1858357"/>
                    <a:pt x="1272126" y="1891585"/>
                    <a:pt x="1316776" y="1891585"/>
                  </a:cubicBezTo>
                  <a:cubicBezTo>
                    <a:pt x="1286663" y="1861472"/>
                    <a:pt x="1276279" y="1820976"/>
                    <a:pt x="1277318" y="1800209"/>
                  </a:cubicBezTo>
                  <a:cubicBezTo>
                    <a:pt x="1277318" y="1800209"/>
                    <a:pt x="1300162" y="1819938"/>
                    <a:pt x="1333390" y="1822015"/>
                  </a:cubicBezTo>
                  <a:cubicBezTo>
                    <a:pt x="1339620" y="1873933"/>
                    <a:pt x="1329236" y="1898854"/>
                    <a:pt x="1315737" y="1926890"/>
                  </a:cubicBezTo>
                  <a:cubicBezTo>
                    <a:pt x="1305354" y="1948695"/>
                    <a:pt x="1277318" y="1975693"/>
                    <a:pt x="1277318" y="1975693"/>
                  </a:cubicBezTo>
                  <a:cubicBezTo>
                    <a:pt x="1254473" y="1959079"/>
                    <a:pt x="1154790" y="2042148"/>
                    <a:pt x="1092488" y="2073300"/>
                  </a:cubicBezTo>
                  <a:cubicBezTo>
                    <a:pt x="1035378" y="2102374"/>
                    <a:pt x="975153" y="2115873"/>
                    <a:pt x="932579" y="2124180"/>
                  </a:cubicBezTo>
                  <a:cubicBezTo>
                    <a:pt x="842242" y="2140794"/>
                    <a:pt x="790323" y="2145985"/>
                    <a:pt x="675064" y="2167791"/>
                  </a:cubicBezTo>
                  <a:cubicBezTo>
                    <a:pt x="593033" y="2183367"/>
                    <a:pt x="549422" y="2192712"/>
                    <a:pt x="489196" y="2255014"/>
                  </a:cubicBezTo>
                  <a:cubicBezTo>
                    <a:pt x="395743" y="2351582"/>
                    <a:pt x="322019" y="2460611"/>
                    <a:pt x="286715" y="2567563"/>
                  </a:cubicBezTo>
                  <a:cubicBezTo>
                    <a:pt x="268024" y="2623635"/>
                    <a:pt x="244141" y="2718126"/>
                    <a:pt x="216105" y="2944490"/>
                  </a:cubicBezTo>
                  <a:cubicBezTo>
                    <a:pt x="201568" y="3056634"/>
                    <a:pt x="181840" y="3158394"/>
                    <a:pt x="169379" y="3462636"/>
                  </a:cubicBezTo>
                  <a:cubicBezTo>
                    <a:pt x="157957" y="3766878"/>
                    <a:pt x="122653" y="4104347"/>
                    <a:pt x="122653" y="4586150"/>
                  </a:cubicBezTo>
                  <a:cubicBezTo>
                    <a:pt x="122653" y="5067953"/>
                    <a:pt x="87348" y="5676436"/>
                    <a:pt x="114345" y="6163431"/>
                  </a:cubicBezTo>
                  <a:cubicBezTo>
                    <a:pt x="143420" y="6181083"/>
                    <a:pt x="170417" y="6193544"/>
                    <a:pt x="195338" y="6202889"/>
                  </a:cubicBezTo>
                  <a:cubicBezTo>
                    <a:pt x="187031" y="6247539"/>
                    <a:pt x="174571" y="6299457"/>
                    <a:pt x="167302" y="6346184"/>
                  </a:cubicBezTo>
                  <a:cubicBezTo>
                    <a:pt x="165226" y="6363836"/>
                    <a:pt x="162110" y="6388757"/>
                    <a:pt x="157957" y="6425100"/>
                  </a:cubicBezTo>
                  <a:cubicBezTo>
                    <a:pt x="155880" y="6444829"/>
                    <a:pt x="147573" y="6469749"/>
                    <a:pt x="147573" y="6493632"/>
                  </a:cubicBezTo>
                  <a:cubicBezTo>
                    <a:pt x="147573" y="6526860"/>
                    <a:pt x="154842" y="6565279"/>
                    <a:pt x="157957" y="6602660"/>
                  </a:cubicBezTo>
                  <a:cubicBezTo>
                    <a:pt x="161072" y="6644195"/>
                    <a:pt x="160034" y="6684692"/>
                    <a:pt x="160034" y="6715843"/>
                  </a:cubicBezTo>
                  <a:cubicBezTo>
                    <a:pt x="160034" y="6767761"/>
                    <a:pt x="168341" y="6798912"/>
                    <a:pt x="170417" y="6824871"/>
                  </a:cubicBezTo>
                  <a:cubicBezTo>
                    <a:pt x="173532" y="6867445"/>
                    <a:pt x="198453" y="6902749"/>
                    <a:pt x="231681" y="6928708"/>
                  </a:cubicBezTo>
                  <a:cubicBezTo>
                    <a:pt x="278408" y="6965051"/>
                    <a:pt x="313712" y="6992048"/>
                    <a:pt x="340710" y="7010739"/>
                  </a:cubicBezTo>
                  <a:cubicBezTo>
                    <a:pt x="315789" y="7166494"/>
                    <a:pt x="287753" y="7319134"/>
                    <a:pt x="281523" y="7474890"/>
                  </a:cubicBezTo>
                  <a:cubicBezTo>
                    <a:pt x="275292" y="7636875"/>
                    <a:pt x="288791" y="7800937"/>
                    <a:pt x="265947" y="7960846"/>
                  </a:cubicBezTo>
                  <a:cubicBezTo>
                    <a:pt x="249333" y="8071951"/>
                    <a:pt x="202607" y="8205901"/>
                    <a:pt x="202607" y="8372039"/>
                  </a:cubicBezTo>
                  <a:cubicBezTo>
                    <a:pt x="248295" y="8377232"/>
                    <a:pt x="301252" y="8387615"/>
                    <a:pt x="356285" y="8399037"/>
                  </a:cubicBezTo>
                  <a:cubicBezTo>
                    <a:pt x="354209" y="8410459"/>
                    <a:pt x="351094" y="8421881"/>
                    <a:pt x="347978" y="8434341"/>
                  </a:cubicBezTo>
                  <a:cubicBezTo>
                    <a:pt x="332403" y="8500797"/>
                    <a:pt x="325134" y="8578675"/>
                    <a:pt x="313712" y="8633708"/>
                  </a:cubicBezTo>
                  <a:cubicBezTo>
                    <a:pt x="297098" y="8716777"/>
                    <a:pt x="283600" y="8793617"/>
                    <a:pt x="264909" y="8865264"/>
                  </a:cubicBezTo>
                  <a:cubicBezTo>
                    <a:pt x="244141" y="8944180"/>
                    <a:pt x="231681" y="8964947"/>
                    <a:pt x="208837" y="9055285"/>
                  </a:cubicBezTo>
                  <a:cubicBezTo>
                    <a:pt x="171456" y="9200657"/>
                    <a:pt x="156919" y="9388601"/>
                    <a:pt x="156919" y="9545395"/>
                  </a:cubicBezTo>
                  <a:cubicBezTo>
                    <a:pt x="156919" y="9719841"/>
                    <a:pt x="170417" y="9879750"/>
                    <a:pt x="191185" y="10036543"/>
                  </a:cubicBezTo>
                  <a:cubicBezTo>
                    <a:pt x="212990" y="10206835"/>
                    <a:pt x="243103" y="10372975"/>
                    <a:pt x="270101" y="10548458"/>
                  </a:cubicBezTo>
                  <a:cubicBezTo>
                    <a:pt x="290868" y="10680331"/>
                    <a:pt x="293983" y="10840240"/>
                    <a:pt x="270101" y="10975228"/>
                  </a:cubicBezTo>
                  <a:cubicBezTo>
                    <a:pt x="236873" y="11170441"/>
                    <a:pt x="216105" y="11202630"/>
                    <a:pt x="147573" y="11368769"/>
                  </a:cubicBezTo>
                  <a:cubicBezTo>
                    <a:pt x="110192" y="11460146"/>
                    <a:pt x="45813" y="11558791"/>
                    <a:pt x="17777" y="11676126"/>
                  </a:cubicBezTo>
                  <a:cubicBezTo>
                    <a:pt x="-1952" y="11759196"/>
                    <a:pt x="-1952" y="11854725"/>
                    <a:pt x="2202" y="11928449"/>
                  </a:cubicBezTo>
                  <a:cubicBezTo>
                    <a:pt x="49967" y="11969984"/>
                    <a:pt x="147573" y="11976214"/>
                    <a:pt x="251410" y="11983483"/>
                  </a:cubicBezTo>
                  <a:cubicBezTo>
                    <a:pt x="405088" y="11995943"/>
                    <a:pt x="598225" y="11959601"/>
                    <a:pt x="630414" y="11886914"/>
                  </a:cubicBezTo>
                  <a:cubicBezTo>
                    <a:pt x="630414" y="11886914"/>
                    <a:pt x="664680" y="11874455"/>
                    <a:pt x="675064" y="11832920"/>
                  </a:cubicBezTo>
                  <a:cubicBezTo>
                    <a:pt x="671949" y="11742581"/>
                    <a:pt x="653259" y="11435225"/>
                    <a:pt x="685448" y="11318928"/>
                  </a:cubicBezTo>
                  <a:cubicBezTo>
                    <a:pt x="724906" y="11175633"/>
                    <a:pt x="779939" y="11100870"/>
                    <a:pt x="789285" y="11049990"/>
                  </a:cubicBezTo>
                  <a:cubicBezTo>
                    <a:pt x="801745" y="10978343"/>
                    <a:pt x="799669" y="10939923"/>
                    <a:pt x="782016" y="10884890"/>
                  </a:cubicBezTo>
                  <a:cubicBezTo>
                    <a:pt x="753980" y="10798705"/>
                    <a:pt x="701023" y="10712521"/>
                    <a:pt x="690640" y="10707329"/>
                  </a:cubicBezTo>
                  <a:cubicBezTo>
                    <a:pt x="676102" y="10540152"/>
                    <a:pt x="715561" y="10380243"/>
                    <a:pt x="757095" y="10246294"/>
                  </a:cubicBezTo>
                  <a:cubicBezTo>
                    <a:pt x="782016" y="10166339"/>
                    <a:pt x="806937" y="10050042"/>
                    <a:pt x="833934" y="9972165"/>
                  </a:cubicBezTo>
                  <a:cubicBezTo>
                    <a:pt x="895198" y="9789412"/>
                    <a:pt x="930503" y="9671038"/>
                    <a:pt x="941925" y="9459211"/>
                  </a:cubicBezTo>
                  <a:cubicBezTo>
                    <a:pt x="954385" y="9232846"/>
                    <a:pt x="963730" y="9146662"/>
                    <a:pt x="990728" y="9000252"/>
                  </a:cubicBezTo>
                  <a:cubicBezTo>
                    <a:pt x="1012534" y="8886032"/>
                    <a:pt x="1024994" y="8791540"/>
                    <a:pt x="1091450" y="8678358"/>
                  </a:cubicBezTo>
                  <a:cubicBezTo>
                    <a:pt x="1143368" y="8589059"/>
                    <a:pt x="1179711" y="8496644"/>
                    <a:pt x="1210862" y="8400076"/>
                  </a:cubicBezTo>
                  <a:cubicBezTo>
                    <a:pt x="1345850" y="8393845"/>
                    <a:pt x="1456955" y="8439533"/>
                    <a:pt x="1618941" y="8476915"/>
                  </a:cubicBezTo>
                  <a:cubicBezTo>
                    <a:pt x="1665667" y="8487298"/>
                    <a:pt x="1919029" y="8484183"/>
                    <a:pt x="1967832" y="8484183"/>
                  </a:cubicBezTo>
                  <a:cubicBezTo>
                    <a:pt x="1986523" y="8484183"/>
                    <a:pt x="2005214" y="8484183"/>
                    <a:pt x="2023904" y="8485222"/>
                  </a:cubicBezTo>
                  <a:cubicBezTo>
                    <a:pt x="2034288" y="8558946"/>
                    <a:pt x="2036364" y="8636823"/>
                    <a:pt x="2023904" y="8734430"/>
                  </a:cubicBezTo>
                  <a:cubicBezTo>
                    <a:pt x="1994830" y="8975332"/>
                    <a:pt x="1964717" y="9100974"/>
                    <a:pt x="1942912" y="9321107"/>
                  </a:cubicBezTo>
                  <a:cubicBezTo>
                    <a:pt x="1923183" y="9510090"/>
                    <a:pt x="1935643" y="9685575"/>
                    <a:pt x="1942912" y="9875596"/>
                  </a:cubicBezTo>
                  <a:cubicBezTo>
                    <a:pt x="1955372" y="10220334"/>
                    <a:pt x="1984446" y="10272253"/>
                    <a:pt x="1928374" y="10609722"/>
                  </a:cubicBezTo>
                  <a:cubicBezTo>
                    <a:pt x="1896185" y="10621145"/>
                    <a:pt x="1855689" y="10722904"/>
                    <a:pt x="1812077" y="10821550"/>
                  </a:cubicBezTo>
                  <a:cubicBezTo>
                    <a:pt x="1765350" y="10930578"/>
                    <a:pt x="1796502" y="11018840"/>
                    <a:pt x="1843228" y="11139290"/>
                  </a:cubicBezTo>
                  <a:cubicBezTo>
                    <a:pt x="1866072" y="11198477"/>
                    <a:pt x="1893070" y="11304391"/>
                    <a:pt x="1906568" y="11412380"/>
                  </a:cubicBezTo>
                  <a:cubicBezTo>
                    <a:pt x="1920068" y="11528678"/>
                    <a:pt x="1903453" y="11814229"/>
                    <a:pt x="1929413" y="11829805"/>
                  </a:cubicBezTo>
                  <a:cubicBezTo>
                    <a:pt x="1927336" y="11853687"/>
                    <a:pt x="1973024" y="11855764"/>
                    <a:pt x="1973024" y="11855764"/>
                  </a:cubicBezTo>
                  <a:cubicBezTo>
                    <a:pt x="2035327" y="11957524"/>
                    <a:pt x="2198350" y="11954409"/>
                    <a:pt x="2340606" y="11935718"/>
                  </a:cubicBezTo>
                  <a:cubicBezTo>
                    <a:pt x="2445482" y="11923258"/>
                    <a:pt x="2521283" y="11908721"/>
                    <a:pt x="2559702" y="11875493"/>
                  </a:cubicBezTo>
                  <a:cubicBezTo>
                    <a:pt x="2564894" y="11783078"/>
                    <a:pt x="2561779" y="11655359"/>
                    <a:pt x="2534781" y="11572289"/>
                  </a:cubicBezTo>
                  <a:cubicBezTo>
                    <a:pt x="2503630" y="11473645"/>
                    <a:pt x="2474556" y="11447685"/>
                    <a:pt x="2447558" y="11390575"/>
                  </a:cubicBezTo>
                  <a:cubicBezTo>
                    <a:pt x="2412254" y="11314774"/>
                    <a:pt x="2380065" y="11213014"/>
                    <a:pt x="2347875" y="11106062"/>
                  </a:cubicBezTo>
                  <a:cubicBezTo>
                    <a:pt x="2333338" y="11060374"/>
                    <a:pt x="2286611" y="10998072"/>
                    <a:pt x="2319839" y="10919156"/>
                  </a:cubicBezTo>
                  <a:cubicBezTo>
                    <a:pt x="2347875" y="10854777"/>
                    <a:pt x="2331261" y="10790398"/>
                    <a:pt x="2330223" y="10729135"/>
                  </a:cubicBezTo>
                  <a:cubicBezTo>
                    <a:pt x="2328146" y="10649180"/>
                    <a:pt x="2338530" y="10573380"/>
                    <a:pt x="2371758" y="10495502"/>
                  </a:cubicBezTo>
                  <a:cubicBezTo>
                    <a:pt x="2442367" y="10330401"/>
                    <a:pt x="2511937" y="10129996"/>
                    <a:pt x="2551395" y="9953474"/>
                  </a:cubicBezTo>
                  <a:cubicBezTo>
                    <a:pt x="2571124" y="9862097"/>
                    <a:pt x="2595007" y="9782143"/>
                    <a:pt x="2619927" y="9689728"/>
                  </a:cubicBezTo>
                  <a:cubicBezTo>
                    <a:pt x="2645887" y="9594199"/>
                    <a:pt x="2670807" y="9450903"/>
                    <a:pt x="2684307" y="9357451"/>
                  </a:cubicBezTo>
                  <a:cubicBezTo>
                    <a:pt x="2709227" y="9187158"/>
                    <a:pt x="2722726" y="9097859"/>
                    <a:pt x="2728956" y="8910952"/>
                  </a:cubicBezTo>
                  <a:cubicBezTo>
                    <a:pt x="2736225" y="8681473"/>
                    <a:pt x="2714419" y="8650322"/>
                    <a:pt x="2714419" y="8514296"/>
                  </a:cubicBezTo>
                  <a:cubicBezTo>
                    <a:pt x="2714419" y="8466531"/>
                    <a:pt x="2717534" y="8415650"/>
                    <a:pt x="2720649" y="8363732"/>
                  </a:cubicBezTo>
                  <a:cubicBezTo>
                    <a:pt x="2726879" y="8361656"/>
                    <a:pt x="2734148" y="8358541"/>
                    <a:pt x="2740378" y="8356464"/>
                  </a:cubicBezTo>
                  <a:cubicBezTo>
                    <a:pt x="2832793" y="8322198"/>
                    <a:pt x="2981280" y="8377232"/>
                    <a:pt x="3068502" y="8333620"/>
                  </a:cubicBezTo>
                  <a:cubicBezTo>
                    <a:pt x="3099654" y="8111410"/>
                    <a:pt x="3088232" y="7973307"/>
                    <a:pt x="3088232" y="7751096"/>
                  </a:cubicBezTo>
                  <a:cubicBezTo>
                    <a:pt x="3088232" y="7372091"/>
                    <a:pt x="3068502" y="6988933"/>
                    <a:pt x="3068502" y="6608891"/>
                  </a:cubicBezTo>
                  <a:cubicBezTo>
                    <a:pt x="3063310" y="6470788"/>
                    <a:pt x="3026968" y="6275575"/>
                    <a:pt x="3026968" y="6085554"/>
                  </a:cubicBezTo>
                  <a:cubicBezTo>
                    <a:pt x="3068502" y="6079323"/>
                    <a:pt x="3110037" y="6074131"/>
                    <a:pt x="3110037" y="6074131"/>
                  </a:cubicBezTo>
                  <a:cubicBezTo>
                    <a:pt x="3103807" y="5901762"/>
                    <a:pt x="3067464" y="5804156"/>
                    <a:pt x="3051888" y="5721086"/>
                  </a:cubicBezTo>
                  <a:cubicBezTo>
                    <a:pt x="2972973" y="5276665"/>
                    <a:pt x="2890942" y="5078337"/>
                    <a:pt x="2890942" y="5078337"/>
                  </a:cubicBezTo>
                  <a:cubicBezTo>
                    <a:pt x="2969858" y="5119871"/>
                    <a:pt x="3050850" y="5125063"/>
                    <a:pt x="3102769" y="5085605"/>
                  </a:cubicBezTo>
                  <a:cubicBezTo>
                    <a:pt x="3125613" y="5067953"/>
                    <a:pt x="3166109" y="5046147"/>
                    <a:pt x="3183761" y="5011881"/>
                  </a:cubicBezTo>
                  <a:cubicBezTo>
                    <a:pt x="3198298" y="4983845"/>
                    <a:pt x="3214913" y="4951656"/>
                    <a:pt x="3231526" y="4918428"/>
                  </a:cubicBezTo>
                  <a:cubicBezTo>
                    <a:pt x="3301097" y="4923620"/>
                    <a:pt x="3293828" y="5032648"/>
                    <a:pt x="3357169" y="4973461"/>
                  </a:cubicBezTo>
                  <a:cubicBezTo>
                    <a:pt x="3402857" y="4929850"/>
                    <a:pt x="3446468" y="4761634"/>
                    <a:pt x="3468274" y="4703486"/>
                  </a:cubicBezTo>
                  <a:cubicBezTo>
                    <a:pt x="3497348" y="4624570"/>
                    <a:pt x="3506694" y="4566421"/>
                    <a:pt x="3531614" y="4489582"/>
                  </a:cubicBezTo>
                  <a:cubicBezTo>
                    <a:pt x="3561727" y="4399244"/>
                    <a:pt x="3620914" y="4253872"/>
                    <a:pt x="3626106" y="4157304"/>
                  </a:cubicBezTo>
                  <a:cubicBezTo>
                    <a:pt x="3634413" y="4009856"/>
                    <a:pt x="3630260" y="3956899"/>
                    <a:pt x="3586648" y="3841640"/>
                  </a:cubicBezTo>
                  <a:cubicBezTo>
                    <a:pt x="3580418" y="3814643"/>
                    <a:pt x="3573149" y="3786607"/>
                    <a:pt x="3562766" y="3755456"/>
                  </a:cubicBezTo>
                  <a:close/>
                  <a:moveTo>
                    <a:pt x="617954" y="4981768"/>
                  </a:moveTo>
                  <a:cubicBezTo>
                    <a:pt x="608609" y="5134409"/>
                    <a:pt x="587841" y="5263166"/>
                    <a:pt x="569151" y="5460456"/>
                  </a:cubicBezTo>
                  <a:cubicBezTo>
                    <a:pt x="549422" y="5657746"/>
                    <a:pt x="528654" y="5850882"/>
                    <a:pt x="528654" y="5850882"/>
                  </a:cubicBezTo>
                  <a:cubicBezTo>
                    <a:pt x="523463" y="5775081"/>
                    <a:pt x="514117" y="5735623"/>
                    <a:pt x="514117" y="5681628"/>
                  </a:cubicBezTo>
                  <a:cubicBezTo>
                    <a:pt x="514117" y="5607904"/>
                    <a:pt x="518271" y="5553909"/>
                    <a:pt x="525539" y="5479147"/>
                  </a:cubicBezTo>
                  <a:cubicBezTo>
                    <a:pt x="532808" y="5397116"/>
                    <a:pt x="544230" y="5304701"/>
                    <a:pt x="552537" y="5221632"/>
                  </a:cubicBezTo>
                  <a:cubicBezTo>
                    <a:pt x="567074" y="5075221"/>
                    <a:pt x="564997" y="5001497"/>
                    <a:pt x="572266" y="4888315"/>
                  </a:cubicBezTo>
                  <a:cubicBezTo>
                    <a:pt x="578496" y="4800054"/>
                    <a:pt x="600302" y="4665066"/>
                    <a:pt x="642875" y="4534232"/>
                  </a:cubicBezTo>
                  <a:cubicBezTo>
                    <a:pt x="642875" y="4534232"/>
                    <a:pt x="628338" y="4830167"/>
                    <a:pt x="618992" y="4982807"/>
                  </a:cubicBezTo>
                  <a:close/>
                  <a:moveTo>
                    <a:pt x="3122497" y="4173918"/>
                  </a:moveTo>
                  <a:cubicBezTo>
                    <a:pt x="3107960" y="4218568"/>
                    <a:pt x="3096538" y="4280870"/>
                    <a:pt x="3083039" y="4346287"/>
                  </a:cubicBezTo>
                  <a:cubicBezTo>
                    <a:pt x="3067464" y="4426241"/>
                    <a:pt x="2958436" y="4563306"/>
                    <a:pt x="3002047" y="4599649"/>
                  </a:cubicBezTo>
                  <a:cubicBezTo>
                    <a:pt x="2989586" y="4626646"/>
                    <a:pt x="2977126" y="4660913"/>
                    <a:pt x="2958436" y="4685833"/>
                  </a:cubicBezTo>
                  <a:cubicBezTo>
                    <a:pt x="2939745" y="4710754"/>
                    <a:pt x="2930399" y="4712831"/>
                    <a:pt x="2907555" y="4713869"/>
                  </a:cubicBezTo>
                  <a:cubicBezTo>
                    <a:pt x="2883673" y="4715946"/>
                    <a:pt x="2843177" y="4677527"/>
                    <a:pt x="2809949" y="4647414"/>
                  </a:cubicBezTo>
                  <a:cubicBezTo>
                    <a:pt x="2792296" y="4631838"/>
                    <a:pt x="2779836" y="4619378"/>
                    <a:pt x="2764261" y="4607956"/>
                  </a:cubicBezTo>
                  <a:cubicBezTo>
                    <a:pt x="2742455" y="4591342"/>
                    <a:pt x="2724803" y="4575767"/>
                    <a:pt x="2702997" y="4591342"/>
                  </a:cubicBezTo>
                  <a:cubicBezTo>
                    <a:pt x="2692613" y="4458431"/>
                    <a:pt x="2678076" y="4418973"/>
                    <a:pt x="2685344" y="4342134"/>
                  </a:cubicBezTo>
                  <a:cubicBezTo>
                    <a:pt x="2689498" y="4299561"/>
                    <a:pt x="2685344" y="4256988"/>
                    <a:pt x="2680153" y="4214415"/>
                  </a:cubicBezTo>
                  <a:cubicBezTo>
                    <a:pt x="2675999" y="4179110"/>
                    <a:pt x="2672884" y="4159381"/>
                    <a:pt x="2667692" y="4117846"/>
                  </a:cubicBezTo>
                  <a:cubicBezTo>
                    <a:pt x="2663539" y="4080465"/>
                    <a:pt x="2656270" y="4056582"/>
                    <a:pt x="2653155" y="4014009"/>
                  </a:cubicBezTo>
                  <a:cubicBezTo>
                    <a:pt x="2649002" y="3960014"/>
                    <a:pt x="2649002" y="3917441"/>
                    <a:pt x="2644848" y="3867600"/>
                  </a:cubicBezTo>
                  <a:cubicBezTo>
                    <a:pt x="2641733" y="3822950"/>
                    <a:pt x="2644848" y="3769993"/>
                    <a:pt x="2657309" y="3728458"/>
                  </a:cubicBezTo>
                  <a:cubicBezTo>
                    <a:pt x="2672884" y="3676540"/>
                    <a:pt x="2690537" y="3648504"/>
                    <a:pt x="2700920" y="3601777"/>
                  </a:cubicBezTo>
                  <a:cubicBezTo>
                    <a:pt x="2716496" y="3530130"/>
                    <a:pt x="2716496" y="3503132"/>
                    <a:pt x="2724803" y="3462636"/>
                  </a:cubicBezTo>
                  <a:cubicBezTo>
                    <a:pt x="2736225" y="3406564"/>
                    <a:pt x="2733109" y="3338032"/>
                    <a:pt x="2752838" y="3276768"/>
                  </a:cubicBezTo>
                  <a:cubicBezTo>
                    <a:pt x="2812025" y="3370221"/>
                    <a:pt x="2881596" y="3497940"/>
                    <a:pt x="2975049" y="3631890"/>
                  </a:cubicBezTo>
                  <a:cubicBezTo>
                    <a:pt x="3009315" y="3680693"/>
                    <a:pt x="3044620" y="3737804"/>
                    <a:pt x="3068502" y="3789722"/>
                  </a:cubicBezTo>
                  <a:cubicBezTo>
                    <a:pt x="3090308" y="3837487"/>
                    <a:pt x="3112114" y="3882137"/>
                    <a:pt x="3127689" y="3929901"/>
                  </a:cubicBezTo>
                  <a:cubicBezTo>
                    <a:pt x="3140150" y="3968321"/>
                    <a:pt x="3149495" y="3992204"/>
                    <a:pt x="3149495" y="4036853"/>
                  </a:cubicBezTo>
                  <a:cubicBezTo>
                    <a:pt x="3149495" y="4086695"/>
                    <a:pt x="3144304" y="4103309"/>
                    <a:pt x="3122497" y="4172880"/>
                  </a:cubicBezTo>
                  <a:close/>
                </a:path>
              </a:pathLst>
            </a:custGeom>
            <a:solidFill>
              <a:srgbClr val="8DE971"/>
            </a:solidFill>
            <a:ln w="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510"/>
            </a:p>
          </p:txBody>
        </p:sp>
        <p:grpSp>
          <p:nvGrpSpPr>
            <p:cNvPr id="159" name="Group 158">
              <a:extLst>
                <a:ext uri="{FF2B5EF4-FFF2-40B4-BE49-F238E27FC236}">
                  <a16:creationId xmlns:a16="http://schemas.microsoft.com/office/drawing/2014/main" id="{67B1E14D-0101-4E62-D567-9C2E29A03228}"/>
                </a:ext>
              </a:extLst>
            </p:cNvPr>
            <p:cNvGrpSpPr/>
            <p:nvPr userDrawn="1"/>
          </p:nvGrpSpPr>
          <p:grpSpPr>
            <a:xfrm>
              <a:off x="18922683" y="13377048"/>
              <a:ext cx="2148810" cy="6786546"/>
              <a:chOff x="8874882" y="13377048"/>
              <a:chExt cx="2148810" cy="6786546"/>
            </a:xfrm>
          </p:grpSpPr>
          <p:cxnSp>
            <p:nvCxnSpPr>
              <p:cNvPr id="160" name="Straight Connector 159">
                <a:extLst>
                  <a:ext uri="{FF2B5EF4-FFF2-40B4-BE49-F238E27FC236}">
                    <a16:creationId xmlns:a16="http://schemas.microsoft.com/office/drawing/2014/main" id="{D3D77B43-5CF1-E75A-7EFE-2B475AB95ADE}"/>
                  </a:ext>
                </a:extLst>
              </p:cNvPr>
              <p:cNvCxnSpPr>
                <a:cxnSpLocks/>
              </p:cNvCxnSpPr>
              <p:nvPr/>
            </p:nvCxnSpPr>
            <p:spPr>
              <a:xfrm>
                <a:off x="9949287" y="14040469"/>
                <a:ext cx="0" cy="6123125"/>
              </a:xfrm>
              <a:prstGeom prst="line">
                <a:avLst/>
              </a:prstGeom>
              <a:ln w="635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1" name="TextBox 160">
                <a:extLst>
                  <a:ext uri="{FF2B5EF4-FFF2-40B4-BE49-F238E27FC236}">
                    <a16:creationId xmlns:a16="http://schemas.microsoft.com/office/drawing/2014/main" id="{B397C464-1E72-4D90-C07E-C9674C512C26}"/>
                  </a:ext>
                </a:extLst>
              </p:cNvPr>
              <p:cNvSpPr txBox="1"/>
              <p:nvPr/>
            </p:nvSpPr>
            <p:spPr>
              <a:xfrm>
                <a:off x="8874882" y="13377048"/>
                <a:ext cx="2148810" cy="350942"/>
              </a:xfrm>
              <a:prstGeom prst="rect">
                <a:avLst/>
              </a:prstGeom>
              <a:noFill/>
            </p:spPr>
            <p:txBody>
              <a:bodyPr wrap="square" lIns="0" tIns="0" rIns="0" bIns="0" rtlCol="0">
                <a:spAutoFit/>
              </a:bodyPr>
              <a:lstStyle/>
              <a:p>
                <a:pPr algn="ctr"/>
                <a:r>
                  <a:rPr lang="en-US" sz="777">
                    <a:latin typeface="Segoe Sans Display Semibold" pitchFamily="2" charset="0"/>
                    <a:cs typeface="Segoe Sans Display Semibold" pitchFamily="2" charset="0"/>
                  </a:rPr>
                  <a:t>5 ft 5 inch</a:t>
                </a:r>
              </a:p>
            </p:txBody>
          </p:sp>
          <p:cxnSp>
            <p:nvCxnSpPr>
              <p:cNvPr id="162" name="Straight Connector 161">
                <a:extLst>
                  <a:ext uri="{FF2B5EF4-FFF2-40B4-BE49-F238E27FC236}">
                    <a16:creationId xmlns:a16="http://schemas.microsoft.com/office/drawing/2014/main" id="{A5184805-AACA-9D85-EE01-9ED57E54BA1B}"/>
                  </a:ext>
                </a:extLst>
              </p:cNvPr>
              <p:cNvCxnSpPr>
                <a:cxnSpLocks/>
              </p:cNvCxnSpPr>
              <p:nvPr/>
            </p:nvCxnSpPr>
            <p:spPr>
              <a:xfrm>
                <a:off x="9743676" y="14006286"/>
                <a:ext cx="411223" cy="0"/>
              </a:xfrm>
              <a:prstGeom prst="line">
                <a:avLst/>
              </a:prstGeom>
              <a:ln w="63500">
                <a:solidFill>
                  <a:schemeClr val="accent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67" name="Center Screen Safe Space" hidden="1">
            <a:extLst>
              <a:ext uri="{FF2B5EF4-FFF2-40B4-BE49-F238E27FC236}">
                <a16:creationId xmlns:a16="http://schemas.microsoft.com/office/drawing/2014/main" id="{67596BE9-13BB-4C52-3013-CF87F6D422B5}"/>
              </a:ext>
            </a:extLst>
          </p:cNvPr>
          <p:cNvGrpSpPr/>
          <p:nvPr userDrawn="1"/>
        </p:nvGrpSpPr>
        <p:grpSpPr>
          <a:xfrm>
            <a:off x="0" y="0"/>
            <a:ext cx="12192000" cy="6858000"/>
            <a:chOff x="-1" y="0"/>
            <a:chExt cx="43891201" cy="20116800"/>
          </a:xfrm>
        </p:grpSpPr>
        <p:sp>
          <p:nvSpPr>
            <p:cNvPr id="151" name="Rectangle 150">
              <a:extLst>
                <a:ext uri="{FF2B5EF4-FFF2-40B4-BE49-F238E27FC236}">
                  <a16:creationId xmlns:a16="http://schemas.microsoft.com/office/drawing/2014/main" id="{5A7EA45B-D5D2-9FBC-7491-6FFF4C6141FC}"/>
                </a:ext>
              </a:extLst>
            </p:cNvPr>
            <p:cNvSpPr/>
            <p:nvPr userDrawn="1"/>
          </p:nvSpPr>
          <p:spPr bwMode="auto">
            <a:xfrm>
              <a:off x="0" y="0"/>
              <a:ext cx="4076700" cy="20116800"/>
            </a:xfrm>
            <a:prstGeom prst="rect">
              <a:avLst/>
            </a:prstGeom>
            <a:pattFill prst="ltDnDiag">
              <a:fgClr>
                <a:schemeClr val="bg1">
                  <a:lumMod val="75000"/>
                  <a:lumOff val="25000"/>
                </a:schemeClr>
              </a:fgClr>
              <a:bgClr>
                <a:schemeClr val="bg1">
                  <a:lumMod val="90000"/>
                  <a:lumOff val="1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258965" fontAlgn="base">
                <a:spcBef>
                  <a:spcPct val="0"/>
                </a:spcBef>
                <a:spcAft>
                  <a:spcPct val="0"/>
                </a:spcAft>
              </a:pPr>
              <a:endParaRPr lang="en-US" sz="556" err="1">
                <a:solidFill>
                  <a:schemeClr val="bg1"/>
                </a:solidFill>
                <a:ea typeface="Segoe UI" pitchFamily="34" charset="0"/>
                <a:cs typeface="Segoe UI" pitchFamily="34" charset="0"/>
              </a:endParaRPr>
            </a:p>
          </p:txBody>
        </p:sp>
        <p:sp>
          <p:nvSpPr>
            <p:cNvPr id="152" name="Rectangle 151">
              <a:extLst>
                <a:ext uri="{FF2B5EF4-FFF2-40B4-BE49-F238E27FC236}">
                  <a16:creationId xmlns:a16="http://schemas.microsoft.com/office/drawing/2014/main" id="{3573AD2A-6E0E-A2CE-9A7E-AABFDFABAC1C}"/>
                </a:ext>
              </a:extLst>
            </p:cNvPr>
            <p:cNvSpPr/>
            <p:nvPr userDrawn="1"/>
          </p:nvSpPr>
          <p:spPr bwMode="auto">
            <a:xfrm>
              <a:off x="39814500" y="0"/>
              <a:ext cx="4076700" cy="20116800"/>
            </a:xfrm>
            <a:prstGeom prst="rect">
              <a:avLst/>
            </a:prstGeom>
            <a:pattFill prst="ltDnDiag">
              <a:fgClr>
                <a:schemeClr val="bg1">
                  <a:lumMod val="75000"/>
                  <a:lumOff val="25000"/>
                </a:schemeClr>
              </a:fgClr>
              <a:bgClr>
                <a:schemeClr val="bg1">
                  <a:lumMod val="90000"/>
                  <a:lumOff val="10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258965" fontAlgn="base">
                <a:spcBef>
                  <a:spcPct val="0"/>
                </a:spcBef>
                <a:spcAft>
                  <a:spcPct val="0"/>
                </a:spcAft>
              </a:pPr>
              <a:endParaRPr lang="en-US" sz="556" err="1">
                <a:solidFill>
                  <a:schemeClr val="bg1"/>
                </a:solidFill>
                <a:ea typeface="Segoe UI" pitchFamily="34" charset="0"/>
                <a:cs typeface="Segoe UI" pitchFamily="34" charset="0"/>
              </a:endParaRPr>
            </a:p>
          </p:txBody>
        </p:sp>
        <p:cxnSp>
          <p:nvCxnSpPr>
            <p:cNvPr id="153" name="Straight Connector 152">
              <a:extLst>
                <a:ext uri="{FF2B5EF4-FFF2-40B4-BE49-F238E27FC236}">
                  <a16:creationId xmlns:a16="http://schemas.microsoft.com/office/drawing/2014/main" id="{00199AB4-2A7D-D52E-8352-BE8830FA339C}"/>
                </a:ext>
              </a:extLst>
            </p:cNvPr>
            <p:cNvCxnSpPr>
              <a:cxnSpLocks/>
            </p:cNvCxnSpPr>
            <p:nvPr userDrawn="1"/>
          </p:nvCxnSpPr>
          <p:spPr>
            <a:xfrm>
              <a:off x="4076700" y="0"/>
              <a:ext cx="0" cy="20116800"/>
            </a:xfrm>
            <a:prstGeom prst="line">
              <a:avLst/>
            </a:prstGeom>
            <a:ln w="50800">
              <a:solidFill>
                <a:srgbClr val="8DE97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417723F-F34B-A222-B18F-11593EDE9191}"/>
                </a:ext>
              </a:extLst>
            </p:cNvPr>
            <p:cNvCxnSpPr>
              <a:cxnSpLocks/>
            </p:cNvCxnSpPr>
            <p:nvPr userDrawn="1"/>
          </p:nvCxnSpPr>
          <p:spPr>
            <a:xfrm>
              <a:off x="39814500" y="0"/>
              <a:ext cx="0" cy="20116800"/>
            </a:xfrm>
            <a:prstGeom prst="line">
              <a:avLst/>
            </a:prstGeom>
            <a:ln w="50800">
              <a:solidFill>
                <a:srgbClr val="8DE97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C66D465A-2D6D-BAD4-CE2C-B64A75123154}"/>
                </a:ext>
              </a:extLst>
            </p:cNvPr>
            <p:cNvSpPr txBox="1"/>
            <p:nvPr userDrawn="1"/>
          </p:nvSpPr>
          <p:spPr>
            <a:xfrm>
              <a:off x="-1" y="8396408"/>
              <a:ext cx="4076697" cy="2708679"/>
            </a:xfrm>
            <a:prstGeom prst="rect">
              <a:avLst/>
            </a:prstGeom>
            <a:noFill/>
          </p:spPr>
          <p:txBody>
            <a:bodyPr wrap="square" lIns="0" tIns="0" rIns="0" bIns="0" rtlCol="0">
              <a:spAutoFit/>
            </a:bodyPr>
            <a:lstStyle/>
            <a:p>
              <a:pPr algn="ctr"/>
              <a:r>
                <a:rPr lang="en-US" sz="1500">
                  <a:latin typeface="Segoe Sans Display Semibold" pitchFamily="2" charset="0"/>
                  <a:cs typeface="Segoe Sans Display Semibold" pitchFamily="2" charset="0"/>
                </a:rPr>
                <a:t>CENTER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CREEN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AFE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PACE</a:t>
              </a:r>
            </a:p>
          </p:txBody>
        </p:sp>
        <p:sp>
          <p:nvSpPr>
            <p:cNvPr id="156" name="TextBox 155">
              <a:extLst>
                <a:ext uri="{FF2B5EF4-FFF2-40B4-BE49-F238E27FC236}">
                  <a16:creationId xmlns:a16="http://schemas.microsoft.com/office/drawing/2014/main" id="{04B42A27-0685-AD1E-64AC-525A79D24820}"/>
                </a:ext>
              </a:extLst>
            </p:cNvPr>
            <p:cNvSpPr txBox="1"/>
            <p:nvPr userDrawn="1"/>
          </p:nvSpPr>
          <p:spPr>
            <a:xfrm>
              <a:off x="39814500" y="8396408"/>
              <a:ext cx="4076697" cy="2708679"/>
            </a:xfrm>
            <a:prstGeom prst="rect">
              <a:avLst/>
            </a:prstGeom>
            <a:noFill/>
          </p:spPr>
          <p:txBody>
            <a:bodyPr wrap="square" lIns="0" tIns="0" rIns="0" bIns="0" rtlCol="0">
              <a:spAutoFit/>
            </a:bodyPr>
            <a:lstStyle/>
            <a:p>
              <a:pPr algn="ctr"/>
              <a:r>
                <a:rPr lang="en-US" sz="1500">
                  <a:latin typeface="Segoe Sans Display Semibold" pitchFamily="2" charset="0"/>
                  <a:cs typeface="Segoe Sans Display Semibold" pitchFamily="2" charset="0"/>
                </a:rPr>
                <a:t>CENTER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CREEN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AFE </a:t>
              </a:r>
              <a:br>
                <a:rPr lang="en-US" sz="1500">
                  <a:latin typeface="Segoe Sans Display Semibold" pitchFamily="2" charset="0"/>
                  <a:cs typeface="Segoe Sans Display Semibold" pitchFamily="2" charset="0"/>
                </a:rPr>
              </a:br>
              <a:r>
                <a:rPr lang="en-US" sz="1500">
                  <a:latin typeface="Segoe Sans Display Semibold" pitchFamily="2" charset="0"/>
                  <a:cs typeface="Segoe Sans Display Semibold" pitchFamily="2" charset="0"/>
                </a:rPr>
                <a:t>SPACE</a:t>
              </a:r>
            </a:p>
          </p:txBody>
        </p:sp>
      </p:grpSp>
    </p:spTree>
    <p:extLst>
      <p:ext uri="{BB962C8B-B14F-4D97-AF65-F5344CB8AC3E}">
        <p14:creationId xmlns:p14="http://schemas.microsoft.com/office/powerpoint/2010/main" val="1761266728"/>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73" r:id="rId40"/>
    <p:sldLayoutId id="2147483774" r:id="rId41"/>
    <p:sldLayoutId id="2147483775" r:id="rId42"/>
    <p:sldLayoutId id="2147483776" r:id="rId43"/>
    <p:sldLayoutId id="2147483777" r:id="rId44"/>
    <p:sldLayoutId id="2147483778" r:id="rId45"/>
    <p:sldLayoutId id="2147483779" r:id="rId46"/>
    <p:sldLayoutId id="2147483780" r:id="rId47"/>
    <p:sldLayoutId id="2147483781" r:id="rId48"/>
    <p:sldLayoutId id="2147483782" r:id="rId49"/>
    <p:sldLayoutId id="2147483783" r:id="rId50"/>
    <p:sldLayoutId id="2147483784" r:id="rId51"/>
  </p:sldLayoutIdLst>
  <p:transition>
    <p:fade/>
  </p:transition>
  <p:hf sldNum="0" hdr="0" ftr="0" dt="0"/>
  <p:txStyles>
    <p:titleStyle>
      <a:lvl1pPr algn="l" defTabSz="759842" rtl="0" eaLnBrk="1" latinLnBrk="0" hangingPunct="1">
        <a:lnSpc>
          <a:spcPct val="100000"/>
        </a:lnSpc>
        <a:spcBef>
          <a:spcPct val="0"/>
        </a:spcBef>
        <a:buNone/>
        <a:defRPr lang="en-US" sz="2933" b="0" kern="1200" cap="none" spc="-41" baseline="0" dirty="0" smtClean="0">
          <a:ln w="3175">
            <a:noFill/>
          </a:ln>
          <a:solidFill>
            <a:schemeClr val="tx1"/>
          </a:solidFill>
          <a:effectLst/>
          <a:latin typeface="+mj-lt"/>
          <a:ea typeface="+mn-ea"/>
          <a:cs typeface="Segoe UI" pitchFamily="34" charset="0"/>
        </a:defRPr>
      </a:lvl1pPr>
    </p:titleStyle>
    <p:bodyStyle>
      <a:lvl1pPr marL="186225" marR="0" indent="-186225" algn="l" defTabSz="7598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281" kern="1200" spc="0" baseline="0">
          <a:solidFill>
            <a:schemeClr val="tx1"/>
          </a:solidFill>
          <a:latin typeface="+mn-lt"/>
          <a:ea typeface="+mn-ea"/>
          <a:cs typeface="Segoe UI" panose="020B0502040204020203" pitchFamily="34" charset="0"/>
        </a:defRPr>
      </a:lvl1pPr>
      <a:lvl2pPr marL="372450" marR="0" indent="-186225" algn="l" defTabSz="7598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29" kern="1200" spc="0" baseline="0">
          <a:solidFill>
            <a:schemeClr val="tx1"/>
          </a:solidFill>
          <a:latin typeface="+mn-lt"/>
          <a:ea typeface="+mn-ea"/>
          <a:cs typeface="+mn-cs"/>
        </a:defRPr>
      </a:lvl2pPr>
      <a:lvl3pPr marL="535398" marR="0" indent="-162946" algn="l" defTabSz="7598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04" kern="1200" spc="0" baseline="0">
          <a:solidFill>
            <a:schemeClr val="tx1"/>
          </a:solidFill>
          <a:latin typeface="+mn-lt"/>
          <a:ea typeface="+mn-ea"/>
          <a:cs typeface="+mn-cs"/>
        </a:defRPr>
      </a:lvl3pPr>
      <a:lvl4pPr marL="686705" marR="0" indent="-147428" algn="l" defTabSz="7598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41" kern="1200" spc="0" baseline="0">
          <a:solidFill>
            <a:schemeClr val="tx1"/>
          </a:solidFill>
          <a:latin typeface="+mn-lt"/>
          <a:ea typeface="+mn-ea"/>
          <a:cs typeface="+mn-cs"/>
        </a:defRPr>
      </a:lvl4pPr>
      <a:lvl5pPr marL="834133" marR="0" indent="-137082" algn="l" defTabSz="7598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41" kern="1200" spc="0" baseline="0">
          <a:solidFill>
            <a:schemeClr val="tx1"/>
          </a:solidFill>
          <a:latin typeface="+mn-lt"/>
          <a:ea typeface="+mn-ea"/>
          <a:cs typeface="+mn-cs"/>
        </a:defRPr>
      </a:lvl5pPr>
      <a:lvl6pPr marL="2089566" indent="-189961" algn="l" defTabSz="759842" rtl="0" eaLnBrk="1" latinLnBrk="0" hangingPunct="1">
        <a:spcBef>
          <a:spcPct val="20000"/>
        </a:spcBef>
        <a:buFont typeface="Arial" pitchFamily="34" charset="0"/>
        <a:buChar char="•"/>
        <a:defRPr sz="1629" kern="1200">
          <a:solidFill>
            <a:schemeClr val="tx1"/>
          </a:solidFill>
          <a:latin typeface="+mn-lt"/>
          <a:ea typeface="+mn-ea"/>
          <a:cs typeface="+mn-cs"/>
        </a:defRPr>
      </a:lvl6pPr>
      <a:lvl7pPr marL="2469488" indent="-189961" algn="l" defTabSz="759842" rtl="0" eaLnBrk="1" latinLnBrk="0" hangingPunct="1">
        <a:spcBef>
          <a:spcPct val="20000"/>
        </a:spcBef>
        <a:buFont typeface="Arial" pitchFamily="34" charset="0"/>
        <a:buChar char="•"/>
        <a:defRPr sz="1629" kern="1200">
          <a:solidFill>
            <a:schemeClr val="tx1"/>
          </a:solidFill>
          <a:latin typeface="+mn-lt"/>
          <a:ea typeface="+mn-ea"/>
          <a:cs typeface="+mn-cs"/>
        </a:defRPr>
      </a:lvl7pPr>
      <a:lvl8pPr marL="2849410" indent="-189961" algn="l" defTabSz="759842" rtl="0" eaLnBrk="1" latinLnBrk="0" hangingPunct="1">
        <a:spcBef>
          <a:spcPct val="20000"/>
        </a:spcBef>
        <a:buFont typeface="Arial" pitchFamily="34" charset="0"/>
        <a:buChar char="•"/>
        <a:defRPr sz="1629" kern="1200">
          <a:solidFill>
            <a:schemeClr val="tx1"/>
          </a:solidFill>
          <a:latin typeface="+mn-lt"/>
          <a:ea typeface="+mn-ea"/>
          <a:cs typeface="+mn-cs"/>
        </a:defRPr>
      </a:lvl8pPr>
      <a:lvl9pPr marL="3229332" indent="-189961" algn="l" defTabSz="759842" rtl="0" eaLnBrk="1" latinLnBrk="0" hangingPunct="1">
        <a:spcBef>
          <a:spcPct val="20000"/>
        </a:spcBef>
        <a:buFont typeface="Arial" pitchFamily="34" charset="0"/>
        <a:buChar char="•"/>
        <a:defRPr sz="1629" kern="1200">
          <a:solidFill>
            <a:schemeClr val="tx1"/>
          </a:solidFill>
          <a:latin typeface="+mn-lt"/>
          <a:ea typeface="+mn-ea"/>
          <a:cs typeface="+mn-cs"/>
        </a:defRPr>
      </a:lvl9pPr>
    </p:bodyStyle>
    <p:otherStyle>
      <a:defPPr>
        <a:defRPr lang="en-US"/>
      </a:defPPr>
      <a:lvl1pPr marL="0" algn="l" defTabSz="759842" rtl="0" eaLnBrk="1" latinLnBrk="0" hangingPunct="1">
        <a:defRPr sz="1467" kern="1200">
          <a:solidFill>
            <a:schemeClr val="tx1"/>
          </a:solidFill>
          <a:latin typeface="+mn-lt"/>
          <a:ea typeface="+mn-ea"/>
          <a:cs typeface="+mn-cs"/>
        </a:defRPr>
      </a:lvl1pPr>
      <a:lvl2pPr marL="379921" algn="l" defTabSz="759842" rtl="0" eaLnBrk="1" latinLnBrk="0" hangingPunct="1">
        <a:defRPr sz="1467" kern="1200">
          <a:solidFill>
            <a:schemeClr val="tx1"/>
          </a:solidFill>
          <a:latin typeface="+mn-lt"/>
          <a:ea typeface="+mn-ea"/>
          <a:cs typeface="+mn-cs"/>
        </a:defRPr>
      </a:lvl2pPr>
      <a:lvl3pPr marL="759842" algn="l" defTabSz="759842" rtl="0" eaLnBrk="1" latinLnBrk="0" hangingPunct="1">
        <a:defRPr sz="1467" kern="1200">
          <a:solidFill>
            <a:schemeClr val="tx1"/>
          </a:solidFill>
          <a:latin typeface="+mn-lt"/>
          <a:ea typeface="+mn-ea"/>
          <a:cs typeface="+mn-cs"/>
        </a:defRPr>
      </a:lvl3pPr>
      <a:lvl4pPr marL="1139763" algn="l" defTabSz="759842" rtl="0" eaLnBrk="1" latinLnBrk="0" hangingPunct="1">
        <a:defRPr sz="1467" kern="1200">
          <a:solidFill>
            <a:schemeClr val="tx1"/>
          </a:solidFill>
          <a:latin typeface="+mn-lt"/>
          <a:ea typeface="+mn-ea"/>
          <a:cs typeface="+mn-cs"/>
        </a:defRPr>
      </a:lvl4pPr>
      <a:lvl5pPr marL="1519685" algn="l" defTabSz="759842" rtl="0" eaLnBrk="1" latinLnBrk="0" hangingPunct="1">
        <a:defRPr sz="1467" kern="1200">
          <a:solidFill>
            <a:schemeClr val="tx1"/>
          </a:solidFill>
          <a:latin typeface="+mn-lt"/>
          <a:ea typeface="+mn-ea"/>
          <a:cs typeface="+mn-cs"/>
        </a:defRPr>
      </a:lvl5pPr>
      <a:lvl6pPr marL="1899607" algn="l" defTabSz="759842" rtl="0" eaLnBrk="1" latinLnBrk="0" hangingPunct="1">
        <a:defRPr sz="1467" kern="1200">
          <a:solidFill>
            <a:schemeClr val="tx1"/>
          </a:solidFill>
          <a:latin typeface="+mn-lt"/>
          <a:ea typeface="+mn-ea"/>
          <a:cs typeface="+mn-cs"/>
        </a:defRPr>
      </a:lvl6pPr>
      <a:lvl7pPr marL="2279528" algn="l" defTabSz="759842" rtl="0" eaLnBrk="1" latinLnBrk="0" hangingPunct="1">
        <a:defRPr sz="1467" kern="1200">
          <a:solidFill>
            <a:schemeClr val="tx1"/>
          </a:solidFill>
          <a:latin typeface="+mn-lt"/>
          <a:ea typeface="+mn-ea"/>
          <a:cs typeface="+mn-cs"/>
        </a:defRPr>
      </a:lvl7pPr>
      <a:lvl8pPr marL="2659449" algn="l" defTabSz="759842" rtl="0" eaLnBrk="1" latinLnBrk="0" hangingPunct="1">
        <a:defRPr sz="1467" kern="1200">
          <a:solidFill>
            <a:schemeClr val="tx1"/>
          </a:solidFill>
          <a:latin typeface="+mn-lt"/>
          <a:ea typeface="+mn-ea"/>
          <a:cs typeface="+mn-cs"/>
        </a:defRPr>
      </a:lvl8pPr>
      <a:lvl9pPr marL="3039371" algn="l" defTabSz="759842" rtl="0" eaLnBrk="1" latinLnBrk="0" hangingPunct="1">
        <a:defRPr sz="146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326">
          <p15:clr>
            <a:srgbClr val="C35EA4"/>
          </p15:clr>
        </p15:guide>
        <p15:guide id="17" pos="26328">
          <p15:clr>
            <a:srgbClr val="C35EA4"/>
          </p15:clr>
        </p15:guide>
        <p15:guide id="25" orient="horz" pos="1082">
          <p15:clr>
            <a:srgbClr val="C35EA4"/>
          </p15:clr>
        </p15:guide>
        <p15:guide id="26" orient="horz" pos="11584">
          <p15:clr>
            <a:srgbClr val="C35EA4"/>
          </p15:clr>
        </p15:guide>
        <p15:guide id="27" orient="horz" pos="540">
          <p15:clr>
            <a:srgbClr val="A4A3A4"/>
          </p15:clr>
        </p15:guide>
        <p15:guide id="28" pos="666">
          <p15:clr>
            <a:srgbClr val="A4A3A4"/>
          </p15:clr>
        </p15:guide>
        <p15:guide id="29" orient="horz" pos="12129">
          <p15:clr>
            <a:srgbClr val="A4A3A4"/>
          </p15:clr>
        </p15:guide>
        <p15:guide id="30" pos="26982">
          <p15:clr>
            <a:srgbClr val="A4A3A4"/>
          </p15:clr>
        </p15:guide>
        <p15:guide id="31" orient="horz" pos="11757">
          <p15:clr>
            <a:srgbClr val="F26B43"/>
          </p15:clr>
        </p15:guide>
        <p15:guide id="32" pos="2569">
          <p15:clr>
            <a:srgbClr val="9FCC3B"/>
          </p15:clr>
        </p15:guide>
        <p15:guide id="33" pos="25079">
          <p15:clr>
            <a:srgbClr val="9FCC3B"/>
          </p15:clr>
        </p15:guide>
        <p15:guide id="34" pos="23999">
          <p15:clr>
            <a:srgbClr val="C35EA4"/>
          </p15:clr>
        </p15:guide>
        <p15:guide id="35" pos="24551">
          <p15:clr>
            <a:srgbClr val="A4A3A4"/>
          </p15:clr>
        </p15:guide>
        <p15:guide id="36" pos="3649">
          <p15:clr>
            <a:srgbClr val="C35EA4"/>
          </p15:clr>
        </p15:guide>
        <p15:guide id="37" pos="3097">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580311"/>
            <a:ext cx="11018520" cy="430887"/>
          </a:xfrm>
          <a:prstGeom prst="rect">
            <a:avLst/>
          </a:prstGeom>
          <a:noFill/>
        </p:spPr>
        <p:txBody>
          <a:bodyPr vert="horz" wrap="square" lIns="0" tIns="0" rIns="0" bIns="0" rtlCol="0" anchor="b" anchorCtr="0">
            <a:noAutofit/>
          </a:bodyPr>
          <a:lstStyle/>
          <a:p>
            <a:pPr lvl="0"/>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5" name="Graphic 4">
            <a:extLst>
              <a:ext uri="{FF2B5EF4-FFF2-40B4-BE49-F238E27FC236}">
                <a16:creationId xmlns:a16="http://schemas.microsoft.com/office/drawing/2014/main" id="{FD0A04DA-4C2F-74A6-1E51-7838E3F55135}"/>
              </a:ext>
            </a:extLst>
          </p:cNvPr>
          <p:cNvPicPr>
            <a:picLocks noChangeAspect="1"/>
          </p:cNvPicPr>
          <p:nvPr userDrawn="1"/>
        </p:nvPicPr>
        <p:blipFill>
          <a:blip r:embed="rId94">
            <a:extLst>
              <a:ext uri="{28A0092B-C50C-407E-A947-70E740481C1C}">
                <a14:useLocalDpi xmlns:a14="http://schemas.microsoft.com/office/drawing/2010/main" val="0"/>
              </a:ext>
              <a:ext uri="{96DAC541-7B7A-43D3-8B79-37D633B846F1}">
                <asvg:svgBlip xmlns:asvg="http://schemas.microsoft.com/office/drawing/2016/SVG/main" r:embed="rId95"/>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799337918"/>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 id="2147484153" r:id="rId22"/>
    <p:sldLayoutId id="2147484154" r:id="rId23"/>
    <p:sldLayoutId id="2147484155" r:id="rId24"/>
    <p:sldLayoutId id="2147484156" r:id="rId25"/>
    <p:sldLayoutId id="2147484157" r:id="rId26"/>
    <p:sldLayoutId id="2147484158" r:id="rId27"/>
    <p:sldLayoutId id="2147484159" r:id="rId28"/>
    <p:sldLayoutId id="2147484160" r:id="rId29"/>
    <p:sldLayoutId id="2147484161" r:id="rId30"/>
    <p:sldLayoutId id="2147484162" r:id="rId31"/>
    <p:sldLayoutId id="2147484163" r:id="rId32"/>
    <p:sldLayoutId id="2147484164" r:id="rId33"/>
    <p:sldLayoutId id="2147484165" r:id="rId34"/>
    <p:sldLayoutId id="2147484166" r:id="rId35"/>
    <p:sldLayoutId id="2147484167" r:id="rId36"/>
    <p:sldLayoutId id="2147484168" r:id="rId37"/>
    <p:sldLayoutId id="2147484169" r:id="rId38"/>
    <p:sldLayoutId id="2147484170" r:id="rId39"/>
    <p:sldLayoutId id="2147484171" r:id="rId40"/>
    <p:sldLayoutId id="2147484172" r:id="rId41"/>
    <p:sldLayoutId id="2147484173" r:id="rId42"/>
    <p:sldLayoutId id="2147484174" r:id="rId43"/>
    <p:sldLayoutId id="2147484175" r:id="rId44"/>
    <p:sldLayoutId id="2147484176" r:id="rId45"/>
    <p:sldLayoutId id="2147484177" r:id="rId46"/>
    <p:sldLayoutId id="2147484178" r:id="rId47"/>
    <p:sldLayoutId id="2147484179" r:id="rId48"/>
    <p:sldLayoutId id="2147484180" r:id="rId49"/>
    <p:sldLayoutId id="2147484181" r:id="rId50"/>
    <p:sldLayoutId id="2147484182" r:id="rId51"/>
    <p:sldLayoutId id="2147484183" r:id="rId52"/>
    <p:sldLayoutId id="2147484184" r:id="rId53"/>
    <p:sldLayoutId id="2147484185" r:id="rId54"/>
    <p:sldLayoutId id="2147484186" r:id="rId55"/>
    <p:sldLayoutId id="2147484187" r:id="rId56"/>
    <p:sldLayoutId id="2147484188" r:id="rId57"/>
    <p:sldLayoutId id="2147484189" r:id="rId58"/>
    <p:sldLayoutId id="2147484190" r:id="rId59"/>
    <p:sldLayoutId id="2147484191" r:id="rId60"/>
    <p:sldLayoutId id="2147484192" r:id="rId61"/>
    <p:sldLayoutId id="2147484193" r:id="rId62"/>
    <p:sldLayoutId id="2147484194" r:id="rId63"/>
    <p:sldLayoutId id="2147484195" r:id="rId64"/>
    <p:sldLayoutId id="2147484196" r:id="rId65"/>
    <p:sldLayoutId id="2147484197" r:id="rId66"/>
    <p:sldLayoutId id="2147484198" r:id="rId67"/>
    <p:sldLayoutId id="2147484199" r:id="rId68"/>
    <p:sldLayoutId id="2147484200" r:id="rId69"/>
    <p:sldLayoutId id="2147484201" r:id="rId70"/>
    <p:sldLayoutId id="2147484202" r:id="rId71"/>
    <p:sldLayoutId id="2147484203" r:id="rId72"/>
    <p:sldLayoutId id="2147484204" r:id="rId73"/>
    <p:sldLayoutId id="2147484205" r:id="rId74"/>
    <p:sldLayoutId id="2147484206" r:id="rId75"/>
    <p:sldLayoutId id="2147484207" r:id="rId76"/>
    <p:sldLayoutId id="2147484208" r:id="rId77"/>
    <p:sldLayoutId id="2147484209" r:id="rId78"/>
    <p:sldLayoutId id="2147484210" r:id="rId79"/>
    <p:sldLayoutId id="2147484211" r:id="rId80"/>
    <p:sldLayoutId id="2147484212" r:id="rId81"/>
    <p:sldLayoutId id="2147484213" r:id="rId82"/>
    <p:sldLayoutId id="2147484214" r:id="rId83"/>
    <p:sldLayoutId id="2147484215" r:id="rId84"/>
    <p:sldLayoutId id="2147484216" r:id="rId85"/>
    <p:sldLayoutId id="2147484217" r:id="rId86"/>
    <p:sldLayoutId id="2147484218" r:id="rId87"/>
    <p:sldLayoutId id="2147484219" r:id="rId88"/>
    <p:sldLayoutId id="2147484220" r:id="rId89"/>
    <p:sldLayoutId id="2147484221" r:id="rId90"/>
    <p:sldLayoutId id="2147484316" r:id="rId91"/>
    <p:sldLayoutId id="2147484317" r:id="rId92"/>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a:ln w="3175">
            <a:noFill/>
          </a:ln>
          <a:gradFill>
            <a:gsLst>
              <a:gs pos="21000">
                <a:schemeClr val="accent1"/>
              </a:gs>
              <a:gs pos="100000">
                <a:schemeClr val="accent3"/>
              </a:gs>
            </a:gsLst>
            <a:lin ang="2400000" scaled="0"/>
          </a:gradFill>
          <a:effectLst/>
          <a:latin typeface="Segoe UI Semibold" panose="020B0702040204020203" pitchFamily="34" charset="0"/>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rot="5400000">
            <a:off x="10097704" y="2163762"/>
            <a:ext cx="5409405" cy="1081881"/>
          </a:xfrm>
          <a:prstGeom prst="rect">
            <a:avLst/>
          </a:prstGeom>
        </p:spPr>
      </p:pic>
    </p:spTree>
    <p:extLst>
      <p:ext uri="{BB962C8B-B14F-4D97-AF65-F5344CB8AC3E}">
        <p14:creationId xmlns:p14="http://schemas.microsoft.com/office/powerpoint/2010/main" val="328080717"/>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30" r:id="rId11"/>
    <p:sldLayoutId id="2147484331" r:id="rId12"/>
    <p:sldLayoutId id="2147484332" r:id="rId13"/>
    <p:sldLayoutId id="2147484333" r:id="rId14"/>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5216" y="1011217"/>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61728073"/>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 id="2147484354" r:id="rId19"/>
    <p:sldLayoutId id="2147484355" r:id="rId20"/>
    <p:sldLayoutId id="2147484356" r:id="rId21"/>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2.png"/><Relationship Id="rId7" Type="http://schemas.openxmlformats.org/officeDocument/2006/relationships/image" Target="../media/image57.jpeg"/><Relationship Id="rId2" Type="http://schemas.openxmlformats.org/officeDocument/2006/relationships/notesSlide" Target="../notesSlides/notesSlide1.xml"/><Relationship Id="rId1" Type="http://schemas.openxmlformats.org/officeDocument/2006/relationships/slideLayout" Target="../slideLayouts/slideLayout17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3.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90.png"/><Relationship Id="rId4" Type="http://schemas.openxmlformats.org/officeDocument/2006/relationships/hyperlink" Target="https://commons.wikimedia.org/wiki/Category:Microsoft_SharePoint"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15.xml"/><Relationship Id="rId7" Type="http://schemas.openxmlformats.org/officeDocument/2006/relationships/image" Target="../media/image94.sv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 Id="rId9" Type="http://schemas.openxmlformats.org/officeDocument/2006/relationships/image" Target="../media/image96.sv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1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sv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1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40.png"/><Relationship Id="rId7" Type="http://schemas.openxmlformats.org/officeDocument/2006/relationships/image" Target="../media/image103.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02.png"/><Relationship Id="rId5" Type="http://schemas.openxmlformats.org/officeDocument/2006/relationships/image" Target="../media/image101.png"/><Relationship Id="rId4" Type="http://schemas.microsoft.com/office/2007/relationships/hdphoto" Target="../media/hdphoto3.wdp"/><Relationship Id="rId9" Type="http://schemas.openxmlformats.org/officeDocument/2006/relationships/image" Target="../media/image105.png"/></Relationships>
</file>

<file path=ppt/slides/_rels/slide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183.xml"/><Relationship Id="rId4" Type="http://schemas.openxmlformats.org/officeDocument/2006/relationships/image" Target="../media/image58.jpeg"/></Relationships>
</file>

<file path=ppt/slides/_rels/slide2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 Target="slide27.xml"/><Relationship Id="rId7" Type="http://schemas.openxmlformats.org/officeDocument/2006/relationships/image" Target="../media/image109.sv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108.png"/><Relationship Id="rId5" Type="http://schemas.openxmlformats.org/officeDocument/2006/relationships/slide" Target="slide51.xml"/><Relationship Id="rId4" Type="http://schemas.openxmlformats.org/officeDocument/2006/relationships/slide" Target="slide4.xml"/></Relationships>
</file>

<file path=ppt/slides/_rels/slide23.xml.rels><?xml version="1.0" encoding="UTF-8" standalone="yes"?>
<Relationships xmlns="http://schemas.openxmlformats.org/package/2006/relationships"><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25.xml.rels><?xml version="1.0" encoding="UTF-8" standalone="yes"?>
<Relationships xmlns="http://schemas.openxmlformats.org/package/2006/relationships"><Relationship Id="rId3" Type="http://schemas.openxmlformats.org/officeDocument/2006/relationships/hyperlink" Target="https://learn.microsoft.com/en-us/SharePoint/microsoft-365-pay-as-you-go-pricing" TargetMode="External"/><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116.png"/></Relationships>
</file>

<file path=ppt/slides/_rels/slide27.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5.xml"/></Relationships>
</file>

<file path=ppt/slides/_rels/slide30.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89.png"/><Relationship Id="rId7" Type="http://schemas.openxmlformats.org/officeDocument/2006/relationships/image" Target="../media/image12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19.png"/><Relationship Id="rId5" Type="http://schemas.openxmlformats.org/officeDocument/2006/relationships/image" Target="../media/image90.png"/><Relationship Id="rId4" Type="http://schemas.openxmlformats.org/officeDocument/2006/relationships/hyperlink" Target="https://commons.wikimedia.org/wiki/Category:Microsoft_SharePoint" TargetMode="External"/><Relationship Id="rId9" Type="http://schemas.openxmlformats.org/officeDocument/2006/relationships/image" Target="../media/image122.png"/></Relationships>
</file>

<file path=ppt/slides/_rels/slide3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124.png"/><Relationship Id="rId4" Type="http://schemas.openxmlformats.org/officeDocument/2006/relationships/image" Target="../media/image123.png"/></Relationships>
</file>

<file path=ppt/slides/_rels/slide32.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33.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svg"/><Relationship Id="rId7" Type="http://schemas.openxmlformats.org/officeDocument/2006/relationships/image" Target="../media/image136.svg"/><Relationship Id="rId2" Type="http://schemas.openxmlformats.org/officeDocument/2006/relationships/image" Target="../media/image131.png"/><Relationship Id="rId1" Type="http://schemas.openxmlformats.org/officeDocument/2006/relationships/slideLayout" Target="../slideLayouts/slideLayout2.xml"/><Relationship Id="rId6" Type="http://schemas.openxmlformats.org/officeDocument/2006/relationships/image" Target="../media/image135.png"/><Relationship Id="rId11" Type="http://schemas.openxmlformats.org/officeDocument/2006/relationships/image" Target="../media/image140.svg"/><Relationship Id="rId5" Type="http://schemas.openxmlformats.org/officeDocument/2006/relationships/image" Target="../media/image134.sv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5.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1.png"/><Relationship Id="rId7" Type="http://schemas.openxmlformats.org/officeDocument/2006/relationships/image" Target="../media/image144.svg"/><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65.png"/><Relationship Id="rId9" Type="http://schemas.openxmlformats.org/officeDocument/2006/relationships/image" Target="../media/image146.svg"/></Relationships>
</file>

<file path=ppt/slides/_rels/slide36.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89.png"/><Relationship Id="rId7" Type="http://schemas.openxmlformats.org/officeDocument/2006/relationships/image" Target="../media/image147.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22.png"/><Relationship Id="rId11" Type="http://schemas.openxmlformats.org/officeDocument/2006/relationships/image" Target="../media/image151.png"/><Relationship Id="rId5" Type="http://schemas.openxmlformats.org/officeDocument/2006/relationships/image" Target="../media/image90.png"/><Relationship Id="rId10" Type="http://schemas.openxmlformats.org/officeDocument/2006/relationships/image" Target="../media/image150.png"/><Relationship Id="rId4" Type="http://schemas.openxmlformats.org/officeDocument/2006/relationships/hyperlink" Target="https://commons.wikimedia.org/wiki/Category:Microsoft_SharePoint" TargetMode="External"/><Relationship Id="rId9" Type="http://schemas.openxmlformats.org/officeDocument/2006/relationships/image" Target="../media/image149.jpeg"/></Relationships>
</file>

<file path=ppt/slides/_rels/slide37.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2.png"/><Relationship Id="rId7" Type="http://schemas.openxmlformats.org/officeDocument/2006/relationships/image" Target="../media/image156.sv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55.png"/><Relationship Id="rId5" Type="http://schemas.openxmlformats.org/officeDocument/2006/relationships/image" Target="../media/image154.png"/><Relationship Id="rId10" Type="http://schemas.openxmlformats.org/officeDocument/2006/relationships/image" Target="../media/image159.png"/><Relationship Id="rId4" Type="http://schemas.openxmlformats.org/officeDocument/2006/relationships/image" Target="../media/image153.svg"/><Relationship Id="rId9" Type="http://schemas.openxmlformats.org/officeDocument/2006/relationships/image" Target="../media/image158.png"/></Relationships>
</file>

<file path=ppt/slides/_rels/slide38.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35.png"/><Relationship Id="rId7" Type="http://schemas.openxmlformats.org/officeDocument/2006/relationships/image" Target="../media/image162.png"/><Relationship Id="rId12" Type="http://schemas.openxmlformats.org/officeDocument/2006/relationships/image" Target="../media/image167.sv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61.sv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svg"/><Relationship Id="rId4" Type="http://schemas.openxmlformats.org/officeDocument/2006/relationships/image" Target="../media/image136.svg"/><Relationship Id="rId9" Type="http://schemas.openxmlformats.org/officeDocument/2006/relationships/image" Target="../media/image1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notesSlide" Target="../notesSlides/notesSlide4.xml"/><Relationship Id="rId1" Type="http://schemas.openxmlformats.org/officeDocument/2006/relationships/slideLayout" Target="../slideLayouts/slideLayout175.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 Id="rId14" Type="http://schemas.openxmlformats.org/officeDocument/2006/relationships/image" Target="../media/image70.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6.xml"/><Relationship Id="rId1" Type="http://schemas.openxmlformats.org/officeDocument/2006/relationships/slideLayout" Target="../slideLayouts/slideLayout175.xml"/></Relationships>
</file>

<file path=ppt/slides/_rels/slide42.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hyperlink" Target="https://aka.ms/Copilot/AgentOverviewGuide" TargetMode="External"/><Relationship Id="rId2" Type="http://schemas.openxmlformats.org/officeDocument/2006/relationships/notesSlide" Target="../notesSlides/notesSlide37.xml"/><Relationship Id="rId1" Type="http://schemas.openxmlformats.org/officeDocument/2006/relationships/slideLayout" Target="../slideLayouts/slideLayout175.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image" Target="../media/image170.png"/></Relationships>
</file>

<file path=ppt/slides/_rels/slide43.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8.xml"/><Relationship Id="rId1" Type="http://schemas.openxmlformats.org/officeDocument/2006/relationships/slideLayout" Target="../slideLayouts/slideLayout175.xml"/><Relationship Id="rId6" Type="http://schemas.openxmlformats.org/officeDocument/2006/relationships/hyperlink" Target="https://www.microsoft.com/en-us/power-platform/blog/it-pro/confidently-adopt-and-administer-microsoft-copilot-studio-with-managed-security-and-governance/" TargetMode="External"/><Relationship Id="rId5" Type="http://schemas.openxmlformats.org/officeDocument/2006/relationships/hyperlink" Target="https://www.microsoft.com/en-us/microsoft-copilot/blog/?p=4317&amp;post_type=copilot&amp;preview=1&amp;_ppp=709e908dea" TargetMode="External"/><Relationship Id="rId4" Type="http://schemas.openxmlformats.org/officeDocument/2006/relationships/hyperlink" Target="https://aka.ms/Copilot/ITControlsGuide"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adoption.microsoft.com/en-us/copilot-scenario-library/" TargetMode="External"/><Relationship Id="rId7" Type="http://schemas.openxmlformats.org/officeDocument/2006/relationships/image" Target="../media/image177.png"/><Relationship Id="rId2" Type="http://schemas.openxmlformats.org/officeDocument/2006/relationships/notesSlide" Target="../notesSlides/notesSlide39.xml"/><Relationship Id="rId1" Type="http://schemas.openxmlformats.org/officeDocument/2006/relationships/slideLayout" Target="../slideLayouts/slideLayout175.xml"/><Relationship Id="rId6" Type="http://schemas.openxmlformats.org/officeDocument/2006/relationships/image" Target="../media/image176.png"/><Relationship Id="rId5" Type="http://schemas.openxmlformats.org/officeDocument/2006/relationships/image" Target="../media/image175.png"/><Relationship Id="rId4" Type="http://schemas.openxmlformats.org/officeDocument/2006/relationships/image" Target="../media/image174.png"/></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175.xml"/><Relationship Id="rId6" Type="http://schemas.openxmlformats.org/officeDocument/2006/relationships/hyperlink" Target="https://aka.ms/unified" TargetMode="External"/><Relationship Id="rId5" Type="http://schemas.openxmlformats.org/officeDocument/2006/relationships/hyperlink" Target="https://aka.ms/AMC/FASTTRACK" TargetMode="External"/><Relationship Id="rId4" Type="http://schemas.openxmlformats.org/officeDocument/2006/relationships/hyperlink" Target="https://cloudpartners.transform.microsoft.com/copilot-directory"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78.jpeg"/><Relationship Id="rId7" Type="http://schemas.openxmlformats.org/officeDocument/2006/relationships/hyperlink" Target="https://aka.ms/AgentGovernanceSupportEngagement" TargetMode="External"/><Relationship Id="rId2" Type="http://schemas.openxmlformats.org/officeDocument/2006/relationships/notesSlide" Target="../notesSlides/notesSlide41.xml"/><Relationship Id="rId1" Type="http://schemas.openxmlformats.org/officeDocument/2006/relationships/slideLayout" Target="../slideLayouts/slideLayout176.xml"/><Relationship Id="rId6" Type="http://schemas.openxmlformats.org/officeDocument/2006/relationships/image" Target="../media/image179.png"/><Relationship Id="rId5" Type="http://schemas.openxmlformats.org/officeDocument/2006/relationships/hyperlink" Target="https://adoption.microsoft.com/en-us/customer-hub/microsoft-365-copilot-extensibility/" TargetMode="External"/><Relationship Id="rId4" Type="http://schemas.openxmlformats.org/officeDocument/2006/relationships/hyperlink" Target="https://livesend.microsoft.com/i/tLyd6yLz8kVOchxThtPN4ayOvmMn1QPLUSSIGNBDTOJjytOh22___KP1VMsSySlvzA0eoJrFNNYaPLUSSIGNCdeMyfyjC2D0m4sE4KwE5l9S97RXhTAVw07PgczEn3qcKvPphMyHRDrbspCX"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s://microsoftapc.sharepoint.com/:p:/t/COECopilotExtensibility/EcLMq6LF-gxLnaO7wEUPXCsBfhM9J2HV5u-B8Wuly27LmQ?e=WhFbxR&amp;xsdata=MDV8MDJ8fDYwZDU2ZGE4NGM1MjQyNWFhZGYwMDhkY2VlZTJmYTkzfDcyZjk4OGJmODZmMTQxYWY5MWFiMmQ3Y2QwMTFkYjQ3fDB8MHw2Mzg2NDc5MDU4MTM5MjU5NjV8VW5rbm93bnxWR1ZoYlhOVFpXTjFjbWwwZVZObGNuWnBZMlY4ZXlKV0lqb2lNQzR3TGpBd01EQWlMQ0pRSWpvaVYybHVNeklpTENKQlRpSTZJazkwYUdWeUlpd2lWMVFpT2pFeGZRPT18MXxMMk5vWVhSekx6RTVPalJtT1Rjd01HRTBMV1l4T1dRdE5HSmxOaTFoTkRnMkxXRm1ORFkyTURJMVpqQTVNbDg1WWpreFpXTmhaaTAxWmpoaExUUmhNVEl0WVRsak9TMDFNV0UxTW1NeU5qVm1OamxBZFc1eExtZGliQzV6Y0dGalpYTXZiV1Z6YzJGblpYTXZNVGN5T1RFNU16WTVNVGt4T1E9PXw3MDYzMDc5ZmNiMjQ0YmU2YWRmMDA4ZGNlZWUyZmE5M3wwZjk0MjY5ZWQyMGU0NDA4OGUwMzkyNTU0M2ZmN2Y4Yw%3D%3D&amp;sdata=QWppVHhPbGRMeWZPaG13NGU4bjBQeDJybW8ycHMvTzBpRlRScXJtcXRVcz0%3D&amp;ovuser=72f988bf-86f1-41af-91ab-2d7cd011db47%2Cjyrathod%40microsoft.com" TargetMode="External"/><Relationship Id="rId2" Type="http://schemas.openxmlformats.org/officeDocument/2006/relationships/notesSlide" Target="../notesSlides/notesSlide42.xml"/><Relationship Id="rId1" Type="http://schemas.openxmlformats.org/officeDocument/2006/relationships/slideLayout" Target="../slideLayouts/slideLayout174.xml"/><Relationship Id="rId4" Type="http://schemas.openxmlformats.org/officeDocument/2006/relationships/hyperlink" Target="https://view.officeapps.live.com/op/view.aspx?src=https%3A%2F%2Fadoption.microsoft.com%2Ffiles%2Fcopilot%2FAgentOverviewGuide.pptx&amp;wdOrigin=BROWSELINK"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74.xml"/><Relationship Id="rId6" Type="http://schemas.openxmlformats.org/officeDocument/2006/relationships/image" Target="../media/image180.jpeg"/><Relationship Id="rId5" Type="http://schemas.openxmlformats.org/officeDocument/2006/relationships/image" Target="../media/image54.png"/><Relationship Id="rId4" Type="http://schemas.openxmlformats.org/officeDocument/2006/relationships/image" Target="../media/image3.svg"/></Relationships>
</file>

<file path=ppt/slides/_rels/slide49.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4.xml"/><Relationship Id="rId1" Type="http://schemas.openxmlformats.org/officeDocument/2006/relationships/slideLayout" Target="../slideLayouts/slideLayout175.xml"/><Relationship Id="rId4" Type="http://schemas.openxmlformats.org/officeDocument/2006/relationships/hyperlink" Target="https://aka.ms/CustomerHubSurvey"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55.png"/><Relationship Id="rId7" Type="http://schemas.openxmlformats.org/officeDocument/2006/relationships/image" Target="../media/image74.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 Id="rId9" Type="http://schemas.openxmlformats.org/officeDocument/2006/relationships/image" Target="../media/image76.svg"/></Relationships>
</file>

<file path=ppt/slides/_rels/slide50.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5.xml"/><Relationship Id="rId1" Type="http://schemas.openxmlformats.org/officeDocument/2006/relationships/slideLayout" Target="../slideLayouts/slideLayout176.xml"/><Relationship Id="rId5" Type="http://schemas.openxmlformats.org/officeDocument/2006/relationships/hyperlink" Target="https://forms.office.com/Pages/ResponsePage.aspx?id=v4j5cvGGr0GRqy180BHbR0lHxBK8SjFAqXTJyV1ZGxJUMExVOUk0V1BGVjYwWklVQzhHTTBNUkZVOS4u" TargetMode="External"/><Relationship Id="rId4" Type="http://schemas.openxmlformats.org/officeDocument/2006/relationships/hyperlink" Target="../../April/Archive/Get%20Started%20with%20Agents/aka.ms/KPMG_Microsoft365Copilot" TargetMode="External"/></Relationships>
</file>

<file path=ppt/slides/_rels/slide51.xml.rels><?xml version="1.0" encoding="UTF-8" standalone="yes"?>
<Relationships xmlns="http://schemas.openxmlformats.org/package/2006/relationships"><Relationship Id="rId2" Type="http://schemas.openxmlformats.org/officeDocument/2006/relationships/image" Target="../media/image183.jpeg"/><Relationship Id="rId1" Type="http://schemas.openxmlformats.org/officeDocument/2006/relationships/slideLayout" Target="../slideLayouts/slideLayout175.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175.xml"/><Relationship Id="rId5" Type="http://schemas.openxmlformats.org/officeDocument/2006/relationships/image" Target="../media/image184.jpeg"/><Relationship Id="rId4" Type="http://schemas.openxmlformats.org/officeDocument/2006/relationships/image" Target="../media/image3.svg"/></Relationships>
</file>

<file path=ppt/slides/_rels/slide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45CE5-C65B-A377-2EAE-60E112BE34F1}"/>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B8604054-AAA9-E67A-F3FF-9B98384231A1}"/>
              </a:ext>
            </a:extLst>
          </p:cNvPr>
          <p:cNvGrpSpPr/>
          <p:nvPr/>
        </p:nvGrpSpPr>
        <p:grpSpPr>
          <a:xfrm>
            <a:off x="0" y="0"/>
            <a:ext cx="12192000" cy="6858000"/>
            <a:chOff x="0" y="0"/>
            <a:chExt cx="12192000" cy="6858000"/>
          </a:xfrm>
        </p:grpSpPr>
        <p:sp>
          <p:nvSpPr>
            <p:cNvPr id="12" name="Rectangle 11">
              <a:extLst>
                <a:ext uri="{FF2B5EF4-FFF2-40B4-BE49-F238E27FC236}">
                  <a16:creationId xmlns:a16="http://schemas.microsoft.com/office/drawing/2014/main" id="{4F3E932C-05DE-2CD4-E36A-562D2C16C95B}"/>
                </a:ext>
              </a:extLst>
            </p:cNvPr>
            <p:cNvSpPr/>
            <p:nvPr/>
          </p:nvSpPr>
          <p:spPr bwMode="auto">
            <a:xfrm>
              <a:off x="0" y="5943600"/>
              <a:ext cx="914400" cy="914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9" name="background">
              <a:extLst>
                <a:ext uri="{FF2B5EF4-FFF2-40B4-BE49-F238E27FC236}">
                  <a16:creationId xmlns:a16="http://schemas.microsoft.com/office/drawing/2014/main" id="{BAF051A3-3CF7-3E75-BF7D-61B89B2B2AA8}"/>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sp>
            <p:nvSpPr>
              <p:cNvPr id="10" name="Rectangle 9" descr="Light Pattern: Square dots">
                <a:extLst>
                  <a:ext uri="{FF2B5EF4-FFF2-40B4-BE49-F238E27FC236}">
                    <a16:creationId xmlns:a16="http://schemas.microsoft.com/office/drawing/2014/main" id="{C0CBD08D-839A-EC79-38A0-EAEFD0E51675}"/>
                  </a:ext>
                </a:extLst>
              </p:cNvPr>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Rectangle: Rounded Corners 24" descr="Light: small container">
                <a:extLst>
                  <a:ext uri="{FF2B5EF4-FFF2-40B4-BE49-F238E27FC236}">
                    <a16:creationId xmlns:a16="http://schemas.microsoft.com/office/drawing/2014/main" id="{7EDA0932-6E70-7B69-B6EA-73BB811B024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pic>
        <p:nvPicPr>
          <p:cNvPr id="5" name="Picture 4">
            <a:extLst>
              <a:ext uri="{FF2B5EF4-FFF2-40B4-BE49-F238E27FC236}">
                <a16:creationId xmlns:a16="http://schemas.microsoft.com/office/drawing/2014/main" id="{17A7B54B-A05D-13F8-14D7-40EB2D1532A9}"/>
              </a:ext>
              <a:ext uri="{C183D7F6-B498-43B3-948B-1728B52AA6E4}">
                <adec:decorative xmlns:adec="http://schemas.microsoft.com/office/drawing/2017/decorative" val="1"/>
              </a:ext>
            </a:extLst>
          </p:cNvPr>
          <p:cNvPicPr>
            <a:picLocks/>
          </p:cNvPicPr>
          <p:nvPr/>
        </p:nvPicPr>
        <p:blipFill rotWithShape="1">
          <a:blip r:embed="rId5">
            <a:alphaModFix amt="45000"/>
          </a:blip>
          <a:srcRect l="7533" t="35613" r="65955" b="15124"/>
          <a:stretch/>
        </p:blipFill>
        <p:spPr>
          <a:xfrm>
            <a:off x="566294" y="1219201"/>
            <a:ext cx="8867991" cy="4419598"/>
          </a:xfrm>
          <a:prstGeom prst="roundRect">
            <a:avLst>
              <a:gd name="adj" fmla="val 22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2" name="Oval 61">
            <a:extLst>
              <a:ext uri="{FF2B5EF4-FFF2-40B4-BE49-F238E27FC236}">
                <a16:creationId xmlns:a16="http://schemas.microsoft.com/office/drawing/2014/main" id="{6771C54F-DB8A-876A-100F-8E77F29073B0}"/>
              </a:ext>
              <a:ext uri="{C183D7F6-B498-43B3-948B-1728B52AA6E4}">
                <adec:decorative xmlns:adec="http://schemas.microsoft.com/office/drawing/2017/decorative" val="1"/>
              </a:ext>
            </a:extLst>
          </p:cNvPr>
          <p:cNvSpPr/>
          <p:nvPr/>
        </p:nvSpPr>
        <p:spPr bwMode="auto">
          <a:xfrm>
            <a:off x="6464963" y="887621"/>
            <a:ext cx="5082758" cy="5082758"/>
          </a:xfrm>
          <a:prstGeom prst="ellipse">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pic>
        <p:nvPicPr>
          <p:cNvPr id="6" name="Picture 5">
            <a:extLst>
              <a:ext uri="{FF2B5EF4-FFF2-40B4-BE49-F238E27FC236}">
                <a16:creationId xmlns:a16="http://schemas.microsoft.com/office/drawing/2014/main" id="{91A39B89-A5C2-23F5-4672-35637F14FED2}"/>
              </a:ext>
              <a:ext uri="{C183D7F6-B498-43B3-948B-1728B52AA6E4}">
                <adec:decorative xmlns:adec="http://schemas.microsoft.com/office/drawing/2017/decorative" val="1"/>
              </a:ext>
            </a:extLst>
          </p:cNvPr>
          <p:cNvPicPr>
            <a:picLocks noChangeAspect="1"/>
          </p:cNvPicPr>
          <p:nvPr/>
        </p:nvPicPr>
        <p:blipFill>
          <a:blip r:embed="rId6">
            <a:alphaModFix amt="13000"/>
          </a:blip>
          <a:stretch>
            <a:fillRect/>
          </a:stretch>
        </p:blipFill>
        <p:spPr>
          <a:xfrm>
            <a:off x="645682" y="3225586"/>
            <a:ext cx="4685414" cy="259723"/>
          </a:xfrm>
          <a:prstGeom prst="rect">
            <a:avLst/>
          </a:prstGeom>
        </p:spPr>
      </p:pic>
      <p:sp>
        <p:nvSpPr>
          <p:cNvPr id="7" name="Title 1">
            <a:extLst>
              <a:ext uri="{FF2B5EF4-FFF2-40B4-BE49-F238E27FC236}">
                <a16:creationId xmlns:a16="http://schemas.microsoft.com/office/drawing/2014/main" id="{937A16E0-861B-60B7-097C-4F1465420D9B}"/>
              </a:ext>
            </a:extLst>
          </p:cNvPr>
          <p:cNvSpPr txBox="1">
            <a:spLocks/>
          </p:cNvSpPr>
          <p:nvPr/>
        </p:nvSpPr>
        <p:spPr>
          <a:xfrm>
            <a:off x="823708" y="1523977"/>
            <a:ext cx="4899025" cy="147796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1" i="0" kern="1200" cap="none" spc="-50" baseline="0" dirty="0" smtClean="0">
                <a:ln w="3175">
                  <a:noFill/>
                </a:ln>
                <a:solidFill>
                  <a:schemeClr val="tx2"/>
                </a:solidFill>
                <a:effectLst/>
                <a:latin typeface="+mj-lt"/>
                <a:ea typeface="+mn-ea"/>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4800" b="0" i="0" u="none" strike="noStrike" kern="1200" cap="none" spc="-50" normalizeH="0" baseline="0" noProof="0">
                <a:ln w="3175">
                  <a:noFill/>
                </a:ln>
                <a:solidFill>
                  <a:srgbClr val="000000"/>
                </a:solidFill>
                <a:effectLst/>
                <a:uLnTx/>
                <a:uFillTx/>
                <a:latin typeface="Segoe UI Semibold"/>
                <a:ea typeface="+mn-ea"/>
                <a:cs typeface="Segoe UI Semibold" panose="020B0502040204020203" pitchFamily="34" charset="0"/>
              </a:rPr>
              <a:t>Microsoft Copilot Customer Hub</a:t>
            </a:r>
          </a:p>
        </p:txBody>
      </p:sp>
      <p:sp>
        <p:nvSpPr>
          <p:cNvPr id="13" name="Text Placeholder 2">
            <a:extLst>
              <a:ext uri="{FF2B5EF4-FFF2-40B4-BE49-F238E27FC236}">
                <a16:creationId xmlns:a16="http://schemas.microsoft.com/office/drawing/2014/main" id="{43953746-8E65-45E4-74E4-5C3E0261448D}"/>
              </a:ext>
            </a:extLst>
          </p:cNvPr>
          <p:cNvSpPr txBox="1">
            <a:spLocks/>
          </p:cNvSpPr>
          <p:nvPr/>
        </p:nvSpPr>
        <p:spPr>
          <a:xfrm>
            <a:off x="693721" y="3485309"/>
            <a:ext cx="5771242" cy="8002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US"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rPr>
              <a:t>Copilot Extensibility</a:t>
            </a:r>
            <a:r>
              <a:rPr kumimoji="0" lang="en-US" b="0" i="0" u="none" strike="noStrike" kern="1200" cap="none" spc="-50" normalizeH="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rPr>
              <a:t> Series</a:t>
            </a:r>
            <a:endParaRPr lang="en-US" spc="-5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latin typeface="Segoe UI Semibold"/>
            </a:endParaRPr>
          </a:p>
          <a:p>
            <a:pPr marL="0" marR="0" lvl="0" indent="0" algn="l" defTabSz="932742" rtl="0" eaLnBrk="1" fontAlgn="auto"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Copilot Agents Overview</a:t>
            </a:r>
          </a:p>
        </p:txBody>
      </p:sp>
      <p:sp>
        <p:nvSpPr>
          <p:cNvPr id="14" name="Text Placeholder 2">
            <a:extLst>
              <a:ext uri="{FF2B5EF4-FFF2-40B4-BE49-F238E27FC236}">
                <a16:creationId xmlns:a16="http://schemas.microsoft.com/office/drawing/2014/main" id="{C22A0FE3-1B70-9C9D-4890-DDC3D3D2D621}"/>
              </a:ext>
            </a:extLst>
          </p:cNvPr>
          <p:cNvSpPr txBox="1">
            <a:spLocks/>
          </p:cNvSpPr>
          <p:nvPr/>
        </p:nvSpPr>
        <p:spPr>
          <a:xfrm>
            <a:off x="804061" y="4991049"/>
            <a:ext cx="5771242" cy="27699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May 28, 2025</a:t>
            </a:r>
          </a:p>
        </p:txBody>
      </p:sp>
      <p:pic>
        <p:nvPicPr>
          <p:cNvPr id="4" name="Picture 3" descr="A group of women looking at a computer&#10;&#10;Description automatically generated">
            <a:extLst>
              <a:ext uri="{FF2B5EF4-FFF2-40B4-BE49-F238E27FC236}">
                <a16:creationId xmlns:a16="http://schemas.microsoft.com/office/drawing/2014/main" id="{426657DC-AF4F-3B71-3CA7-C95327EC4C2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2091" t="6407" r="2723" b="6407"/>
          <a:stretch/>
        </p:blipFill>
        <p:spPr>
          <a:xfrm>
            <a:off x="6639845" y="1062505"/>
            <a:ext cx="4732995" cy="4732993"/>
          </a:xfrm>
          <a:custGeom>
            <a:avLst/>
            <a:gdLst>
              <a:gd name="connsiteX0" fmla="*/ 2366498 w 4732995"/>
              <a:gd name="connsiteY0" fmla="*/ 0 h 4732993"/>
              <a:gd name="connsiteX1" fmla="*/ 4732995 w 4732995"/>
              <a:gd name="connsiteY1" fmla="*/ 2366497 h 4732993"/>
              <a:gd name="connsiteX2" fmla="*/ 2366498 w 4732995"/>
              <a:gd name="connsiteY2" fmla="*/ 4732993 h 4732993"/>
              <a:gd name="connsiteX3" fmla="*/ 0 w 4732995"/>
              <a:gd name="connsiteY3" fmla="*/ 2366497 h 4732993"/>
              <a:gd name="connsiteX4" fmla="*/ 2366498 w 4732995"/>
              <a:gd name="connsiteY4" fmla="*/ 0 h 4732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2995" h="4732993">
                <a:moveTo>
                  <a:pt x="2366498" y="0"/>
                </a:moveTo>
                <a:cubicBezTo>
                  <a:pt x="3673477" y="0"/>
                  <a:pt x="4732995" y="1059518"/>
                  <a:pt x="4732995" y="2366497"/>
                </a:cubicBezTo>
                <a:cubicBezTo>
                  <a:pt x="4732995" y="3673478"/>
                  <a:pt x="3673477" y="4732993"/>
                  <a:pt x="2366498" y="4732993"/>
                </a:cubicBezTo>
                <a:cubicBezTo>
                  <a:pt x="1059517" y="4732993"/>
                  <a:pt x="0" y="3673478"/>
                  <a:pt x="0" y="2366497"/>
                </a:cubicBezTo>
                <a:cubicBezTo>
                  <a:pt x="0" y="1059518"/>
                  <a:pt x="1059517" y="0"/>
                  <a:pt x="2366498" y="0"/>
                </a:cubicBezTo>
                <a:close/>
              </a:path>
            </a:pathLst>
          </a:custGeom>
        </p:spPr>
      </p:pic>
      <p:pic>
        <p:nvPicPr>
          <p:cNvPr id="8"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D18D6DE7-6E0B-2C57-E1F6-042DA972503A}"/>
              </a:ext>
            </a:extLst>
          </p:cNvPr>
          <p:cNvPicPr>
            <a:picLocks noChangeAspect="1"/>
          </p:cNvPicPr>
          <p:nvPr/>
        </p:nvPicPr>
        <p:blipFill rotWithShape="1">
          <a:blip r:embed="rId8"/>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5263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par>
                                <p:cTn id="11" presetID="22" presetClass="entr" presetSubtype="4"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down)">
                                      <p:cBhvr>
                                        <p:cTn id="13" dur="500"/>
                                        <p:tgtEl>
                                          <p:spTgt spid="6"/>
                                        </p:tgtEl>
                                      </p:cBhvr>
                                    </p:animEffect>
                                  </p:childTnLst>
                                </p:cTn>
                              </p:par>
                            </p:childTnLst>
                          </p:cTn>
                        </p:par>
                        <p:par>
                          <p:cTn id="14" fill="hold">
                            <p:stCondLst>
                              <p:cond delay="500"/>
                            </p:stCondLst>
                            <p:childTnLst>
                              <p:par>
                                <p:cTn id="15" presetID="22" presetClass="entr" presetSubtype="4"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down)">
                                      <p:cBhvr>
                                        <p:cTn id="17" dur="500"/>
                                        <p:tgtEl>
                                          <p:spTgt spid="13"/>
                                        </p:tgtEl>
                                      </p:cBhvr>
                                    </p:animEffect>
                                  </p:childTnLst>
                                </p:cTn>
                              </p:par>
                            </p:childTnLst>
                          </p:cTn>
                        </p:par>
                        <p:par>
                          <p:cTn id="18" fill="hold">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wipe(down)">
                                      <p:cBhvr>
                                        <p:cTn id="21" dur="500"/>
                                        <p:tgtEl>
                                          <p:spTgt spid="14"/>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62"/>
                                        </p:tgtEl>
                                        <p:attrNameLst>
                                          <p:attrName>style.visibility</p:attrName>
                                        </p:attrNameLst>
                                      </p:cBhvr>
                                      <p:to>
                                        <p:strVal val="visible"/>
                                      </p:to>
                                    </p:set>
                                    <p:anim calcmode="lin" valueType="num">
                                      <p:cBhvr>
                                        <p:cTn id="24" dur="500" fill="hold"/>
                                        <p:tgtEl>
                                          <p:spTgt spid="62"/>
                                        </p:tgtEl>
                                        <p:attrNameLst>
                                          <p:attrName>ppt_w</p:attrName>
                                        </p:attrNameLst>
                                      </p:cBhvr>
                                      <p:tavLst>
                                        <p:tav tm="0">
                                          <p:val>
                                            <p:fltVal val="0"/>
                                          </p:val>
                                        </p:tav>
                                        <p:tav tm="100000">
                                          <p:val>
                                            <p:strVal val="#ppt_w"/>
                                          </p:val>
                                        </p:tav>
                                      </p:tavLst>
                                    </p:anim>
                                    <p:anim calcmode="lin" valueType="num">
                                      <p:cBhvr>
                                        <p:cTn id="25" dur="500" fill="hold"/>
                                        <p:tgtEl>
                                          <p:spTgt spid="62"/>
                                        </p:tgtEl>
                                        <p:attrNameLst>
                                          <p:attrName>ppt_h</p:attrName>
                                        </p:attrNameLst>
                                      </p:cBhvr>
                                      <p:tavLst>
                                        <p:tav tm="0">
                                          <p:val>
                                            <p:fltVal val="0"/>
                                          </p:val>
                                        </p:tav>
                                        <p:tav tm="100000">
                                          <p:val>
                                            <p:strVal val="#ppt_h"/>
                                          </p:val>
                                        </p:tav>
                                      </p:tavLst>
                                    </p:anim>
                                    <p:animEffect transition="in" filter="fade">
                                      <p:cBhvr>
                                        <p:cTn id="26" dur="500"/>
                                        <p:tgtEl>
                                          <p:spTgt spid="62"/>
                                        </p:tgtEl>
                                      </p:cBhvr>
                                    </p:animEffect>
                                  </p:childTnLst>
                                </p:cTn>
                              </p:par>
                              <p:par>
                                <p:cTn id="27" presetID="53" presetClass="entr" presetSubtype="16"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500" fill="hold"/>
                                        <p:tgtEl>
                                          <p:spTgt spid="4"/>
                                        </p:tgtEl>
                                        <p:attrNameLst>
                                          <p:attrName>ppt_w</p:attrName>
                                        </p:attrNameLst>
                                      </p:cBhvr>
                                      <p:tavLst>
                                        <p:tav tm="0">
                                          <p:val>
                                            <p:fltVal val="0"/>
                                          </p:val>
                                        </p:tav>
                                        <p:tav tm="100000">
                                          <p:val>
                                            <p:strVal val="#ppt_w"/>
                                          </p:val>
                                        </p:tav>
                                      </p:tavLst>
                                    </p:anim>
                                    <p:anim calcmode="lin" valueType="num">
                                      <p:cBhvr>
                                        <p:cTn id="30" dur="500" fill="hold"/>
                                        <p:tgtEl>
                                          <p:spTgt spid="4"/>
                                        </p:tgtEl>
                                        <p:attrNameLst>
                                          <p:attrName>ppt_h</p:attrName>
                                        </p:attrNameLst>
                                      </p:cBhvr>
                                      <p:tavLst>
                                        <p:tav tm="0">
                                          <p:val>
                                            <p:fltVal val="0"/>
                                          </p:val>
                                        </p:tav>
                                        <p:tav tm="100000">
                                          <p:val>
                                            <p:strVal val="#ppt_h"/>
                                          </p:val>
                                        </p:tav>
                                      </p:tavLst>
                                    </p:anim>
                                    <p:animEffect transition="in" filter="fade">
                                      <p:cBhvr>
                                        <p:cTn id="3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7" grpId="0"/>
      <p:bldP spid="13" grpId="0"/>
      <p:bldP spid="1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C0D6B780-DAC5-23DC-A004-13926F4BBDAD}"/>
              </a:ext>
              <a:ext uri="{C183D7F6-B498-43B3-948B-1728B52AA6E4}">
                <adec:decorative xmlns:adec="http://schemas.microsoft.com/office/drawing/2017/decorative" val="1"/>
              </a:ext>
            </a:extLst>
          </p:cNvPr>
          <p:cNvSpPr/>
          <p:nvPr/>
        </p:nvSpPr>
        <p:spPr bwMode="auto">
          <a:xfrm>
            <a:off x="781877" y="1394533"/>
            <a:ext cx="10628245" cy="4509397"/>
          </a:xfrm>
          <a:prstGeom prst="roundRect">
            <a:avLst>
              <a:gd name="adj" fmla="val 683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defTabSz="914367"/>
            <a:endParaRPr lang="en-US" kern="0">
              <a:solidFill>
                <a:srgbClr val="000000"/>
              </a:solidFill>
              <a:latin typeface="Segoe UI"/>
              <a:cs typeface="Segoe UI"/>
            </a:endParaRPr>
          </a:p>
        </p:txBody>
      </p:sp>
      <p:sp>
        <p:nvSpPr>
          <p:cNvPr id="12" name="TextBox 11">
            <a:extLst>
              <a:ext uri="{FF2B5EF4-FFF2-40B4-BE49-F238E27FC236}">
                <a16:creationId xmlns:a16="http://schemas.microsoft.com/office/drawing/2014/main" id="{C8789482-280C-BEA3-AA8C-1BAC20DD64F9}"/>
              </a:ext>
            </a:extLst>
          </p:cNvPr>
          <p:cNvSpPr txBox="1"/>
          <p:nvPr/>
        </p:nvSpPr>
        <p:spPr>
          <a:xfrm>
            <a:off x="383420" y="6107024"/>
            <a:ext cx="11483480" cy="615553"/>
          </a:xfrm>
          <a:prstGeom prst="rect">
            <a:avLst/>
          </a:prstGeom>
          <a:noFill/>
        </p:spPr>
        <p:txBody>
          <a:bodyPr wrap="square" lIns="0" tIns="0" rIns="0" bIns="0" rtlCol="0">
            <a:spAutoFit/>
          </a:bodyPr>
          <a:lstStyle/>
          <a:p>
            <a:r>
              <a:rPr lang="en-US" sz="1000" b="1">
                <a:solidFill>
                  <a:schemeClr val="tx1">
                    <a:lumMod val="65000"/>
                    <a:lumOff val="35000"/>
                  </a:schemeClr>
                </a:solidFill>
                <a:latin typeface="Segoe UI Semilight" panose="020B0402040204020203" pitchFamily="34" charset="0"/>
                <a:cs typeface="Segoe UI Semilight" panose="020B0402040204020203" pitchFamily="34" charset="0"/>
              </a:rPr>
              <a:t>Notes</a:t>
            </a:r>
          </a:p>
          <a:p>
            <a:pPr marL="228600" indent="-228600">
              <a:buAutoNum type="arabicPeriod"/>
            </a:pPr>
            <a:r>
              <a:rPr lang="en-US" sz="1000">
                <a:solidFill>
                  <a:schemeClr val="tx1">
                    <a:lumMod val="65000"/>
                    <a:lumOff val="35000"/>
                  </a:schemeClr>
                </a:solidFill>
                <a:latin typeface="Segoe UI Semilight" panose="020B0402040204020203" pitchFamily="34" charset="0"/>
                <a:cs typeface="Segoe UI Semilight" panose="020B0402040204020203" pitchFamily="34" charset="0"/>
              </a:rPr>
              <a:t>Each interaction with an agent could utilize multiple utilization rates simultaneously i.e., an agent grounded in Tenant graph could use 32 messages (30 for the graph grounding and 2 for Generative Answer) to respond to a single complex prompt from the user. Most agents built natively in SharePoint or Copilot Chat will have Tenant graph Grounding enabled by default.</a:t>
            </a:r>
          </a:p>
          <a:p>
            <a:pPr marL="228600" indent="-228600">
              <a:buAutoNum type="arabicPeriod"/>
            </a:pPr>
            <a:r>
              <a:rPr lang="en-US" sz="1000">
                <a:solidFill>
                  <a:schemeClr val="tx1">
                    <a:lumMod val="65000"/>
                    <a:lumOff val="35000"/>
                  </a:schemeClr>
                </a:solidFill>
                <a:latin typeface="Segoe UI Semilight" panose="020B0402040204020203" pitchFamily="34" charset="0"/>
                <a:cs typeface="Segoe UI Semilight" panose="020B0402040204020203" pitchFamily="34" charset="0"/>
              </a:rPr>
              <a:t>Generative answers, tenant graph grounding for messages, web-grounded answers and autonomous actions / tools apply to both declarative agents and custom engine agents.</a:t>
            </a:r>
          </a:p>
        </p:txBody>
      </p:sp>
      <p:sp>
        <p:nvSpPr>
          <p:cNvPr id="13" name="Rectangle: Top Corners Rounded 12">
            <a:extLst>
              <a:ext uri="{FF2B5EF4-FFF2-40B4-BE49-F238E27FC236}">
                <a16:creationId xmlns:a16="http://schemas.microsoft.com/office/drawing/2014/main" id="{4DF7701C-D314-BF65-CA36-A9FB5C6BA03A}"/>
              </a:ext>
            </a:extLst>
          </p:cNvPr>
          <p:cNvSpPr/>
          <p:nvPr/>
        </p:nvSpPr>
        <p:spPr bwMode="auto">
          <a:xfrm>
            <a:off x="781877" y="1394534"/>
            <a:ext cx="10628244" cy="569978"/>
          </a:xfrm>
          <a:prstGeom prst="round2SameRect">
            <a:avLst>
              <a:gd name="adj1" fmla="val 50000"/>
              <a:gd name="adj2" fmla="val 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latin typeface="Segoe UI Semibold"/>
            </a:endParaRPr>
          </a:p>
        </p:txBody>
      </p:sp>
      <p:graphicFrame>
        <p:nvGraphicFramePr>
          <p:cNvPr id="14" name="Table 13">
            <a:extLst>
              <a:ext uri="{FF2B5EF4-FFF2-40B4-BE49-F238E27FC236}">
                <a16:creationId xmlns:a16="http://schemas.microsoft.com/office/drawing/2014/main" id="{0167687C-A65E-FFA2-F3DC-9CD1488AE6A9}"/>
              </a:ext>
            </a:extLst>
          </p:cNvPr>
          <p:cNvGraphicFramePr>
            <a:graphicFrameLocks noGrp="1"/>
          </p:cNvGraphicFramePr>
          <p:nvPr>
            <p:extLst>
              <p:ext uri="{D42A27DB-BD31-4B8C-83A1-F6EECF244321}">
                <p14:modId xmlns:p14="http://schemas.microsoft.com/office/powerpoint/2010/main" val="3157418238"/>
              </p:ext>
            </p:extLst>
          </p:nvPr>
        </p:nvGraphicFramePr>
        <p:xfrm>
          <a:off x="772353" y="1404864"/>
          <a:ext cx="10628243" cy="4499066"/>
        </p:xfrm>
        <a:graphic>
          <a:graphicData uri="http://schemas.openxmlformats.org/drawingml/2006/table">
            <a:tbl>
              <a:tblPr>
                <a:effectLst/>
              </a:tblPr>
              <a:tblGrid>
                <a:gridCol w="5696180">
                  <a:extLst>
                    <a:ext uri="{9D8B030D-6E8A-4147-A177-3AD203B41FA5}">
                      <a16:colId xmlns:a16="http://schemas.microsoft.com/office/drawing/2014/main" val="589559021"/>
                    </a:ext>
                  </a:extLst>
                </a:gridCol>
                <a:gridCol w="2472267">
                  <a:extLst>
                    <a:ext uri="{9D8B030D-6E8A-4147-A177-3AD203B41FA5}">
                      <a16:colId xmlns:a16="http://schemas.microsoft.com/office/drawing/2014/main" val="86005208"/>
                    </a:ext>
                  </a:extLst>
                </a:gridCol>
                <a:gridCol w="2459796">
                  <a:extLst>
                    <a:ext uri="{9D8B030D-6E8A-4147-A177-3AD203B41FA5}">
                      <a16:colId xmlns:a16="http://schemas.microsoft.com/office/drawing/2014/main" val="3793448644"/>
                    </a:ext>
                  </a:extLst>
                </a:gridCol>
              </a:tblGrid>
              <a:tr h="556986">
                <a:tc>
                  <a:txBody>
                    <a:bodyPr/>
                    <a:lstStyle/>
                    <a:p>
                      <a:endParaRPr lang="en-US" sz="1400">
                        <a:solidFill>
                          <a:schemeClr val="bg1"/>
                        </a:solidFill>
                      </a:endParaRPr>
                    </a:p>
                  </a:txBody>
                  <a:tcPr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mpd="sng">
                      <a:noFill/>
                      <a:prstDash val="soli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a:solidFill>
                            <a:schemeClr val="bg1"/>
                          </a:solidFill>
                          <a:latin typeface="+mj-lt"/>
                          <a:cs typeface="Segoe Sans Display" pitchFamily="2" charset="0"/>
                        </a:rPr>
                        <a:t>M365 Copilot Users</a:t>
                      </a: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a:solidFill>
                            <a:schemeClr val="bg1"/>
                          </a:solidFill>
                          <a:latin typeface="+mj-lt"/>
                          <a:cs typeface="Segoe Sans Display" pitchFamily="2" charset="0"/>
                        </a:rPr>
                        <a:t>Copilot Chat Users</a:t>
                      </a:r>
                    </a:p>
                  </a:txBody>
                  <a:tcPr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653662"/>
                  </a:ext>
                </a:extLst>
              </a:tr>
              <a:tr h="752905">
                <a:tc>
                  <a:txBody>
                    <a:bodyPr/>
                    <a:lstStyle/>
                    <a:p>
                      <a:pPr marL="0" algn="l" defTabSz="932742" rtl="0" eaLnBrk="1" latinLnBrk="0" hangingPunct="1">
                        <a:lnSpc>
                          <a:spcPts val="1600"/>
                        </a:lnSpc>
                      </a:pPr>
                      <a:r>
                        <a:rPr lang="en-US" sz="1800" b="1" kern="1200">
                          <a:solidFill>
                            <a:schemeClr val="tx1"/>
                          </a:solidFill>
                          <a:latin typeface="+mj-lt"/>
                          <a:ea typeface="+mn-ea"/>
                          <a:cs typeface="Segoe Sans Display" pitchFamily="2" charset="0"/>
                        </a:rPr>
                        <a:t>Web-grounded answers</a:t>
                      </a:r>
                    </a:p>
                    <a:p>
                      <a:pPr>
                        <a:lnSpc>
                          <a:spcPts val="1600"/>
                        </a:lnSpc>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ynamically-generated responses based on the web as a knowledge source.</a:t>
                      </a:r>
                      <a:endParaRPr kumimoji="0" lang="en-US" sz="14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txBody>
                  <a:tcPr marL="137160" marR="137160" marT="137160" marB="13716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latin typeface="Segoe UI Semilight" panose="020B0402040204020203" pitchFamily="34" charset="0"/>
                          <a:cs typeface="Segoe UI Semilight" panose="020B0402040204020203" pitchFamily="34" charset="0"/>
                        </a:rPr>
                        <a:t>0</a:t>
                      </a:r>
                    </a:p>
                  </a:txBody>
                  <a:tcPr marL="137160" marR="13716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latin typeface="Segoe UI Semilight" panose="020B0402040204020203" pitchFamily="34" charset="0"/>
                          <a:cs typeface="Segoe UI Semilight" panose="020B0402040204020203" pitchFamily="34" charset="0"/>
                        </a:rPr>
                        <a:t>0</a:t>
                      </a:r>
                    </a:p>
                  </a:txBody>
                  <a:tcPr marL="137160" marR="137160" marT="137160" marB="13716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3475665"/>
                  </a:ext>
                </a:extLst>
              </a:tr>
              <a:tr h="752905">
                <a:tc>
                  <a:txBody>
                    <a:bodyPr/>
                    <a:lstStyle/>
                    <a:p>
                      <a:pPr marL="0" algn="l" defTabSz="932742" rtl="0" eaLnBrk="1" latinLnBrk="0" hangingPunct="1">
                        <a:lnSpc>
                          <a:spcPts val="1600"/>
                        </a:lnSpc>
                      </a:pPr>
                      <a:r>
                        <a:rPr lang="en-US" sz="1800" b="1" kern="1200">
                          <a:solidFill>
                            <a:schemeClr val="tx1"/>
                          </a:solidFill>
                          <a:latin typeface="+mj-lt"/>
                          <a:ea typeface="+mn-ea"/>
                          <a:cs typeface="Segoe Sans Display" pitchFamily="2" charset="0"/>
                        </a:rPr>
                        <a:t>Generative answers</a:t>
                      </a:r>
                    </a:p>
                    <a:p>
                      <a:pPr>
                        <a:lnSpc>
                          <a:spcPts val="1600"/>
                        </a:lnSpc>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Dynamically-generated responses based on knowledge sources and context that provide flexible and natural interactions.</a:t>
                      </a:r>
                      <a:endParaRPr kumimoji="0" lang="en-US" sz="1400" b="0" i="0" u="none" strike="noStrike" kern="1200" cap="none" spc="0" normalizeH="0" baseline="0">
                        <a:ln>
                          <a:noFill/>
                        </a:ln>
                        <a:solidFill>
                          <a:srgbClr val="000000"/>
                        </a:solidFill>
                        <a:effectLst/>
                        <a:uLnTx/>
                        <a:uFillTx/>
                        <a:latin typeface="Segoe UI Semilight" panose="020B0402040204020203" pitchFamily="34" charset="0"/>
                        <a:ea typeface="+mn-ea"/>
                        <a:cs typeface="Segoe UI Semilight" panose="020B0402040204020203" pitchFamily="34" charset="0"/>
                      </a:endParaRPr>
                    </a:p>
                  </a:txBody>
                  <a:tcPr marL="137160" marR="137160" marT="137160" marB="13716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latin typeface="Segoe UI Semilight" panose="020B0402040204020203" pitchFamily="34" charset="0"/>
                          <a:cs typeface="Segoe UI Semilight" panose="020B0402040204020203" pitchFamily="34" charset="0"/>
                        </a:rPr>
                        <a:t>0</a:t>
                      </a:r>
                    </a:p>
                  </a:txBody>
                  <a:tcPr marL="137160" marR="13716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latin typeface="Segoe UI Semilight" panose="020B0402040204020203" pitchFamily="34" charset="0"/>
                          <a:cs typeface="Segoe UI Semilight" panose="020B0402040204020203" pitchFamily="34" charset="0"/>
                        </a:rPr>
                        <a:t>2 messages</a:t>
                      </a:r>
                    </a:p>
                  </a:txBody>
                  <a:tcPr marL="137160" marR="137160" marT="137160" marB="13716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7389625"/>
                  </a:ext>
                </a:extLst>
              </a:tr>
              <a:tr h="929825">
                <a:tc>
                  <a:txBody>
                    <a:bodyPr/>
                    <a:lstStyle/>
                    <a:p>
                      <a:pPr marL="0" algn="l" defTabSz="932742" rtl="0" eaLnBrk="1" latinLnBrk="0" hangingPunct="1">
                        <a:lnSpc>
                          <a:spcPts val="1600"/>
                        </a:lnSpc>
                      </a:pPr>
                      <a:r>
                        <a:rPr lang="en-US" sz="1800" b="1" kern="1200">
                          <a:solidFill>
                            <a:schemeClr val="tx1"/>
                          </a:solidFill>
                          <a:latin typeface="+mj-lt"/>
                          <a:ea typeface="+mn-ea"/>
                          <a:cs typeface="Segoe Sans Display" pitchFamily="2" charset="0"/>
                        </a:rPr>
                        <a:t>Tenant graph grounding for messages</a:t>
                      </a:r>
                    </a:p>
                    <a:p>
                      <a:pPr>
                        <a:lnSpc>
                          <a:spcPts val="1600"/>
                        </a:lnSpc>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Grounding to enhance AI agents with up-to-date, context-aware knowledge from Microsoft 365 and external data, offering built-in security and inheriting data access governance policies</a:t>
                      </a:r>
                    </a:p>
                  </a:txBody>
                  <a:tcPr marL="137160" marR="137160" marT="137160" marB="13716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latin typeface="Segoe UI Semilight" panose="020B0402040204020203" pitchFamily="34" charset="0"/>
                          <a:cs typeface="Segoe UI Semilight" panose="020B0402040204020203" pitchFamily="34" charset="0"/>
                        </a:rPr>
                        <a:t>0</a:t>
                      </a:r>
                    </a:p>
                  </a:txBody>
                  <a:tcPr marL="137160" marR="13716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latin typeface="Segoe UI Semilight" panose="020B0402040204020203" pitchFamily="34" charset="0"/>
                          <a:cs typeface="Segoe UI Semilight" panose="020B0402040204020203" pitchFamily="34" charset="0"/>
                        </a:rPr>
                        <a:t>10 messages</a:t>
                      </a:r>
                    </a:p>
                  </a:txBody>
                  <a:tcPr marL="137160" marR="137160" marT="137160" marB="13716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342325"/>
                  </a:ext>
                </a:extLst>
              </a:tr>
              <a:tr h="929825">
                <a:tc>
                  <a:txBody>
                    <a:bodyPr/>
                    <a:lstStyle/>
                    <a:p>
                      <a:pPr>
                        <a:lnSpc>
                          <a:spcPts val="1600"/>
                        </a:lnSpc>
                      </a:pPr>
                      <a:r>
                        <a:rPr lang="en-US" sz="1800" b="1">
                          <a:solidFill>
                            <a:schemeClr val="tx1"/>
                          </a:solidFill>
                          <a:latin typeface="+mj-lt"/>
                          <a:cs typeface="Segoe Sans Display" pitchFamily="2" charset="0"/>
                        </a:rPr>
                        <a:t>Agent actions / tools</a:t>
                      </a:r>
                    </a:p>
                    <a:p>
                      <a:pPr>
                        <a:lnSpc>
                          <a:spcPts val="1600"/>
                        </a:lnSpc>
                      </a:pPr>
                      <a:r>
                        <a:rPr kumimoji="0" lang="en-US" sz="1400" b="0" i="0" u="none" strike="noStrike" kern="1200" cap="none" spc="0" normalizeH="0" baseline="0" noProof="0">
                          <a:ln>
                            <a:noFill/>
                          </a:ln>
                          <a:solidFill>
                            <a:srgbClr val="000000"/>
                          </a:solidFill>
                          <a:effectLst/>
                          <a:uLnTx/>
                          <a:uFillTx/>
                          <a:latin typeface="Segoe UI Semilight" panose="020B0402040204020203" pitchFamily="34" charset="0"/>
                          <a:ea typeface="+mn-ea"/>
                          <a:cs typeface="Segoe UI Semilight" panose="020B0402040204020203" pitchFamily="34" charset="0"/>
                        </a:rPr>
                        <a:t>AI-led orchestration for triggers, topics, Power Platform premium and custom connectors, cloud flows and GPT 4o prompts to automate complex business processes. Not available in agent builder.</a:t>
                      </a:r>
                      <a:endParaRPr lang="en-US" sz="1400" b="1">
                        <a:latin typeface="Segoe UI Semilight" panose="020B0402040204020203" pitchFamily="34" charset="0"/>
                        <a:cs typeface="Segoe UI Semilight" panose="020B0402040204020203" pitchFamily="34" charset="0"/>
                      </a:endParaRPr>
                    </a:p>
                  </a:txBody>
                  <a:tcPr marL="137160" marR="137160" marT="137160" marB="13716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latin typeface="Segoe UI Semilight" panose="020B0402040204020203" pitchFamily="34" charset="0"/>
                          <a:cs typeface="Segoe UI Semilight" panose="020B0402040204020203" pitchFamily="34" charset="0"/>
                        </a:rPr>
                        <a:t>0</a:t>
                      </a:r>
                    </a:p>
                  </a:txBody>
                  <a:tcPr marL="137160" marR="137160" marT="137160" marB="13716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latin typeface="Segoe UI Semilight" panose="020B0402040204020203" pitchFamily="34" charset="0"/>
                          <a:cs typeface="Segoe UI Semilight" panose="020B0402040204020203" pitchFamily="34" charset="0"/>
                        </a:rPr>
                        <a:t>5 messages</a:t>
                      </a:r>
                    </a:p>
                  </a:txBody>
                  <a:tcPr marL="137160" marR="137160" marT="137160" marB="137160" anchor="ctr">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261219"/>
                  </a:ext>
                </a:extLst>
              </a:tr>
            </a:tbl>
          </a:graphicData>
        </a:graphic>
      </p:graphicFrame>
      <p:sp>
        <p:nvSpPr>
          <p:cNvPr id="3" name="Title 2">
            <a:extLst>
              <a:ext uri="{FF2B5EF4-FFF2-40B4-BE49-F238E27FC236}">
                <a16:creationId xmlns:a16="http://schemas.microsoft.com/office/drawing/2014/main" id="{243998FE-62DA-5174-AAF7-76180CD14207}"/>
              </a:ext>
            </a:extLst>
          </p:cNvPr>
          <p:cNvSpPr>
            <a:spLocks noGrp="1"/>
          </p:cNvSpPr>
          <p:nvPr>
            <p:ph type="title"/>
          </p:nvPr>
        </p:nvSpPr>
        <p:spPr>
          <a:xfrm>
            <a:off x="586740" y="457200"/>
            <a:ext cx="11018520" cy="492443"/>
          </a:xfrm>
        </p:spPr>
        <p:txBody>
          <a:bodyPr/>
          <a:lstStyle/>
          <a:p>
            <a:pPr algn="ctr"/>
            <a:r>
              <a:rPr lang="en-US">
                <a:solidFill>
                  <a:schemeClr val="tx1"/>
                </a:solidFill>
              </a:rPr>
              <a:t>Utilization rates depend on </a:t>
            </a:r>
            <a:r>
              <a:rPr lang="en-US" sz="3200">
                <a:solidFill>
                  <a:schemeClr val="tx1"/>
                </a:solidFill>
              </a:rPr>
              <a:t>agent</a:t>
            </a:r>
            <a:r>
              <a:rPr lang="en-US">
                <a:solidFill>
                  <a:schemeClr val="tx1"/>
                </a:solidFill>
              </a:rPr>
              <a:t> capabilities</a:t>
            </a:r>
          </a:p>
        </p:txBody>
      </p:sp>
    </p:spTree>
    <p:extLst>
      <p:ext uri="{BB962C8B-B14F-4D97-AF65-F5344CB8AC3E}">
        <p14:creationId xmlns:p14="http://schemas.microsoft.com/office/powerpoint/2010/main" val="174136694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7" name="Title 1">
            <a:extLst>
              <a:ext uri="{FF2B5EF4-FFF2-40B4-BE49-F238E27FC236}">
                <a16:creationId xmlns:a16="http://schemas.microsoft.com/office/drawing/2014/main" id="{51C8B0FD-B2FD-6040-DB78-C62407955F4F}"/>
              </a:ext>
            </a:extLst>
          </p:cNvPr>
          <p:cNvSpPr txBox="1">
            <a:spLocks/>
          </p:cNvSpPr>
          <p:nvPr/>
        </p:nvSpPr>
        <p:spPr>
          <a:xfrm>
            <a:off x="1614846" y="457202"/>
            <a:ext cx="8968487" cy="4514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80" normalizeH="0" baseline="0" noProof="0">
              <a:ln>
                <a:noFill/>
              </a:ln>
              <a:solidFill>
                <a:prstClr val="black"/>
              </a:solidFill>
              <a:effectLst/>
              <a:uLnTx/>
              <a:uFillTx/>
              <a:latin typeface="Segoe Sans Display Semibold" pitchFamily="2" charset="0"/>
              <a:ea typeface="+mj-ea"/>
              <a:cs typeface="Segoe Sans Display Semibold" pitchFamily="2" charset="0"/>
            </a:endParaRPr>
          </a:p>
        </p:txBody>
      </p:sp>
      <p:sp>
        <p:nvSpPr>
          <p:cNvPr id="2" name="Rectangle: Rounded Corners 19">
            <a:extLst>
              <a:ext uri="{FF2B5EF4-FFF2-40B4-BE49-F238E27FC236}">
                <a16:creationId xmlns:a16="http://schemas.microsoft.com/office/drawing/2014/main" id="{A219B96A-3534-D51D-9EDB-7ABAD45F38BD}"/>
              </a:ext>
            </a:extLst>
          </p:cNvPr>
          <p:cNvSpPr/>
          <p:nvPr/>
        </p:nvSpPr>
        <p:spPr bwMode="auto">
          <a:xfrm>
            <a:off x="969367" y="1914054"/>
            <a:ext cx="10253265" cy="3729450"/>
          </a:xfrm>
          <a:prstGeom prst="roundRect">
            <a:avLst>
              <a:gd name="adj" fmla="val 4428"/>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US" sz="1000" kern="0" err="1">
              <a:latin typeface="Segoe UI Semibold"/>
            </a:endParaRPr>
          </a:p>
        </p:txBody>
      </p:sp>
      <p:sp>
        <p:nvSpPr>
          <p:cNvPr id="3" name="TextBox 2">
            <a:extLst>
              <a:ext uri="{FF2B5EF4-FFF2-40B4-BE49-F238E27FC236}">
                <a16:creationId xmlns:a16="http://schemas.microsoft.com/office/drawing/2014/main" id="{5E87B0A9-42A8-E019-25BA-E67FE9E2D7FF}"/>
              </a:ext>
            </a:extLst>
          </p:cNvPr>
          <p:cNvSpPr txBox="1"/>
          <p:nvPr/>
        </p:nvSpPr>
        <p:spPr>
          <a:xfrm>
            <a:off x="1379822" y="3925612"/>
            <a:ext cx="2589001" cy="430887"/>
          </a:xfrm>
          <a:prstGeom prst="rect">
            <a:avLst/>
          </a:prstGeom>
          <a:noFill/>
        </p:spPr>
        <p:txBody>
          <a:bodyPr wrap="square" lIns="0" tIns="0" rIns="0" bIns="0"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2917">
                      <a:srgbClr val="000000"/>
                    </a:gs>
                    <a:gs pos="30000">
                      <a:srgbClr val="000000"/>
                    </a:gs>
                  </a:gsLst>
                  <a:lin ang="5400000" scaled="0"/>
                </a:gradFill>
                <a:effectLst/>
                <a:uLnTx/>
                <a:uFillTx/>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kern="1200">
                <a:solidFill>
                  <a:srgbClr val="F4364C"/>
                </a:solidFill>
              </a:rPr>
              <a:t>Connectors</a:t>
            </a:r>
          </a:p>
        </p:txBody>
      </p:sp>
      <p:sp>
        <p:nvSpPr>
          <p:cNvPr id="4" name="TextBox 3">
            <a:extLst>
              <a:ext uri="{FF2B5EF4-FFF2-40B4-BE49-F238E27FC236}">
                <a16:creationId xmlns:a16="http://schemas.microsoft.com/office/drawing/2014/main" id="{3ED05CBA-B3B8-5BBE-3E33-A1B58A72516F}"/>
              </a:ext>
            </a:extLst>
          </p:cNvPr>
          <p:cNvSpPr txBox="1"/>
          <p:nvPr/>
        </p:nvSpPr>
        <p:spPr>
          <a:xfrm>
            <a:off x="4806737" y="3925612"/>
            <a:ext cx="2455102" cy="430887"/>
          </a:xfrm>
          <a:prstGeom prst="rect">
            <a:avLst/>
          </a:prstGeom>
          <a:noFill/>
        </p:spPr>
        <p:txBody>
          <a:bodyPr vert="horz" wrap="square" lIns="0" tIns="0" rIns="0" bIns="0" rtlCol="0" anchor="ctr">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lang="en-US" sz="2800">
                <a:solidFill>
                  <a:srgbClr val="C03BC4"/>
                </a:solidFill>
                <a:latin typeface="Segoe UI Semibold"/>
              </a:rPr>
              <a:t>Actions / Tools</a:t>
            </a:r>
          </a:p>
        </p:txBody>
      </p:sp>
      <p:sp>
        <p:nvSpPr>
          <p:cNvPr id="5" name="TextBox 4">
            <a:extLst>
              <a:ext uri="{FF2B5EF4-FFF2-40B4-BE49-F238E27FC236}">
                <a16:creationId xmlns:a16="http://schemas.microsoft.com/office/drawing/2014/main" id="{5895440D-25D4-ECA4-9FA7-852D728119A6}"/>
              </a:ext>
            </a:extLst>
          </p:cNvPr>
          <p:cNvSpPr txBox="1"/>
          <p:nvPr/>
        </p:nvSpPr>
        <p:spPr>
          <a:xfrm>
            <a:off x="1621685" y="4477909"/>
            <a:ext cx="2105275"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prstClr val="black"/>
                </a:solidFill>
                <a:effectLst/>
                <a:uLnTx/>
                <a:uFillTx/>
                <a:ea typeface="+mn-ea"/>
                <a:cs typeface="+mn-cs"/>
              </a:rPr>
              <a:t>Grounding knowledge</a:t>
            </a:r>
          </a:p>
        </p:txBody>
      </p:sp>
      <p:sp>
        <p:nvSpPr>
          <p:cNvPr id="6" name="TextBox 5">
            <a:extLst>
              <a:ext uri="{FF2B5EF4-FFF2-40B4-BE49-F238E27FC236}">
                <a16:creationId xmlns:a16="http://schemas.microsoft.com/office/drawing/2014/main" id="{C8F8EAB1-8EB6-5547-C1B4-AFE69C720EF3}"/>
              </a:ext>
            </a:extLst>
          </p:cNvPr>
          <p:cNvSpPr txBox="1"/>
          <p:nvPr/>
        </p:nvSpPr>
        <p:spPr>
          <a:xfrm>
            <a:off x="5265415" y="4477909"/>
            <a:ext cx="1655501" cy="276999"/>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prstClr val="black"/>
                </a:solidFill>
                <a:effectLst/>
                <a:uLnTx/>
                <a:uFillTx/>
                <a:ea typeface="+mn-ea"/>
                <a:cs typeface="+mn-cs"/>
              </a:rPr>
              <a:t>Available</a:t>
            </a:r>
            <a:r>
              <a:rPr kumimoji="0" lang="en-US" i="0" u="none" strike="noStrike" kern="1200" cap="none" spc="0" normalizeH="0" noProof="0">
                <a:ln>
                  <a:noFill/>
                </a:ln>
                <a:solidFill>
                  <a:prstClr val="black"/>
                </a:solidFill>
                <a:effectLst/>
                <a:uLnTx/>
                <a:uFillTx/>
                <a:ea typeface="+mn-ea"/>
                <a:cs typeface="+mn-cs"/>
              </a:rPr>
              <a:t> </a:t>
            </a:r>
            <a:r>
              <a:rPr lang="en-US" noProof="0">
                <a:solidFill>
                  <a:prstClr val="black"/>
                </a:solidFill>
              </a:rPr>
              <a:t>s</a:t>
            </a:r>
            <a:r>
              <a:rPr kumimoji="0" lang="en-US" i="0" u="none" strike="noStrike" kern="1200" cap="none" spc="0" normalizeH="0" baseline="0" noProof="0">
                <a:ln>
                  <a:noFill/>
                </a:ln>
                <a:solidFill>
                  <a:prstClr val="black"/>
                </a:solidFill>
                <a:effectLst/>
                <a:uLnTx/>
                <a:uFillTx/>
                <a:ea typeface="+mn-ea"/>
                <a:cs typeface="+mn-cs"/>
              </a:rPr>
              <a:t>kills</a:t>
            </a:r>
          </a:p>
        </p:txBody>
      </p:sp>
      <p:sp>
        <p:nvSpPr>
          <p:cNvPr id="7" name="TextBox 6">
            <a:extLst>
              <a:ext uri="{FF2B5EF4-FFF2-40B4-BE49-F238E27FC236}">
                <a16:creationId xmlns:a16="http://schemas.microsoft.com/office/drawing/2014/main" id="{CC64D0D9-16CF-4ABB-5E92-213320AB4360}"/>
              </a:ext>
            </a:extLst>
          </p:cNvPr>
          <p:cNvSpPr txBox="1"/>
          <p:nvPr/>
        </p:nvSpPr>
        <p:spPr>
          <a:xfrm>
            <a:off x="8708823" y="4477909"/>
            <a:ext cx="1606369" cy="553998"/>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prstClr val="black"/>
                </a:solidFill>
                <a:effectLst/>
                <a:uLnTx/>
                <a:uFillTx/>
                <a:ea typeface="+mn-ea"/>
                <a:cs typeface="+mn-cs"/>
              </a:rPr>
              <a:t>Focused user </a:t>
            </a:r>
            <a:br>
              <a:rPr kumimoji="0" lang="en-US" i="0" u="none" strike="noStrike" kern="1200" cap="none" spc="0" normalizeH="0" baseline="0" noProof="0">
                <a:ln>
                  <a:noFill/>
                </a:ln>
                <a:solidFill>
                  <a:prstClr val="black"/>
                </a:solidFill>
                <a:effectLst/>
                <a:uLnTx/>
                <a:uFillTx/>
                <a:ea typeface="+mn-ea"/>
                <a:cs typeface="+mn-cs"/>
              </a:rPr>
            </a:br>
            <a:r>
              <a:rPr kumimoji="0" lang="en-US" i="0" u="none" strike="noStrike" kern="1200" cap="none" spc="0" normalizeH="0" baseline="0" noProof="0">
                <a:ln>
                  <a:noFill/>
                </a:ln>
                <a:solidFill>
                  <a:prstClr val="black"/>
                </a:solidFill>
                <a:effectLst/>
                <a:uLnTx/>
                <a:uFillTx/>
                <a:ea typeface="+mn-ea"/>
                <a:cs typeface="+mn-cs"/>
              </a:rPr>
              <a:t>experiences</a:t>
            </a:r>
          </a:p>
        </p:txBody>
      </p:sp>
      <p:grpSp>
        <p:nvGrpSpPr>
          <p:cNvPr id="8" name="Group 7">
            <a:extLst>
              <a:ext uri="{FF2B5EF4-FFF2-40B4-BE49-F238E27FC236}">
                <a16:creationId xmlns:a16="http://schemas.microsoft.com/office/drawing/2014/main" id="{72DCB9CF-1EB1-0253-BC8F-0A50B6916F70}"/>
              </a:ext>
            </a:extLst>
          </p:cNvPr>
          <p:cNvGrpSpPr/>
          <p:nvPr/>
        </p:nvGrpSpPr>
        <p:grpSpPr>
          <a:xfrm>
            <a:off x="5456308" y="2371591"/>
            <a:ext cx="1264784" cy="1264784"/>
            <a:chOff x="5128594" y="1938758"/>
            <a:chExt cx="1264784" cy="1264784"/>
          </a:xfrm>
        </p:grpSpPr>
        <p:sp>
          <p:nvSpPr>
            <p:cNvPr id="9" name="Oval 8">
              <a:extLst>
                <a:ext uri="{FF2B5EF4-FFF2-40B4-BE49-F238E27FC236}">
                  <a16:creationId xmlns:a16="http://schemas.microsoft.com/office/drawing/2014/main" id="{FD408F9B-7351-514B-82D8-CE53E07FBBC5}"/>
                </a:ext>
                <a:ext uri="{C183D7F6-B498-43B3-948B-1728B52AA6E4}">
                  <adec:decorative xmlns:adec="http://schemas.microsoft.com/office/drawing/2017/decorative" val="1"/>
                </a:ext>
              </a:extLst>
            </p:cNvPr>
            <p:cNvSpPr/>
            <p:nvPr/>
          </p:nvSpPr>
          <p:spPr bwMode="auto">
            <a:xfrm>
              <a:off x="5128594" y="1938758"/>
              <a:ext cx="1264784" cy="1264784"/>
            </a:xfrm>
            <a:prstGeom prst="ellipse">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err="1">
                <a:solidFill>
                  <a:srgbClr val="FFFFFF"/>
                </a:solidFill>
                <a:latin typeface="Segoe UI Semibold"/>
              </a:endParaRPr>
            </a:p>
          </p:txBody>
        </p:sp>
        <p:sp>
          <p:nvSpPr>
            <p:cNvPr id="10" name="Graphic 114">
              <a:extLst>
                <a:ext uri="{FF2B5EF4-FFF2-40B4-BE49-F238E27FC236}">
                  <a16:creationId xmlns:a16="http://schemas.microsoft.com/office/drawing/2014/main" id="{2D48948E-A430-2FBE-B06F-EBCF72CF8937}"/>
                </a:ext>
              </a:extLst>
            </p:cNvPr>
            <p:cNvSpPr/>
            <p:nvPr/>
          </p:nvSpPr>
          <p:spPr>
            <a:xfrm>
              <a:off x="5460775" y="2276707"/>
              <a:ext cx="627605" cy="627605"/>
            </a:xfrm>
            <a:custGeom>
              <a:avLst/>
              <a:gdLst>
                <a:gd name="connsiteX0" fmla="*/ 297180 w 320040"/>
                <a:gd name="connsiteY0" fmla="*/ 51837 h 320040"/>
                <a:gd name="connsiteX1" fmla="*/ 320040 w 320040"/>
                <a:gd name="connsiteY1" fmla="*/ 91440 h 320040"/>
                <a:gd name="connsiteX2" fmla="*/ 320040 w 320040"/>
                <a:gd name="connsiteY2" fmla="*/ 228600 h 320040"/>
                <a:gd name="connsiteX3" fmla="*/ 228600 w 320040"/>
                <a:gd name="connsiteY3" fmla="*/ 320040 h 320040"/>
                <a:gd name="connsiteX4" fmla="*/ 91440 w 320040"/>
                <a:gd name="connsiteY4" fmla="*/ 320040 h 320040"/>
                <a:gd name="connsiteX5" fmla="*/ 51836 w 320040"/>
                <a:gd name="connsiteY5" fmla="*/ 297180 h 320040"/>
                <a:gd name="connsiteX6" fmla="*/ 228600 w 320040"/>
                <a:gd name="connsiteY6" fmla="*/ 297180 h 320040"/>
                <a:gd name="connsiteX7" fmla="*/ 297180 w 320040"/>
                <a:gd name="connsiteY7" fmla="*/ 228600 h 320040"/>
                <a:gd name="connsiteX8" fmla="*/ 297180 w 320040"/>
                <a:gd name="connsiteY8" fmla="*/ 51837 h 320040"/>
                <a:gd name="connsiteX9" fmla="*/ 274320 w 320040"/>
                <a:gd name="connsiteY9" fmla="*/ 45720 h 320040"/>
                <a:gd name="connsiteX10" fmla="*/ 228600 w 320040"/>
                <a:gd name="connsiteY10" fmla="*/ 0 h 320040"/>
                <a:gd name="connsiteX11" fmla="*/ 45720 w 320040"/>
                <a:gd name="connsiteY11" fmla="*/ 0 h 320040"/>
                <a:gd name="connsiteX12" fmla="*/ 0 w 320040"/>
                <a:gd name="connsiteY12" fmla="*/ 45720 h 320040"/>
                <a:gd name="connsiteX13" fmla="*/ 0 w 320040"/>
                <a:gd name="connsiteY13" fmla="*/ 228600 h 320040"/>
                <a:gd name="connsiteX14" fmla="*/ 45720 w 320040"/>
                <a:gd name="connsiteY14" fmla="*/ 274320 h 320040"/>
                <a:gd name="connsiteX15" fmla="*/ 228600 w 320040"/>
                <a:gd name="connsiteY15" fmla="*/ 274320 h 320040"/>
                <a:gd name="connsiteX16" fmla="*/ 274320 w 320040"/>
                <a:gd name="connsiteY16" fmla="*/ 228600 h 320040"/>
                <a:gd name="connsiteX17" fmla="*/ 274320 w 320040"/>
                <a:gd name="connsiteY17" fmla="*/ 45720 h 320040"/>
                <a:gd name="connsiteX18" fmla="*/ 205740 w 320040"/>
                <a:gd name="connsiteY18" fmla="*/ 137160 h 320040"/>
                <a:gd name="connsiteX19" fmla="*/ 194310 w 320040"/>
                <a:gd name="connsiteY19" fmla="*/ 148590 h 320040"/>
                <a:gd name="connsiteX20" fmla="*/ 148590 w 320040"/>
                <a:gd name="connsiteY20" fmla="*/ 148590 h 320040"/>
                <a:gd name="connsiteX21" fmla="*/ 148590 w 320040"/>
                <a:gd name="connsiteY21" fmla="*/ 194310 h 320040"/>
                <a:gd name="connsiteX22" fmla="*/ 137160 w 320040"/>
                <a:gd name="connsiteY22" fmla="*/ 205740 h 320040"/>
                <a:gd name="connsiteX23" fmla="*/ 125730 w 320040"/>
                <a:gd name="connsiteY23" fmla="*/ 194310 h 320040"/>
                <a:gd name="connsiteX24" fmla="*/ 125730 w 320040"/>
                <a:gd name="connsiteY24" fmla="*/ 148590 h 320040"/>
                <a:gd name="connsiteX25" fmla="*/ 80010 w 320040"/>
                <a:gd name="connsiteY25" fmla="*/ 148590 h 320040"/>
                <a:gd name="connsiteX26" fmla="*/ 68580 w 320040"/>
                <a:gd name="connsiteY26" fmla="*/ 137160 h 320040"/>
                <a:gd name="connsiteX27" fmla="*/ 80010 w 320040"/>
                <a:gd name="connsiteY27" fmla="*/ 125730 h 320040"/>
                <a:gd name="connsiteX28" fmla="*/ 125730 w 320040"/>
                <a:gd name="connsiteY28" fmla="*/ 125730 h 320040"/>
                <a:gd name="connsiteX29" fmla="*/ 125730 w 320040"/>
                <a:gd name="connsiteY29" fmla="*/ 80010 h 320040"/>
                <a:gd name="connsiteX30" fmla="*/ 137160 w 320040"/>
                <a:gd name="connsiteY30" fmla="*/ 68580 h 320040"/>
                <a:gd name="connsiteX31" fmla="*/ 148590 w 320040"/>
                <a:gd name="connsiteY31" fmla="*/ 80010 h 320040"/>
                <a:gd name="connsiteX32" fmla="*/ 148590 w 320040"/>
                <a:gd name="connsiteY32" fmla="*/ 125730 h 320040"/>
                <a:gd name="connsiteX33" fmla="*/ 194310 w 320040"/>
                <a:gd name="connsiteY33" fmla="*/ 125730 h 320040"/>
                <a:gd name="connsiteX34" fmla="*/ 205740 w 320040"/>
                <a:gd name="connsiteY34" fmla="*/ 13716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20040" h="320040">
                  <a:moveTo>
                    <a:pt x="297180" y="51837"/>
                  </a:moveTo>
                  <a:cubicBezTo>
                    <a:pt x="310846" y="59742"/>
                    <a:pt x="320040" y="74517"/>
                    <a:pt x="320040" y="91440"/>
                  </a:cubicBezTo>
                  <a:lnTo>
                    <a:pt x="320040" y="228600"/>
                  </a:lnTo>
                  <a:cubicBezTo>
                    <a:pt x="320040" y="279100"/>
                    <a:pt x="279100" y="320040"/>
                    <a:pt x="228600" y="320040"/>
                  </a:cubicBezTo>
                  <a:lnTo>
                    <a:pt x="91440" y="320040"/>
                  </a:lnTo>
                  <a:cubicBezTo>
                    <a:pt x="74517" y="320040"/>
                    <a:pt x="59742" y="310846"/>
                    <a:pt x="51836" y="297180"/>
                  </a:cubicBezTo>
                  <a:lnTo>
                    <a:pt x="228600" y="297180"/>
                  </a:lnTo>
                  <a:cubicBezTo>
                    <a:pt x="266477" y="297180"/>
                    <a:pt x="297180" y="266477"/>
                    <a:pt x="297180" y="228600"/>
                  </a:cubicBezTo>
                  <a:lnTo>
                    <a:pt x="297180" y="51837"/>
                  </a:lnTo>
                  <a:close/>
                  <a:moveTo>
                    <a:pt x="274320" y="45720"/>
                  </a:moveTo>
                  <a:cubicBezTo>
                    <a:pt x="274320" y="20470"/>
                    <a:pt x="253851" y="0"/>
                    <a:pt x="228600" y="0"/>
                  </a:cubicBezTo>
                  <a:lnTo>
                    <a:pt x="45720" y="0"/>
                  </a:lnTo>
                  <a:cubicBezTo>
                    <a:pt x="20470" y="0"/>
                    <a:pt x="0" y="20470"/>
                    <a:pt x="0" y="45720"/>
                  </a:cubicBezTo>
                  <a:lnTo>
                    <a:pt x="0" y="228600"/>
                  </a:lnTo>
                  <a:cubicBezTo>
                    <a:pt x="0" y="253851"/>
                    <a:pt x="20470" y="274320"/>
                    <a:pt x="45720" y="274320"/>
                  </a:cubicBezTo>
                  <a:lnTo>
                    <a:pt x="228600" y="274320"/>
                  </a:lnTo>
                  <a:cubicBezTo>
                    <a:pt x="253851" y="274320"/>
                    <a:pt x="274320" y="253851"/>
                    <a:pt x="274320" y="228600"/>
                  </a:cubicBezTo>
                  <a:lnTo>
                    <a:pt x="274320" y="45720"/>
                  </a:lnTo>
                  <a:close/>
                  <a:moveTo>
                    <a:pt x="205740" y="137160"/>
                  </a:moveTo>
                  <a:cubicBezTo>
                    <a:pt x="205740" y="143473"/>
                    <a:pt x="200622" y="148590"/>
                    <a:pt x="194310" y="148590"/>
                  </a:cubicBezTo>
                  <a:lnTo>
                    <a:pt x="148590" y="148590"/>
                  </a:lnTo>
                  <a:lnTo>
                    <a:pt x="148590" y="194310"/>
                  </a:lnTo>
                  <a:cubicBezTo>
                    <a:pt x="148590" y="200622"/>
                    <a:pt x="143473" y="205740"/>
                    <a:pt x="137160" y="205740"/>
                  </a:cubicBezTo>
                  <a:cubicBezTo>
                    <a:pt x="130847" y="205740"/>
                    <a:pt x="125730" y="200622"/>
                    <a:pt x="125730" y="194310"/>
                  </a:cubicBezTo>
                  <a:lnTo>
                    <a:pt x="125730" y="148590"/>
                  </a:lnTo>
                  <a:lnTo>
                    <a:pt x="80010" y="148590"/>
                  </a:lnTo>
                  <a:cubicBezTo>
                    <a:pt x="73697" y="148590"/>
                    <a:pt x="68580" y="143473"/>
                    <a:pt x="68580" y="137160"/>
                  </a:cubicBezTo>
                  <a:cubicBezTo>
                    <a:pt x="68580" y="130847"/>
                    <a:pt x="73697" y="125730"/>
                    <a:pt x="80010" y="125730"/>
                  </a:cubicBezTo>
                  <a:lnTo>
                    <a:pt x="125730" y="125730"/>
                  </a:lnTo>
                  <a:lnTo>
                    <a:pt x="125730" y="80010"/>
                  </a:lnTo>
                  <a:cubicBezTo>
                    <a:pt x="125730" y="73697"/>
                    <a:pt x="130847" y="68580"/>
                    <a:pt x="137160" y="68580"/>
                  </a:cubicBezTo>
                  <a:cubicBezTo>
                    <a:pt x="143473" y="68580"/>
                    <a:pt x="148590" y="73697"/>
                    <a:pt x="148590" y="80010"/>
                  </a:cubicBezTo>
                  <a:lnTo>
                    <a:pt x="148590" y="125730"/>
                  </a:lnTo>
                  <a:lnTo>
                    <a:pt x="194310" y="125730"/>
                  </a:lnTo>
                  <a:cubicBezTo>
                    <a:pt x="200622" y="125730"/>
                    <a:pt x="205740" y="130847"/>
                    <a:pt x="205740" y="137160"/>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a:solidFill>
                  <a:srgbClr val="FFFFFF"/>
                </a:solidFill>
                <a:latin typeface="Segoe UI Semibold"/>
              </a:endParaRPr>
            </a:p>
          </p:txBody>
        </p:sp>
      </p:grpSp>
      <p:grpSp>
        <p:nvGrpSpPr>
          <p:cNvPr id="11" name="Group 10">
            <a:extLst>
              <a:ext uri="{FF2B5EF4-FFF2-40B4-BE49-F238E27FC236}">
                <a16:creationId xmlns:a16="http://schemas.microsoft.com/office/drawing/2014/main" id="{C009855E-700B-755D-9AAC-F540496315D8}"/>
              </a:ext>
            </a:extLst>
          </p:cNvPr>
          <p:cNvGrpSpPr/>
          <p:nvPr/>
        </p:nvGrpSpPr>
        <p:grpSpPr>
          <a:xfrm>
            <a:off x="8875149" y="2371591"/>
            <a:ext cx="1264784" cy="1264784"/>
            <a:chOff x="8144641" y="1938758"/>
            <a:chExt cx="1264784" cy="1264784"/>
          </a:xfrm>
        </p:grpSpPr>
        <p:sp>
          <p:nvSpPr>
            <p:cNvPr id="12" name="Oval 11">
              <a:extLst>
                <a:ext uri="{FF2B5EF4-FFF2-40B4-BE49-F238E27FC236}">
                  <a16:creationId xmlns:a16="http://schemas.microsoft.com/office/drawing/2014/main" id="{25D21D8F-1D89-0D76-3F95-51A801D4448C}"/>
                </a:ext>
                <a:ext uri="{C183D7F6-B498-43B3-948B-1728B52AA6E4}">
                  <adec:decorative xmlns:adec="http://schemas.microsoft.com/office/drawing/2017/decorative" val="1"/>
                </a:ext>
              </a:extLst>
            </p:cNvPr>
            <p:cNvSpPr/>
            <p:nvPr/>
          </p:nvSpPr>
          <p:spPr bwMode="auto">
            <a:xfrm>
              <a:off x="8144641" y="1938758"/>
              <a:ext cx="1264784" cy="1264784"/>
            </a:xfrm>
            <a:prstGeom prst="ellipse">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err="1">
                <a:solidFill>
                  <a:srgbClr val="FFFFFF"/>
                </a:solidFill>
                <a:latin typeface="Segoe UI Semibold"/>
              </a:endParaRPr>
            </a:p>
          </p:txBody>
        </p:sp>
        <p:sp>
          <p:nvSpPr>
            <p:cNvPr id="13" name="Graphic 14">
              <a:extLst>
                <a:ext uri="{FF2B5EF4-FFF2-40B4-BE49-F238E27FC236}">
                  <a16:creationId xmlns:a16="http://schemas.microsoft.com/office/drawing/2014/main" id="{851C678C-C919-9D7F-1A5D-EBBE3F7946B5}"/>
                </a:ext>
              </a:extLst>
            </p:cNvPr>
            <p:cNvSpPr/>
            <p:nvPr/>
          </p:nvSpPr>
          <p:spPr>
            <a:xfrm>
              <a:off x="8460115" y="2159452"/>
              <a:ext cx="740515" cy="740513"/>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a:solidFill>
                  <a:srgbClr val="FFFFFF"/>
                </a:solidFill>
                <a:latin typeface="Segoe UI Semibold"/>
              </a:endParaRPr>
            </a:p>
          </p:txBody>
        </p:sp>
      </p:grpSp>
      <p:sp>
        <p:nvSpPr>
          <p:cNvPr id="14" name="TextBox 13">
            <a:extLst>
              <a:ext uri="{FF2B5EF4-FFF2-40B4-BE49-F238E27FC236}">
                <a16:creationId xmlns:a16="http://schemas.microsoft.com/office/drawing/2014/main" id="{879EF0CB-508B-429D-41E1-1DB44F114979}"/>
              </a:ext>
            </a:extLst>
          </p:cNvPr>
          <p:cNvSpPr txBox="1"/>
          <p:nvPr/>
        </p:nvSpPr>
        <p:spPr>
          <a:xfrm>
            <a:off x="8251511" y="3925612"/>
            <a:ext cx="2520993" cy="430887"/>
          </a:xfrm>
          <a:prstGeom prst="rect">
            <a:avLst/>
          </a:prstGeom>
          <a:noFill/>
        </p:spPr>
        <p:txBody>
          <a:bodyPr wrap="square" lIns="0" tIns="0" rIns="0" bIns="0"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200" b="0" i="0" u="none" strike="noStrike" kern="0" cap="none" spc="0" normalizeH="0" baseline="0">
                <a:ln>
                  <a:noFill/>
                </a:ln>
                <a:gradFill>
                  <a:gsLst>
                    <a:gs pos="2917">
                      <a:srgbClr val="000000"/>
                    </a:gs>
                    <a:gs pos="30000">
                      <a:srgbClr val="000000"/>
                    </a:gs>
                  </a:gsLst>
                  <a:lin ang="5400000" scaled="0"/>
                </a:gradFill>
                <a:effectLst/>
                <a:uLnTx/>
                <a:uFillTx/>
                <a:latin typeface="Segoe UI Semibold"/>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800" kern="1200">
                <a:solidFill>
                  <a:srgbClr val="0078D4"/>
                </a:solidFill>
              </a:rPr>
              <a:t>Your</a:t>
            </a:r>
            <a:r>
              <a:rPr kumimoji="0" lang="en-US" sz="2800" b="0" i="0" u="none" strike="noStrike" kern="0" cap="none" spc="0" normalizeH="0" baseline="0" noProof="0">
                <a:ln>
                  <a:noFill/>
                </a:ln>
                <a:gradFill flip="none" rotWithShape="1">
                  <a:gsLst>
                    <a:gs pos="100000">
                      <a:srgbClr val="C73ECC"/>
                    </a:gs>
                    <a:gs pos="7000">
                      <a:srgbClr val="0078D4"/>
                    </a:gs>
                  </a:gsLst>
                  <a:lin ang="0" scaled="1"/>
                  <a:tileRect/>
                </a:gradFill>
                <a:effectLst/>
                <a:uLnTx/>
                <a:uFillTx/>
                <a:latin typeface="+mj-lt"/>
              </a:rPr>
              <a:t> </a:t>
            </a:r>
            <a:r>
              <a:rPr lang="en-US" sz="2800" kern="1200">
                <a:solidFill>
                  <a:srgbClr val="0078D4"/>
                </a:solidFill>
              </a:rPr>
              <a:t>agents</a:t>
            </a:r>
          </a:p>
        </p:txBody>
      </p:sp>
      <p:grpSp>
        <p:nvGrpSpPr>
          <p:cNvPr id="15" name="Group 14">
            <a:extLst>
              <a:ext uri="{FF2B5EF4-FFF2-40B4-BE49-F238E27FC236}">
                <a16:creationId xmlns:a16="http://schemas.microsoft.com/office/drawing/2014/main" id="{3A466CA9-7BEA-142F-E5FE-2FA40CDD5236}"/>
              </a:ext>
            </a:extLst>
          </p:cNvPr>
          <p:cNvGrpSpPr/>
          <p:nvPr/>
        </p:nvGrpSpPr>
        <p:grpSpPr>
          <a:xfrm>
            <a:off x="2041931" y="2371591"/>
            <a:ext cx="1264784" cy="1264784"/>
            <a:chOff x="2007411" y="1938758"/>
            <a:chExt cx="1264784" cy="1264784"/>
          </a:xfrm>
        </p:grpSpPr>
        <p:sp>
          <p:nvSpPr>
            <p:cNvPr id="16" name="Oval 15">
              <a:extLst>
                <a:ext uri="{FF2B5EF4-FFF2-40B4-BE49-F238E27FC236}">
                  <a16:creationId xmlns:a16="http://schemas.microsoft.com/office/drawing/2014/main" id="{32295EE8-602B-E12D-47F9-5047441884F7}"/>
                </a:ext>
                <a:ext uri="{C183D7F6-B498-43B3-948B-1728B52AA6E4}">
                  <adec:decorative xmlns:adec="http://schemas.microsoft.com/office/drawing/2017/decorative" val="1"/>
                </a:ext>
              </a:extLst>
            </p:cNvPr>
            <p:cNvSpPr/>
            <p:nvPr/>
          </p:nvSpPr>
          <p:spPr bwMode="auto">
            <a:xfrm>
              <a:off x="2007411" y="1938758"/>
              <a:ext cx="1264784" cy="1264784"/>
            </a:xfrm>
            <a:prstGeom prst="ellipse">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err="1">
                <a:solidFill>
                  <a:srgbClr val="FFFFFF"/>
                </a:solidFill>
                <a:latin typeface="Segoe UI Semibold"/>
              </a:endParaRPr>
            </a:p>
          </p:txBody>
        </p:sp>
        <p:sp>
          <p:nvSpPr>
            <p:cNvPr id="17" name="Graphic 333">
              <a:extLst>
                <a:ext uri="{FF2B5EF4-FFF2-40B4-BE49-F238E27FC236}">
                  <a16:creationId xmlns:a16="http://schemas.microsoft.com/office/drawing/2014/main" id="{B9A6DE90-160F-0F53-8AE8-A914D24F90CD}"/>
                </a:ext>
              </a:extLst>
            </p:cNvPr>
            <p:cNvSpPr/>
            <p:nvPr/>
          </p:nvSpPr>
          <p:spPr>
            <a:xfrm>
              <a:off x="2376150" y="2195774"/>
              <a:ext cx="638146" cy="750753"/>
            </a:xfrm>
            <a:custGeom>
              <a:avLst/>
              <a:gdLst>
                <a:gd name="connsiteX0" fmla="*/ 0 w 323850"/>
                <a:gd name="connsiteY0" fmla="*/ 66675 h 381000"/>
                <a:gd name="connsiteX1" fmla="*/ 66675 w 323850"/>
                <a:gd name="connsiteY1" fmla="*/ 0 h 381000"/>
                <a:gd name="connsiteX2" fmla="*/ 133350 w 323850"/>
                <a:gd name="connsiteY2" fmla="*/ 66675 h 381000"/>
                <a:gd name="connsiteX3" fmla="*/ 85513 w 323850"/>
                <a:gd name="connsiteY3" fmla="*/ 130652 h 381000"/>
                <a:gd name="connsiteX4" fmla="*/ 185738 w 323850"/>
                <a:gd name="connsiteY4" fmla="*/ 204788 h 381000"/>
                <a:gd name="connsiteX5" fmla="*/ 192034 w 323850"/>
                <a:gd name="connsiteY5" fmla="*/ 204788 h 381000"/>
                <a:gd name="connsiteX6" fmla="*/ 257175 w 323850"/>
                <a:gd name="connsiteY6" fmla="*/ 152400 h 381000"/>
                <a:gd name="connsiteX7" fmla="*/ 323850 w 323850"/>
                <a:gd name="connsiteY7" fmla="*/ 219075 h 381000"/>
                <a:gd name="connsiteX8" fmla="*/ 257175 w 323850"/>
                <a:gd name="connsiteY8" fmla="*/ 285750 h 381000"/>
                <a:gd name="connsiteX9" fmla="*/ 192034 w 323850"/>
                <a:gd name="connsiteY9" fmla="*/ 233363 h 381000"/>
                <a:gd name="connsiteX10" fmla="*/ 185738 w 323850"/>
                <a:gd name="connsiteY10" fmla="*/ 233363 h 381000"/>
                <a:gd name="connsiteX11" fmla="*/ 80963 w 323850"/>
                <a:gd name="connsiteY11" fmla="*/ 182510 h 381000"/>
                <a:gd name="connsiteX12" fmla="*/ 80963 w 323850"/>
                <a:gd name="connsiteY12" fmla="*/ 249184 h 381000"/>
                <a:gd name="connsiteX13" fmla="*/ 133350 w 323850"/>
                <a:gd name="connsiteY13" fmla="*/ 314325 h 381000"/>
                <a:gd name="connsiteX14" fmla="*/ 66675 w 323850"/>
                <a:gd name="connsiteY14" fmla="*/ 381000 h 381000"/>
                <a:gd name="connsiteX15" fmla="*/ 0 w 323850"/>
                <a:gd name="connsiteY15" fmla="*/ 314325 h 381000"/>
                <a:gd name="connsiteX16" fmla="*/ 52388 w 323850"/>
                <a:gd name="connsiteY16" fmla="*/ 249184 h 381000"/>
                <a:gd name="connsiteX17" fmla="*/ 52388 w 323850"/>
                <a:gd name="connsiteY17" fmla="*/ 131816 h 381000"/>
                <a:gd name="connsiteX18" fmla="*/ 0 w 323850"/>
                <a:gd name="connsiteY18" fmla="*/ 66675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3850" h="381000">
                  <a:moveTo>
                    <a:pt x="0" y="66675"/>
                  </a:moveTo>
                  <a:cubicBezTo>
                    <a:pt x="0" y="29851"/>
                    <a:pt x="29851" y="0"/>
                    <a:pt x="66675" y="0"/>
                  </a:cubicBezTo>
                  <a:cubicBezTo>
                    <a:pt x="103499" y="0"/>
                    <a:pt x="133350" y="29851"/>
                    <a:pt x="133350" y="66675"/>
                  </a:cubicBezTo>
                  <a:cubicBezTo>
                    <a:pt x="133350" y="96956"/>
                    <a:pt x="113163" y="122523"/>
                    <a:pt x="85513" y="130652"/>
                  </a:cubicBezTo>
                  <a:cubicBezTo>
                    <a:pt x="98617" y="173568"/>
                    <a:pt x="138532" y="204788"/>
                    <a:pt x="185738" y="204788"/>
                  </a:cubicBezTo>
                  <a:lnTo>
                    <a:pt x="192034" y="204788"/>
                  </a:lnTo>
                  <a:cubicBezTo>
                    <a:pt x="198575" y="174829"/>
                    <a:pt x="225255" y="152400"/>
                    <a:pt x="257175" y="152400"/>
                  </a:cubicBezTo>
                  <a:cubicBezTo>
                    <a:pt x="293999" y="152400"/>
                    <a:pt x="323850" y="182251"/>
                    <a:pt x="323850" y="219075"/>
                  </a:cubicBezTo>
                  <a:cubicBezTo>
                    <a:pt x="323850" y="255899"/>
                    <a:pt x="293999" y="285750"/>
                    <a:pt x="257175" y="285750"/>
                  </a:cubicBezTo>
                  <a:cubicBezTo>
                    <a:pt x="225255" y="285750"/>
                    <a:pt x="198575" y="263321"/>
                    <a:pt x="192034" y="233363"/>
                  </a:cubicBezTo>
                  <a:lnTo>
                    <a:pt x="185738" y="233363"/>
                  </a:lnTo>
                  <a:cubicBezTo>
                    <a:pt x="143237" y="233363"/>
                    <a:pt x="105381" y="213480"/>
                    <a:pt x="80963" y="182510"/>
                  </a:cubicBezTo>
                  <a:lnTo>
                    <a:pt x="80963" y="249184"/>
                  </a:lnTo>
                  <a:cubicBezTo>
                    <a:pt x="110920" y="255725"/>
                    <a:pt x="133350" y="282405"/>
                    <a:pt x="133350" y="314325"/>
                  </a:cubicBezTo>
                  <a:cubicBezTo>
                    <a:pt x="133350" y="351149"/>
                    <a:pt x="103499" y="381000"/>
                    <a:pt x="66675" y="381000"/>
                  </a:cubicBezTo>
                  <a:cubicBezTo>
                    <a:pt x="29851" y="381000"/>
                    <a:pt x="0" y="351149"/>
                    <a:pt x="0" y="314325"/>
                  </a:cubicBezTo>
                  <a:cubicBezTo>
                    <a:pt x="0" y="282405"/>
                    <a:pt x="22430" y="255725"/>
                    <a:pt x="52388" y="249184"/>
                  </a:cubicBezTo>
                  <a:lnTo>
                    <a:pt x="52388" y="131816"/>
                  </a:lnTo>
                  <a:cubicBezTo>
                    <a:pt x="22430" y="125275"/>
                    <a:pt x="0" y="98594"/>
                    <a:pt x="0" y="66675"/>
                  </a:cubicBezTo>
                  <a:close/>
                </a:path>
              </a:pathLst>
            </a:cu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a:solidFill>
                  <a:srgbClr val="FFFFFF"/>
                </a:solidFill>
                <a:latin typeface="Segoe UI Semibold"/>
              </a:endParaRPr>
            </a:p>
          </p:txBody>
        </p:sp>
      </p:grpSp>
      <p:cxnSp>
        <p:nvCxnSpPr>
          <p:cNvPr id="18" name="Straight Connector 17">
            <a:extLst>
              <a:ext uri="{FF2B5EF4-FFF2-40B4-BE49-F238E27FC236}">
                <a16:creationId xmlns:a16="http://schemas.microsoft.com/office/drawing/2014/main" id="{5578D9DE-D8F1-E7D0-6EC0-A0EE0712D451}"/>
              </a:ext>
            </a:extLst>
          </p:cNvPr>
          <p:cNvCxnSpPr>
            <a:cxnSpLocks/>
          </p:cNvCxnSpPr>
          <p:nvPr/>
        </p:nvCxnSpPr>
        <p:spPr>
          <a:xfrm>
            <a:off x="4383744" y="2323465"/>
            <a:ext cx="0" cy="2834640"/>
          </a:xfrm>
          <a:prstGeom prst="line">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cxnSp>
      <p:cxnSp>
        <p:nvCxnSpPr>
          <p:cNvPr id="19" name="Straight Connector 18">
            <a:extLst>
              <a:ext uri="{FF2B5EF4-FFF2-40B4-BE49-F238E27FC236}">
                <a16:creationId xmlns:a16="http://schemas.microsoft.com/office/drawing/2014/main" id="{B668FA86-7284-D342-FFD2-DE8EF18F188C}"/>
              </a:ext>
            </a:extLst>
          </p:cNvPr>
          <p:cNvCxnSpPr>
            <a:cxnSpLocks/>
          </p:cNvCxnSpPr>
          <p:nvPr/>
        </p:nvCxnSpPr>
        <p:spPr>
          <a:xfrm>
            <a:off x="7802586" y="2323465"/>
            <a:ext cx="0" cy="2834640"/>
          </a:xfrm>
          <a:prstGeom prst="line">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cxnSp>
      <p:sp>
        <p:nvSpPr>
          <p:cNvPr id="20" name="Title 19">
            <a:extLst>
              <a:ext uri="{FF2B5EF4-FFF2-40B4-BE49-F238E27FC236}">
                <a16:creationId xmlns:a16="http://schemas.microsoft.com/office/drawing/2014/main" id="{B0F85D0A-2541-5922-C3BC-658CE6E78EFA}"/>
              </a:ext>
            </a:extLst>
          </p:cNvPr>
          <p:cNvSpPr>
            <a:spLocks noGrp="1"/>
          </p:cNvSpPr>
          <p:nvPr>
            <p:ph type="title"/>
          </p:nvPr>
        </p:nvSpPr>
        <p:spPr>
          <a:xfrm>
            <a:off x="586739" y="457202"/>
            <a:ext cx="11018520" cy="492443"/>
          </a:xfrm>
        </p:spPr>
        <p:txBody>
          <a:bodyPr/>
          <a:lstStyle/>
          <a:p>
            <a:pPr algn="ctr"/>
            <a:r>
              <a:rPr lang="en-US" sz="3200">
                <a:solidFill>
                  <a:schemeClr val="tx1"/>
                </a:solidFill>
              </a:rPr>
              <a:t>What can be extended with Agents</a:t>
            </a:r>
            <a:endParaRPr lang="en-AU" sz="3200">
              <a:solidFill>
                <a:schemeClr val="tx1"/>
              </a:solidFill>
            </a:endParaRPr>
          </a:p>
        </p:txBody>
      </p:sp>
    </p:spTree>
    <p:extLst>
      <p:ext uri="{BB962C8B-B14F-4D97-AF65-F5344CB8AC3E}">
        <p14:creationId xmlns:p14="http://schemas.microsoft.com/office/powerpoint/2010/main" val="35486593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42" presetClass="path" presetSubtype="0" decel="100000" fill="hold" nodeType="withEffect">
                                  <p:stCondLst>
                                    <p:cond delay="0"/>
                                  </p:stCondLst>
                                  <p:childTnLst>
                                    <p:animMotion origin="layout" path="M -8.33333E-7 -2.59259E-6 L -8.33333E-7 0.03542 " pathEditMode="relative" rAng="0" ptsTypes="AA">
                                      <p:cBhvr>
                                        <p:cTn id="12" dur="700" spd="-100000" fill="hold"/>
                                        <p:tgtEl>
                                          <p:spTgt spid="15"/>
                                        </p:tgtEl>
                                        <p:attrNameLst>
                                          <p:attrName>ppt_x</p:attrName>
                                          <p:attrName>ppt_y</p:attrName>
                                        </p:attrNameLst>
                                      </p:cBhvr>
                                      <p:rCtr x="0" y="1759"/>
                                    </p:animMotion>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42" presetClass="path" presetSubtype="0" decel="100000" fill="hold" grpId="1" nodeType="withEffect">
                                  <p:stCondLst>
                                    <p:cond delay="0"/>
                                  </p:stCondLst>
                                  <p:childTnLst>
                                    <p:animMotion origin="layout" path="M -8.33333E-7 2.22222E-6 L -8.33333E-7 0.03541 " pathEditMode="relative" rAng="0" ptsTypes="AA">
                                      <p:cBhvr>
                                        <p:cTn id="17" dur="700" spd="-100000" fill="hold"/>
                                        <p:tgtEl>
                                          <p:spTgt spid="3"/>
                                        </p:tgtEl>
                                        <p:attrNameLst>
                                          <p:attrName>ppt_x</p:attrName>
                                          <p:attrName>ppt_y</p:attrName>
                                        </p:attrNameLst>
                                      </p:cBhvr>
                                      <p:rCtr x="0" y="1759"/>
                                    </p:animMotion>
                                  </p:childTnLst>
                                </p:cTn>
                              </p:par>
                              <p:par>
                                <p:cTn id="18" presetID="10" presetClass="entr" presetSubtype="0" fill="hold" grpId="0" nodeType="withEffect">
                                  <p:stCondLst>
                                    <p:cond delay="30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42" presetClass="path" presetSubtype="0" decel="100000" fill="hold" grpId="1" nodeType="withEffect">
                                  <p:stCondLst>
                                    <p:cond delay="300"/>
                                  </p:stCondLst>
                                  <p:childTnLst>
                                    <p:animMotion origin="layout" path="M -8.33333E-7 -4.44444E-6 L -8.33333E-7 0.03542 " pathEditMode="relative" rAng="0" ptsTypes="AA">
                                      <p:cBhvr>
                                        <p:cTn id="22" dur="700" spd="-100000" fill="hold"/>
                                        <p:tgtEl>
                                          <p:spTgt spid="5"/>
                                        </p:tgtEl>
                                        <p:attrNameLst>
                                          <p:attrName>ppt_x</p:attrName>
                                          <p:attrName>ppt_y</p:attrName>
                                        </p:attrNameLst>
                                      </p:cBhvr>
                                      <p:rCtr x="0" y="1759"/>
                                    </p:animMotion>
                                  </p:childTnLst>
                                </p:cTn>
                              </p:par>
                              <p:par>
                                <p:cTn id="23" presetID="10" presetClass="entr" presetSubtype="0" fill="hold" nodeType="withEffect">
                                  <p:stCondLst>
                                    <p:cond delay="3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10" presetClass="entr" presetSubtype="0" fill="hold" nodeType="withEffect">
                                  <p:stCondLst>
                                    <p:cond delay="60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42" presetClass="path" presetSubtype="0" decel="100000" fill="hold" nodeType="withEffect">
                                  <p:stCondLst>
                                    <p:cond delay="600"/>
                                  </p:stCondLst>
                                  <p:childTnLst>
                                    <p:animMotion origin="layout" path="M -3.54167E-6 -2.59259E-6 L -3.54167E-6 0.03542 " pathEditMode="relative" rAng="0" ptsTypes="AA">
                                      <p:cBhvr>
                                        <p:cTn id="30" dur="700" spd="-100000" fill="hold"/>
                                        <p:tgtEl>
                                          <p:spTgt spid="8"/>
                                        </p:tgtEl>
                                        <p:attrNameLst>
                                          <p:attrName>ppt_x</p:attrName>
                                          <p:attrName>ppt_y</p:attrName>
                                        </p:attrNameLst>
                                      </p:cBhvr>
                                      <p:rCtr x="0" y="1759"/>
                                    </p:animMotion>
                                  </p:childTnLst>
                                </p:cTn>
                              </p:par>
                              <p:par>
                                <p:cTn id="31" presetID="10" presetClass="entr" presetSubtype="0" fill="hold" grpId="0" nodeType="withEffect">
                                  <p:stCondLst>
                                    <p:cond delay="6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par>
                                <p:cTn id="34" presetID="42" presetClass="path" presetSubtype="0" decel="100000" fill="hold" grpId="1" nodeType="withEffect">
                                  <p:stCondLst>
                                    <p:cond delay="600"/>
                                  </p:stCondLst>
                                  <p:childTnLst>
                                    <p:animMotion origin="layout" path="M -3.33333E-6 2.22222E-6 L -3.33333E-6 0.03541 " pathEditMode="relative" rAng="0" ptsTypes="AA">
                                      <p:cBhvr>
                                        <p:cTn id="35" dur="700" spd="-100000" fill="hold"/>
                                        <p:tgtEl>
                                          <p:spTgt spid="4"/>
                                        </p:tgtEl>
                                        <p:attrNameLst>
                                          <p:attrName>ppt_x</p:attrName>
                                          <p:attrName>ppt_y</p:attrName>
                                        </p:attrNameLst>
                                      </p:cBhvr>
                                      <p:rCtr x="0" y="1759"/>
                                    </p:animMotion>
                                  </p:childTnLst>
                                </p:cTn>
                              </p:par>
                              <p:par>
                                <p:cTn id="36" presetID="10" presetClass="entr" presetSubtype="0" fill="hold" grpId="0" nodeType="withEffect">
                                  <p:stCondLst>
                                    <p:cond delay="60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500"/>
                                        <p:tgtEl>
                                          <p:spTgt spid="6"/>
                                        </p:tgtEl>
                                      </p:cBhvr>
                                    </p:animEffect>
                                  </p:childTnLst>
                                </p:cTn>
                              </p:par>
                              <p:par>
                                <p:cTn id="39" presetID="42" presetClass="path" presetSubtype="0" decel="100000" fill="hold" grpId="1" nodeType="withEffect">
                                  <p:stCondLst>
                                    <p:cond delay="600"/>
                                  </p:stCondLst>
                                  <p:childTnLst>
                                    <p:animMotion origin="layout" path="M -3.54167E-6 -3.33333E-6 L -3.54167E-6 0.03542 " pathEditMode="relative" rAng="0" ptsTypes="AA">
                                      <p:cBhvr>
                                        <p:cTn id="40" dur="700" spd="-100000" fill="hold"/>
                                        <p:tgtEl>
                                          <p:spTgt spid="6"/>
                                        </p:tgtEl>
                                        <p:attrNameLst>
                                          <p:attrName>ppt_x</p:attrName>
                                          <p:attrName>ppt_y</p:attrName>
                                        </p:attrNameLst>
                                      </p:cBhvr>
                                      <p:rCtr x="0" y="1759"/>
                                    </p:animMotion>
                                  </p:childTnLst>
                                </p:cTn>
                              </p:par>
                              <p:par>
                                <p:cTn id="41" presetID="10" presetClass="entr" presetSubtype="0" fill="hold" nodeType="withEffect">
                                  <p:stCondLst>
                                    <p:cond delay="60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nodeType="withEffect">
                                  <p:stCondLst>
                                    <p:cond delay="90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par>
                                <p:cTn id="47" presetID="42" presetClass="path" presetSubtype="0" decel="100000" fill="hold" nodeType="withEffect">
                                  <p:stCondLst>
                                    <p:cond delay="900"/>
                                  </p:stCondLst>
                                  <p:childTnLst>
                                    <p:animMotion origin="layout" path="M -4.16667E-6 -2.59259E-6 L -4.16667E-6 0.03542 " pathEditMode="relative" rAng="0" ptsTypes="AA">
                                      <p:cBhvr>
                                        <p:cTn id="48" dur="700" spd="-100000" fill="hold"/>
                                        <p:tgtEl>
                                          <p:spTgt spid="11"/>
                                        </p:tgtEl>
                                        <p:attrNameLst>
                                          <p:attrName>ppt_x</p:attrName>
                                          <p:attrName>ppt_y</p:attrName>
                                        </p:attrNameLst>
                                      </p:cBhvr>
                                      <p:rCtr x="0" y="1759"/>
                                    </p:animMotion>
                                  </p:childTnLst>
                                </p:cTn>
                              </p:par>
                              <p:par>
                                <p:cTn id="49" presetID="10" presetClass="entr" presetSubtype="0" fill="hold" grpId="0" nodeType="withEffect">
                                  <p:stCondLst>
                                    <p:cond delay="90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par>
                                <p:cTn id="52" presetID="42" presetClass="path" presetSubtype="0" decel="100000" fill="hold" grpId="1" nodeType="withEffect">
                                  <p:stCondLst>
                                    <p:cond delay="900"/>
                                  </p:stCondLst>
                                  <p:childTnLst>
                                    <p:animMotion origin="layout" path="M -4.375E-6 2.22222E-6 L -4.375E-6 0.03541 " pathEditMode="relative" rAng="0" ptsTypes="AA">
                                      <p:cBhvr>
                                        <p:cTn id="53" dur="700" spd="-100000" fill="hold"/>
                                        <p:tgtEl>
                                          <p:spTgt spid="14"/>
                                        </p:tgtEl>
                                        <p:attrNameLst>
                                          <p:attrName>ppt_x</p:attrName>
                                          <p:attrName>ppt_y</p:attrName>
                                        </p:attrNameLst>
                                      </p:cBhvr>
                                      <p:rCtr x="0" y="1759"/>
                                    </p:animMotion>
                                  </p:childTnLst>
                                </p:cTn>
                              </p:par>
                              <p:par>
                                <p:cTn id="54" presetID="10" presetClass="entr" presetSubtype="0" fill="hold" grpId="0" nodeType="withEffect">
                                  <p:stCondLst>
                                    <p:cond delay="90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500"/>
                                        <p:tgtEl>
                                          <p:spTgt spid="7"/>
                                        </p:tgtEl>
                                      </p:cBhvr>
                                    </p:animEffect>
                                  </p:childTnLst>
                                </p:cTn>
                              </p:par>
                              <p:par>
                                <p:cTn id="57" presetID="42" presetClass="path" presetSubtype="0" decel="100000" fill="hold" grpId="1" nodeType="withEffect">
                                  <p:stCondLst>
                                    <p:cond delay="900"/>
                                  </p:stCondLst>
                                  <p:childTnLst>
                                    <p:animMotion origin="layout" path="M 1.66667E-6 -4.44444E-6 L 1.66667E-6 0.03542 " pathEditMode="relative" rAng="0" ptsTypes="AA">
                                      <p:cBhvr>
                                        <p:cTn id="58"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3" grpId="1"/>
      <p:bldP spid="4" grpId="0"/>
      <p:bldP spid="4" grpId="1"/>
      <p:bldP spid="5" grpId="0"/>
      <p:bldP spid="5" grpId="1"/>
      <p:bldP spid="6" grpId="0"/>
      <p:bldP spid="6" grpId="1"/>
      <p:bldP spid="7" grpId="0"/>
      <p:bldP spid="7" grpId="1"/>
      <p:bldP spid="14" grpId="0"/>
      <p:bldP spid="1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a:extLst>
              <a:ext uri="{FF2B5EF4-FFF2-40B4-BE49-F238E27FC236}">
                <a16:creationId xmlns:a16="http://schemas.microsoft.com/office/drawing/2014/main" id="{7523C2EB-E429-7670-7649-F634A0755A34}"/>
              </a:ext>
            </a:extLst>
          </p:cNvPr>
          <p:cNvSpPr txBox="1">
            <a:spLocks/>
          </p:cNvSpPr>
          <p:nvPr/>
        </p:nvSpPr>
        <p:spPr>
          <a:xfrm>
            <a:off x="664509" y="2752208"/>
            <a:ext cx="2841703" cy="136960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lang="en-US" sz="2000" b="0" i="0" kern="1200" cap="none" spc="-50" baseline="0">
                <a:ln w="3175">
                  <a:noFill/>
                </a:ln>
                <a:solidFill>
                  <a:schemeClr val="tx1"/>
                </a:solidFill>
                <a:effectLst/>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IN" sz="280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Sans Display Semibold" pitchFamily="2" charset="0"/>
                <a:ea typeface="+mn-ea"/>
                <a:cs typeface="Segoe Sans Display Semibold" pitchFamily="2" charset="0"/>
              </a:rPr>
              <a:t>Agent</a:t>
            </a:r>
            <a:r>
              <a:rPr kumimoji="0" lang="en-IN" sz="4000" b="0" i="0" u="none" strike="noStrike" kern="1200" cap="none" spc="0" normalizeH="0" baseline="0" noProof="0">
                <a:ln>
                  <a:noFill/>
                </a:ln>
                <a:effectLst/>
                <a:uLnTx/>
                <a:uFillTx/>
                <a:latin typeface="Segoe UI Semibold"/>
                <a:ea typeface="+mj-ea"/>
                <a:cs typeface="Segoe UI Semibold" panose="020B0502040204020203" pitchFamily="34" charset="0"/>
              </a:rPr>
              <a:t> </a:t>
            </a:r>
            <a:r>
              <a:rPr lang="en-IN" sz="2800">
                <a:gradFill flip="none" rotWithShape="1">
                  <a:gsLst>
                    <a:gs pos="100000">
                      <a:srgbClr val="318581"/>
                    </a:gs>
                    <a:gs pos="0">
                      <a:srgbClr val="F65567"/>
                    </a:gs>
                    <a:gs pos="32000">
                      <a:srgbClr val="AC35AF"/>
                    </a:gs>
                    <a:gs pos="68000">
                      <a:srgbClr val="0A6BBA"/>
                    </a:gs>
                  </a:gsLst>
                  <a:path path="circle">
                    <a:fillToRect l="100000" t="100000"/>
                  </a:path>
                  <a:tileRect r="-100000" b="-100000"/>
                </a:gradFill>
                <a:latin typeface="Segoe Sans Display Semibold" pitchFamily="2" charset="0"/>
                <a:ea typeface="+mn-ea"/>
                <a:cs typeface="Segoe Sans Display Semibold" pitchFamily="2" charset="0"/>
              </a:rPr>
              <a:t>architecture</a:t>
            </a:r>
          </a:p>
        </p:txBody>
      </p:sp>
      <p:grpSp>
        <p:nvGrpSpPr>
          <p:cNvPr id="65" name="Group 64">
            <a:extLst>
              <a:ext uri="{FF2B5EF4-FFF2-40B4-BE49-F238E27FC236}">
                <a16:creationId xmlns:a16="http://schemas.microsoft.com/office/drawing/2014/main" id="{D92E8F6B-4A7C-0918-9081-C5D0BA50E3ED}"/>
              </a:ext>
            </a:extLst>
          </p:cNvPr>
          <p:cNvGrpSpPr/>
          <p:nvPr/>
        </p:nvGrpSpPr>
        <p:grpSpPr>
          <a:xfrm>
            <a:off x="6394310" y="1288275"/>
            <a:ext cx="3273739" cy="1416439"/>
            <a:chOff x="6394310" y="1288275"/>
            <a:chExt cx="3273739" cy="1416439"/>
          </a:xfrm>
          <a:solidFill>
            <a:schemeClr val="tx2">
              <a:lumMod val="10000"/>
              <a:lumOff val="90000"/>
            </a:schemeClr>
          </a:solidFill>
        </p:grpSpPr>
        <p:sp>
          <p:nvSpPr>
            <p:cNvPr id="66" name="Freeform: Shape 65">
              <a:extLst>
                <a:ext uri="{FF2B5EF4-FFF2-40B4-BE49-F238E27FC236}">
                  <a16:creationId xmlns:a16="http://schemas.microsoft.com/office/drawing/2014/main" id="{939C837A-913D-4551-9A08-3E345152D2B9}"/>
                </a:ext>
              </a:extLst>
            </p:cNvPr>
            <p:cNvSpPr/>
            <p:nvPr/>
          </p:nvSpPr>
          <p:spPr>
            <a:xfrm>
              <a:off x="6394310"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67" name="Rectangle 66">
              <a:extLst>
                <a:ext uri="{FF2B5EF4-FFF2-40B4-BE49-F238E27FC236}">
                  <a16:creationId xmlns:a16="http://schemas.microsoft.com/office/drawing/2014/main" id="{F6DD7C05-46C3-5530-3B63-65B85F8D22D9}"/>
                </a:ext>
              </a:extLst>
            </p:cNvPr>
            <p:cNvSpPr/>
            <p:nvPr/>
          </p:nvSpPr>
          <p:spPr>
            <a:xfrm>
              <a:off x="6455136" y="1681024"/>
              <a:ext cx="3152085" cy="630942"/>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a:ea typeface="+mn-ea"/>
                  <a:cs typeface="+mn-cs"/>
                </a:rPr>
                <a:t>Instructions and Grounding</a:t>
              </a:r>
            </a:p>
          </p:txBody>
        </p:sp>
      </p:grpSp>
      <p:grpSp>
        <p:nvGrpSpPr>
          <p:cNvPr id="68" name="Group 67">
            <a:extLst>
              <a:ext uri="{FF2B5EF4-FFF2-40B4-BE49-F238E27FC236}">
                <a16:creationId xmlns:a16="http://schemas.microsoft.com/office/drawing/2014/main" id="{6E83F277-AA6A-1E36-0CDD-02CB7DF6C064}"/>
              </a:ext>
            </a:extLst>
          </p:cNvPr>
          <p:cNvGrpSpPr/>
          <p:nvPr/>
        </p:nvGrpSpPr>
        <p:grpSpPr>
          <a:xfrm>
            <a:off x="6394310" y="4121814"/>
            <a:ext cx="3273739" cy="1417099"/>
            <a:chOff x="6394310" y="4121814"/>
            <a:chExt cx="3273739" cy="1417099"/>
          </a:xfrm>
          <a:solidFill>
            <a:schemeClr val="tx2">
              <a:lumMod val="10000"/>
              <a:lumOff val="90000"/>
            </a:schemeClr>
          </a:solidFill>
        </p:grpSpPr>
        <p:grpSp>
          <p:nvGrpSpPr>
            <p:cNvPr id="69" name="Group 68">
              <a:extLst>
                <a:ext uri="{FF2B5EF4-FFF2-40B4-BE49-F238E27FC236}">
                  <a16:creationId xmlns:a16="http://schemas.microsoft.com/office/drawing/2014/main" id="{E12295E7-DCA1-85E3-CA2E-AA07EAE95C4F}"/>
                </a:ext>
              </a:extLst>
            </p:cNvPr>
            <p:cNvGrpSpPr/>
            <p:nvPr/>
          </p:nvGrpSpPr>
          <p:grpSpPr>
            <a:xfrm>
              <a:off x="6394310" y="4122474"/>
              <a:ext cx="3273739" cy="1416439"/>
              <a:chOff x="6394310" y="4122474"/>
              <a:chExt cx="3273739" cy="1416439"/>
            </a:xfrm>
            <a:grpFill/>
          </p:grpSpPr>
          <p:sp>
            <p:nvSpPr>
              <p:cNvPr id="71" name="Freeform: Shape 70">
                <a:extLst>
                  <a:ext uri="{FF2B5EF4-FFF2-40B4-BE49-F238E27FC236}">
                    <a16:creationId xmlns:a16="http://schemas.microsoft.com/office/drawing/2014/main" id="{1F4AF5F6-5CEA-A40E-A4DE-80622CEE8714}"/>
                  </a:ext>
                </a:extLst>
              </p:cNvPr>
              <p:cNvSpPr/>
              <p:nvPr/>
            </p:nvSpPr>
            <p:spPr>
              <a:xfrm>
                <a:off x="6394310"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900F87FE-B76D-E955-86F9-2445FFEB3B86}"/>
                  </a:ext>
                </a:extLst>
              </p:cNvPr>
              <p:cNvSpPr/>
              <p:nvPr/>
            </p:nvSpPr>
            <p:spPr>
              <a:xfrm>
                <a:off x="6547030" y="4392112"/>
                <a:ext cx="2968296" cy="877163"/>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chemeClr val="tx1"/>
                    </a:solidFill>
                    <a:effectLst/>
                    <a:uLnTx/>
                    <a:uFillTx/>
                    <a:latin typeface="Segoe UI"/>
                    <a:ea typeface="+mn-ea"/>
                    <a:cs typeface="+mn-cs"/>
                  </a:rPr>
                </a:br>
                <a:r>
                  <a:rPr kumimoji="0" lang="en-US" sz="1600" b="0" i="0" u="none" strike="noStrike" kern="1200" cap="none" spc="0" normalizeH="0" baseline="0" noProof="0">
                    <a:ln w="3175">
                      <a:noFill/>
                    </a:ln>
                    <a:solidFill>
                      <a:schemeClr val="tx1"/>
                    </a:solidFill>
                    <a:effectLst/>
                    <a:uLnTx/>
                    <a:uFillTx/>
                    <a:latin typeface="Segoe UI"/>
                    <a:ea typeface="+mn-ea"/>
                    <a:cs typeface="+mn-cs"/>
                  </a:rPr>
                  <a:t>self-learning</a:t>
                </a:r>
              </a:p>
            </p:txBody>
          </p:sp>
        </p:grpSp>
        <p:cxnSp>
          <p:nvCxnSpPr>
            <p:cNvPr id="70" name="Straight Connector 69">
              <a:extLst>
                <a:ext uri="{FF2B5EF4-FFF2-40B4-BE49-F238E27FC236}">
                  <a16:creationId xmlns:a16="http://schemas.microsoft.com/office/drawing/2014/main" id="{56109BAE-E084-80ED-9E76-F3F628E7C2BD}"/>
                </a:ext>
              </a:extLst>
            </p:cNvPr>
            <p:cNvCxnSpPr/>
            <p:nvPr/>
          </p:nvCxnSpPr>
          <p:spPr>
            <a:xfrm>
              <a:off x="6394310" y="4121814"/>
              <a:ext cx="3273739" cy="0"/>
            </a:xfrm>
            <a:prstGeom prst="line">
              <a:avLst/>
            </a:prstGeom>
            <a:grpFill/>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4A39904-2720-CDF9-C7AB-015C9C81EEB7}"/>
              </a:ext>
            </a:extLst>
          </p:cNvPr>
          <p:cNvGrpSpPr/>
          <p:nvPr/>
        </p:nvGrpSpPr>
        <p:grpSpPr>
          <a:xfrm>
            <a:off x="6394310" y="2704714"/>
            <a:ext cx="3273739" cy="1417100"/>
            <a:chOff x="6394310" y="2704714"/>
            <a:chExt cx="3273739" cy="1417100"/>
          </a:xfrm>
          <a:solidFill>
            <a:schemeClr val="tx2">
              <a:lumMod val="10000"/>
              <a:lumOff val="90000"/>
            </a:schemeClr>
          </a:solidFill>
        </p:grpSpPr>
        <p:grpSp>
          <p:nvGrpSpPr>
            <p:cNvPr id="74" name="Group 73">
              <a:extLst>
                <a:ext uri="{FF2B5EF4-FFF2-40B4-BE49-F238E27FC236}">
                  <a16:creationId xmlns:a16="http://schemas.microsoft.com/office/drawing/2014/main" id="{A5CB2E93-7AC9-1B69-F578-D0FB8C407A08}"/>
                </a:ext>
              </a:extLst>
            </p:cNvPr>
            <p:cNvGrpSpPr/>
            <p:nvPr/>
          </p:nvGrpSpPr>
          <p:grpSpPr>
            <a:xfrm>
              <a:off x="6394310" y="2705375"/>
              <a:ext cx="3273739" cy="1416439"/>
              <a:chOff x="6394310" y="2705375"/>
              <a:chExt cx="3273739" cy="1416439"/>
            </a:xfrm>
            <a:grpFill/>
          </p:grpSpPr>
          <p:sp>
            <p:nvSpPr>
              <p:cNvPr id="76" name="Freeform: Shape 75">
                <a:extLst>
                  <a:ext uri="{FF2B5EF4-FFF2-40B4-BE49-F238E27FC236}">
                    <a16:creationId xmlns:a16="http://schemas.microsoft.com/office/drawing/2014/main" id="{5E6C3480-3885-D5E9-9AF6-3D96A85ECF90}"/>
                  </a:ext>
                </a:extLst>
              </p:cNvPr>
              <p:cNvSpPr/>
              <p:nvPr/>
            </p:nvSpPr>
            <p:spPr>
              <a:xfrm>
                <a:off x="6394310"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77" name="Rectangle 76">
                <a:extLst>
                  <a:ext uri="{FF2B5EF4-FFF2-40B4-BE49-F238E27FC236}">
                    <a16:creationId xmlns:a16="http://schemas.microsoft.com/office/drawing/2014/main" id="{F0703BDF-D988-609C-680F-89B745C3C3B8}"/>
                  </a:ext>
                </a:extLst>
              </p:cNvPr>
              <p:cNvSpPr/>
              <p:nvPr/>
            </p:nvSpPr>
            <p:spPr>
              <a:xfrm>
                <a:off x="6458066" y="2975013"/>
                <a:ext cx="3146225" cy="877163"/>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chemeClr val="tx1"/>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chemeClr val="tx1"/>
                    </a:solidFill>
                    <a:effectLst/>
                    <a:uLnTx/>
                    <a:uFillTx/>
                    <a:latin typeface="Segoe UI"/>
                    <a:ea typeface="+mn-ea"/>
                    <a:cs typeface="+mn-cs"/>
                  </a:rPr>
                  <a:t>Actions / Tools, capabilities,                       triggers, workflows</a:t>
                </a:r>
              </a:p>
            </p:txBody>
          </p:sp>
        </p:grpSp>
        <p:cxnSp>
          <p:nvCxnSpPr>
            <p:cNvPr id="75" name="Straight Connector 74">
              <a:extLst>
                <a:ext uri="{FF2B5EF4-FFF2-40B4-BE49-F238E27FC236}">
                  <a16:creationId xmlns:a16="http://schemas.microsoft.com/office/drawing/2014/main" id="{BABFFC23-3436-A7C3-D034-AF4CC53751FC}"/>
                </a:ext>
              </a:extLst>
            </p:cNvPr>
            <p:cNvCxnSpPr/>
            <p:nvPr/>
          </p:nvCxnSpPr>
          <p:spPr>
            <a:xfrm>
              <a:off x="6394310" y="2704714"/>
              <a:ext cx="3273739" cy="0"/>
            </a:xfrm>
            <a:prstGeom prst="line">
              <a:avLst/>
            </a:prstGeom>
            <a:grpFill/>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5A67B302-423B-A663-492B-47D863808190}"/>
              </a:ext>
            </a:extLst>
          </p:cNvPr>
          <p:cNvGrpSpPr/>
          <p:nvPr/>
        </p:nvGrpSpPr>
        <p:grpSpPr>
          <a:xfrm>
            <a:off x="3120570" y="5538913"/>
            <a:ext cx="6547478" cy="968420"/>
            <a:chOff x="3120570" y="5538914"/>
            <a:chExt cx="6547478" cy="968420"/>
          </a:xfrm>
          <a:solidFill>
            <a:schemeClr val="bg1"/>
          </a:solidFill>
        </p:grpSpPr>
        <p:grpSp>
          <p:nvGrpSpPr>
            <p:cNvPr id="79" name="Group 78">
              <a:extLst>
                <a:ext uri="{FF2B5EF4-FFF2-40B4-BE49-F238E27FC236}">
                  <a16:creationId xmlns:a16="http://schemas.microsoft.com/office/drawing/2014/main" id="{8DE6B9A5-8F0C-814B-604C-BA667B12DDC2}"/>
                </a:ext>
              </a:extLst>
            </p:cNvPr>
            <p:cNvGrpSpPr/>
            <p:nvPr/>
          </p:nvGrpSpPr>
          <p:grpSpPr>
            <a:xfrm>
              <a:off x="3120570" y="5538914"/>
              <a:ext cx="6547478" cy="968420"/>
              <a:chOff x="3120570" y="5538914"/>
              <a:chExt cx="6547478" cy="968420"/>
            </a:xfrm>
            <a:grpFill/>
          </p:grpSpPr>
          <p:sp>
            <p:nvSpPr>
              <p:cNvPr id="81" name="Freeform: Shape 80">
                <a:extLst>
                  <a:ext uri="{FF2B5EF4-FFF2-40B4-BE49-F238E27FC236}">
                    <a16:creationId xmlns:a16="http://schemas.microsoft.com/office/drawing/2014/main" id="{42264AAB-3961-96EA-833B-6CEED124F23A}"/>
                  </a:ext>
                </a:extLst>
              </p:cNvPr>
              <p:cNvSpPr/>
              <p:nvPr/>
            </p:nvSpPr>
            <p:spPr>
              <a:xfrm>
                <a:off x="3120570"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82" name="Rectangle 81">
                <a:extLst>
                  <a:ext uri="{FF2B5EF4-FFF2-40B4-BE49-F238E27FC236}">
                    <a16:creationId xmlns:a16="http://schemas.microsoft.com/office/drawing/2014/main" id="{77AC66FB-F9F9-41EF-5706-493F097C12BB}"/>
                  </a:ext>
                </a:extLst>
              </p:cNvPr>
              <p:cNvSpPr>
                <a:spLocks/>
              </p:cNvSpPr>
              <p:nvPr/>
            </p:nvSpPr>
            <p:spPr>
              <a:xfrm>
                <a:off x="5160977" y="5823069"/>
                <a:ext cx="2466664" cy="400110"/>
              </a:xfrm>
              <a:prstGeom prst="rect">
                <a:avLst/>
              </a:pr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Foundation models</a:t>
                </a:r>
              </a:p>
            </p:txBody>
          </p:sp>
        </p:grpSp>
        <p:cxnSp>
          <p:nvCxnSpPr>
            <p:cNvPr id="80" name="Straight Connector 79">
              <a:extLst>
                <a:ext uri="{FF2B5EF4-FFF2-40B4-BE49-F238E27FC236}">
                  <a16:creationId xmlns:a16="http://schemas.microsoft.com/office/drawing/2014/main" id="{BFB5BD43-0F9B-8FBD-ADA4-6046DA994E2E}"/>
                </a:ext>
              </a:extLst>
            </p:cNvPr>
            <p:cNvCxnSpPr/>
            <p:nvPr/>
          </p:nvCxnSpPr>
          <p:spPr>
            <a:xfrm>
              <a:off x="3120570" y="5538914"/>
              <a:ext cx="6547478" cy="0"/>
            </a:xfrm>
            <a:prstGeom prst="line">
              <a:avLst/>
            </a:prstGeom>
            <a:grpFill/>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C4F390CD-773A-83B1-E468-1BA1C064A8E8}"/>
              </a:ext>
            </a:extLst>
          </p:cNvPr>
          <p:cNvGrpSpPr/>
          <p:nvPr/>
        </p:nvGrpSpPr>
        <p:grpSpPr>
          <a:xfrm>
            <a:off x="3120569" y="1288275"/>
            <a:ext cx="3273740" cy="4250638"/>
            <a:chOff x="3120569" y="1288275"/>
            <a:chExt cx="3273740" cy="4250638"/>
          </a:xfrm>
          <a:solidFill>
            <a:schemeClr val="bg1"/>
          </a:solidFill>
        </p:grpSpPr>
        <p:grpSp>
          <p:nvGrpSpPr>
            <p:cNvPr id="84" name="Group 83">
              <a:extLst>
                <a:ext uri="{FF2B5EF4-FFF2-40B4-BE49-F238E27FC236}">
                  <a16:creationId xmlns:a16="http://schemas.microsoft.com/office/drawing/2014/main" id="{A1E75EC5-3267-7BC7-9F83-B7AB17B7296B}"/>
                </a:ext>
              </a:extLst>
            </p:cNvPr>
            <p:cNvGrpSpPr/>
            <p:nvPr/>
          </p:nvGrpSpPr>
          <p:grpSpPr>
            <a:xfrm>
              <a:off x="3120569" y="1288275"/>
              <a:ext cx="3273739" cy="4250638"/>
              <a:chOff x="3120569" y="1288275"/>
              <a:chExt cx="3273739" cy="4250638"/>
            </a:xfrm>
            <a:grpFill/>
          </p:grpSpPr>
          <p:sp>
            <p:nvSpPr>
              <p:cNvPr id="86" name="Freeform: Shape 85">
                <a:extLst>
                  <a:ext uri="{FF2B5EF4-FFF2-40B4-BE49-F238E27FC236}">
                    <a16:creationId xmlns:a16="http://schemas.microsoft.com/office/drawing/2014/main" id="{B937C71A-329C-910C-95F3-98A49CB50C67}"/>
                  </a:ext>
                </a:extLst>
              </p:cNvPr>
              <p:cNvSpPr>
                <a:spLocks/>
              </p:cNvSpPr>
              <p:nvPr/>
            </p:nvSpPr>
            <p:spPr>
              <a:xfrm>
                <a:off x="3120569"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87" name="Rectangle 86">
                <a:extLst>
                  <a:ext uri="{FF2B5EF4-FFF2-40B4-BE49-F238E27FC236}">
                    <a16:creationId xmlns:a16="http://schemas.microsoft.com/office/drawing/2014/main" id="{806BDD52-6C45-9ADE-F307-52150C5B4B8F}"/>
                  </a:ext>
                </a:extLst>
              </p:cNvPr>
              <p:cNvSpPr>
                <a:spLocks/>
              </p:cNvSpPr>
              <p:nvPr/>
            </p:nvSpPr>
            <p:spPr>
              <a:xfrm>
                <a:off x="3524107" y="3213539"/>
                <a:ext cx="2466664" cy="400110"/>
              </a:xfrm>
              <a:prstGeom prst="rect">
                <a:avLst/>
              </a:pr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Orchestrator</a:t>
                </a:r>
              </a:p>
            </p:txBody>
          </p:sp>
        </p:grpSp>
        <p:cxnSp>
          <p:nvCxnSpPr>
            <p:cNvPr id="85" name="Straight Connector 84">
              <a:extLst>
                <a:ext uri="{FF2B5EF4-FFF2-40B4-BE49-F238E27FC236}">
                  <a16:creationId xmlns:a16="http://schemas.microsoft.com/office/drawing/2014/main" id="{FDA1A642-1EC0-B158-B559-914441CA5A0B}"/>
                </a:ext>
              </a:extLst>
            </p:cNvPr>
            <p:cNvCxnSpPr>
              <a:cxnSpLocks/>
            </p:cNvCxnSpPr>
            <p:nvPr/>
          </p:nvCxnSpPr>
          <p:spPr>
            <a:xfrm>
              <a:off x="6394309" y="1288275"/>
              <a:ext cx="0" cy="4250638"/>
            </a:xfrm>
            <a:prstGeom prst="line">
              <a:avLst/>
            </a:prstGeom>
            <a:grpFill/>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BDB3E4A4-4639-0A03-A10E-3E3F9CB088A9}"/>
              </a:ext>
            </a:extLst>
          </p:cNvPr>
          <p:cNvGrpSpPr/>
          <p:nvPr/>
        </p:nvGrpSpPr>
        <p:grpSpPr>
          <a:xfrm>
            <a:off x="3120570" y="319856"/>
            <a:ext cx="6547478" cy="968419"/>
            <a:chOff x="3120570" y="319856"/>
            <a:chExt cx="6547478" cy="968419"/>
          </a:xfrm>
          <a:solidFill>
            <a:schemeClr val="bg1"/>
          </a:solidFill>
        </p:grpSpPr>
        <p:grpSp>
          <p:nvGrpSpPr>
            <p:cNvPr id="89" name="Group 88">
              <a:extLst>
                <a:ext uri="{FF2B5EF4-FFF2-40B4-BE49-F238E27FC236}">
                  <a16:creationId xmlns:a16="http://schemas.microsoft.com/office/drawing/2014/main" id="{8E4E9FAF-97FF-74DB-9825-707FBF0FBF63}"/>
                </a:ext>
              </a:extLst>
            </p:cNvPr>
            <p:cNvGrpSpPr/>
            <p:nvPr/>
          </p:nvGrpSpPr>
          <p:grpSpPr>
            <a:xfrm>
              <a:off x="3120570" y="319856"/>
              <a:ext cx="6547478" cy="968419"/>
              <a:chOff x="3120570" y="319856"/>
              <a:chExt cx="6547478" cy="968419"/>
            </a:xfrm>
            <a:grpFill/>
          </p:grpSpPr>
          <p:sp>
            <p:nvSpPr>
              <p:cNvPr id="91" name="Freeform: Shape 90">
                <a:extLst>
                  <a:ext uri="{FF2B5EF4-FFF2-40B4-BE49-F238E27FC236}">
                    <a16:creationId xmlns:a16="http://schemas.microsoft.com/office/drawing/2014/main" id="{809B209F-9E90-09EB-253C-6DFAD2E31A2A}"/>
                  </a:ext>
                </a:extLst>
              </p:cNvPr>
              <p:cNvSpPr/>
              <p:nvPr/>
            </p:nvSpPr>
            <p:spPr>
              <a:xfrm>
                <a:off x="3120570" y="319856"/>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Segoe UI"/>
                  <a:ea typeface="+mn-ea"/>
                  <a:cs typeface="Segoe UI" pitchFamily="34" charset="0"/>
                </a:endParaRPr>
              </a:p>
            </p:txBody>
          </p:sp>
          <p:sp>
            <p:nvSpPr>
              <p:cNvPr id="92" name="Rectangle 91">
                <a:extLst>
                  <a:ext uri="{FF2B5EF4-FFF2-40B4-BE49-F238E27FC236}">
                    <a16:creationId xmlns:a16="http://schemas.microsoft.com/office/drawing/2014/main" id="{BACDA070-5749-6045-FF00-F9B7615CF170}"/>
                  </a:ext>
                </a:extLst>
              </p:cNvPr>
              <p:cNvSpPr>
                <a:spLocks/>
              </p:cNvSpPr>
              <p:nvPr/>
            </p:nvSpPr>
            <p:spPr>
              <a:xfrm>
                <a:off x="4736086" y="604012"/>
                <a:ext cx="3316446" cy="400110"/>
              </a:xfrm>
              <a:prstGeom prst="rect">
                <a:avLst/>
              </a:pr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mn-cs"/>
                  </a:rPr>
                  <a:t>User experience </a:t>
                </a:r>
                <a:r>
                  <a:rPr kumimoji="0" lang="en-US" sz="2000" b="0" i="0" u="none" strike="noStrike" kern="1200" cap="none" spc="0" normalizeH="0" baseline="0" noProof="0">
                    <a:ln>
                      <a:noFill/>
                    </a:ln>
                    <a:solidFill>
                      <a:schemeClr val="tx1"/>
                    </a:solidFill>
                    <a:effectLst/>
                    <a:uLnTx/>
                    <a:uFillTx/>
                    <a:latin typeface="Segoe UI"/>
                    <a:ea typeface="+mn-ea"/>
                    <a:cs typeface="+mn-cs"/>
                  </a:rPr>
                  <a:t>(optional)</a:t>
                </a:r>
              </a:p>
            </p:txBody>
          </p:sp>
        </p:grpSp>
        <p:cxnSp>
          <p:nvCxnSpPr>
            <p:cNvPr id="90" name="Straight Connector 89">
              <a:extLst>
                <a:ext uri="{FF2B5EF4-FFF2-40B4-BE49-F238E27FC236}">
                  <a16:creationId xmlns:a16="http://schemas.microsoft.com/office/drawing/2014/main" id="{70177C64-F5B5-09B2-F3CE-70F994B8658C}"/>
                </a:ext>
              </a:extLst>
            </p:cNvPr>
            <p:cNvCxnSpPr/>
            <p:nvPr/>
          </p:nvCxnSpPr>
          <p:spPr>
            <a:xfrm>
              <a:off x="3120570" y="1288275"/>
              <a:ext cx="6547478" cy="0"/>
            </a:xfrm>
            <a:prstGeom prst="line">
              <a:avLst/>
            </a:prstGeom>
            <a:grpFill/>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93" name="Rectangle: Rounded Corners 92">
            <a:extLst>
              <a:ext uri="{FF2B5EF4-FFF2-40B4-BE49-F238E27FC236}">
                <a16:creationId xmlns:a16="http://schemas.microsoft.com/office/drawing/2014/main" id="{518FE06A-A256-1F0D-2BEA-EF1174752CF7}"/>
              </a:ext>
            </a:extLst>
          </p:cNvPr>
          <p:cNvSpPr/>
          <p:nvPr/>
        </p:nvSpPr>
        <p:spPr bwMode="auto">
          <a:xfrm>
            <a:off x="3120570"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effectLst/>
              <a:uLnTx/>
              <a:uFillTx/>
              <a:latin typeface="Segoe UI Semibold"/>
              <a:ea typeface="+mn-ea"/>
              <a:cs typeface="+mn-cs"/>
            </a:endParaRPr>
          </a:p>
        </p:txBody>
      </p:sp>
      <p:cxnSp>
        <p:nvCxnSpPr>
          <p:cNvPr id="94" name="Straight Arrow Connector 93">
            <a:extLst>
              <a:ext uri="{FF2B5EF4-FFF2-40B4-BE49-F238E27FC236}">
                <a16:creationId xmlns:a16="http://schemas.microsoft.com/office/drawing/2014/main" id="{915B0E5D-B5E1-61D0-274A-8DE3EE46A4CE}"/>
              </a:ext>
            </a:extLst>
          </p:cNvPr>
          <p:cNvCxnSpPr>
            <a:cxnSpLocks/>
          </p:cNvCxnSpPr>
          <p:nvPr/>
        </p:nvCxnSpPr>
        <p:spPr>
          <a:xfrm rot="5400000">
            <a:off x="6394309" y="183457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4D302EB-EB9F-8CC9-9EFA-740678CABB99}"/>
              </a:ext>
            </a:extLst>
          </p:cNvPr>
          <p:cNvCxnSpPr>
            <a:cxnSpLocks/>
          </p:cNvCxnSpPr>
          <p:nvPr/>
        </p:nvCxnSpPr>
        <p:spPr>
          <a:xfrm rot="5400000">
            <a:off x="6394309" y="32516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63EDC936-42EE-2B16-4D9B-C25F3222762D}"/>
              </a:ext>
            </a:extLst>
          </p:cNvPr>
          <p:cNvCxnSpPr>
            <a:cxnSpLocks/>
          </p:cNvCxnSpPr>
          <p:nvPr/>
        </p:nvCxnSpPr>
        <p:spPr>
          <a:xfrm rot="5400000">
            <a:off x="6394309" y="466876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BD900A62-C224-6E3A-FF54-359C037815AA}"/>
              </a:ext>
            </a:extLst>
          </p:cNvPr>
          <p:cNvCxnSpPr>
            <a:cxnSpLocks/>
          </p:cNvCxnSpPr>
          <p:nvPr/>
        </p:nvCxnSpPr>
        <p:spPr>
          <a:xfrm>
            <a:off x="8031179"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F605465F-3F80-720C-22B8-53A190E99946}"/>
              </a:ext>
            </a:extLst>
          </p:cNvPr>
          <p:cNvCxnSpPr>
            <a:cxnSpLocks/>
          </p:cNvCxnSpPr>
          <p:nvPr/>
        </p:nvCxnSpPr>
        <p:spPr>
          <a:xfrm>
            <a:off x="4757438" y="1126350"/>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FB79EF86-A7AB-C556-7B9B-EB0E4C8B281B}"/>
              </a:ext>
            </a:extLst>
          </p:cNvPr>
          <p:cNvCxnSpPr>
            <a:cxnSpLocks/>
          </p:cNvCxnSpPr>
          <p:nvPr/>
        </p:nvCxnSpPr>
        <p:spPr>
          <a:xfrm>
            <a:off x="4757438" y="5376989"/>
            <a:ext cx="0" cy="32385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CB1BD7B1-3A83-9A0A-6F05-6D130ACC9BB8}"/>
              </a:ext>
            </a:extLst>
          </p:cNvPr>
          <p:cNvGrpSpPr/>
          <p:nvPr/>
        </p:nvGrpSpPr>
        <p:grpSpPr>
          <a:xfrm>
            <a:off x="10038180" y="1436260"/>
            <a:ext cx="1804479" cy="4109440"/>
            <a:chOff x="10038180" y="1436260"/>
            <a:chExt cx="1804479" cy="4109440"/>
          </a:xfrm>
        </p:grpSpPr>
        <p:sp>
          <p:nvSpPr>
            <p:cNvPr id="101" name="Rectangle: Rounded Corners 100">
              <a:extLst>
                <a:ext uri="{FF2B5EF4-FFF2-40B4-BE49-F238E27FC236}">
                  <a16:creationId xmlns:a16="http://schemas.microsoft.com/office/drawing/2014/main" id="{39897F52-FEB3-FAA2-DAC6-A327632094B4}"/>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effectLst/>
                <a:uLnTx/>
                <a:uFillTx/>
                <a:latin typeface="Segoe UI Semibold"/>
                <a:ea typeface="+mn-ea"/>
                <a:cs typeface="+mn-cs"/>
              </a:endParaRPr>
            </a:p>
          </p:txBody>
        </p:sp>
        <p:grpSp>
          <p:nvGrpSpPr>
            <p:cNvPr id="102" name="Group 101">
              <a:extLst>
                <a:ext uri="{FF2B5EF4-FFF2-40B4-BE49-F238E27FC236}">
                  <a16:creationId xmlns:a16="http://schemas.microsoft.com/office/drawing/2014/main" id="{ED294A38-8D22-9F17-2677-5EB3162DC1F8}"/>
                </a:ext>
              </a:extLst>
            </p:cNvPr>
            <p:cNvGrpSpPr/>
            <p:nvPr/>
          </p:nvGrpSpPr>
          <p:grpSpPr>
            <a:xfrm>
              <a:off x="10395074" y="2088940"/>
              <a:ext cx="1094325" cy="3217834"/>
              <a:chOff x="10395074" y="2088940"/>
              <a:chExt cx="1094325" cy="3217834"/>
            </a:xfrm>
          </p:grpSpPr>
          <p:sp>
            <p:nvSpPr>
              <p:cNvPr id="104" name="Rectangle: Rounded Corners 103">
                <a:extLst>
                  <a:ext uri="{FF2B5EF4-FFF2-40B4-BE49-F238E27FC236}">
                    <a16:creationId xmlns:a16="http://schemas.microsoft.com/office/drawing/2014/main" id="{2B04E10B-5726-5ED9-B1B4-65AEF3568CDE}"/>
                  </a:ext>
                </a:extLst>
              </p:cNvPr>
              <p:cNvSpPr/>
              <p:nvPr/>
            </p:nvSpPr>
            <p:spPr bwMode="auto">
              <a:xfrm>
                <a:off x="10398709" y="2088940"/>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effectLst/>
                  <a:uLnTx/>
                  <a:uFillTx/>
                  <a:latin typeface="Segoe UI Semibold"/>
                  <a:ea typeface="+mn-ea"/>
                  <a:cs typeface="+mn-cs"/>
                </a:endParaRPr>
              </a:p>
            </p:txBody>
          </p:sp>
          <p:sp>
            <p:nvSpPr>
              <p:cNvPr id="105" name="Rectangle: Rounded Corners 104">
                <a:extLst>
                  <a:ext uri="{FF2B5EF4-FFF2-40B4-BE49-F238E27FC236}">
                    <a16:creationId xmlns:a16="http://schemas.microsoft.com/office/drawing/2014/main" id="{5455424C-FCFE-0D6E-C75A-D2E32AD28DB9}"/>
                  </a:ext>
                </a:extLst>
              </p:cNvPr>
              <p:cNvSpPr/>
              <p:nvPr/>
            </p:nvSpPr>
            <p:spPr>
              <a:xfrm>
                <a:off x="10492147" y="2143629"/>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06" name="Rectangle: Rounded Corners 105">
                <a:extLst>
                  <a:ext uri="{FF2B5EF4-FFF2-40B4-BE49-F238E27FC236}">
                    <a16:creationId xmlns:a16="http://schemas.microsoft.com/office/drawing/2014/main" id="{17EB2AF8-F8D4-015A-9E94-4F6ED88DC18B}"/>
                  </a:ext>
                </a:extLst>
              </p:cNvPr>
              <p:cNvSpPr/>
              <p:nvPr/>
            </p:nvSpPr>
            <p:spPr>
              <a:xfrm>
                <a:off x="10489020" y="2307446"/>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07" name="Rectangle: Rounded Corners 106">
                <a:extLst>
                  <a:ext uri="{FF2B5EF4-FFF2-40B4-BE49-F238E27FC236}">
                    <a16:creationId xmlns:a16="http://schemas.microsoft.com/office/drawing/2014/main" id="{36B75D45-66B3-3B2B-DBF9-0322BDBB8766}"/>
                  </a:ext>
                </a:extLst>
              </p:cNvPr>
              <p:cNvSpPr/>
              <p:nvPr/>
            </p:nvSpPr>
            <p:spPr>
              <a:xfrm>
                <a:off x="10481870" y="2831279"/>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08" name="Rectangle: Rounded Corners 107">
                <a:extLst>
                  <a:ext uri="{FF2B5EF4-FFF2-40B4-BE49-F238E27FC236}">
                    <a16:creationId xmlns:a16="http://schemas.microsoft.com/office/drawing/2014/main" id="{E0713823-A08B-3C30-33DE-2B2AABA73188}"/>
                  </a:ext>
                </a:extLst>
              </p:cNvPr>
              <p:cNvSpPr/>
              <p:nvPr/>
            </p:nvSpPr>
            <p:spPr>
              <a:xfrm>
                <a:off x="10846820" y="2325717"/>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09" name="Rectangle: Rounded Corners 108">
                <a:extLst>
                  <a:ext uri="{FF2B5EF4-FFF2-40B4-BE49-F238E27FC236}">
                    <a16:creationId xmlns:a16="http://schemas.microsoft.com/office/drawing/2014/main" id="{4733BA14-A98B-1070-21C7-56C6AAA73730}"/>
                  </a:ext>
                </a:extLst>
              </p:cNvPr>
              <p:cNvSpPr/>
              <p:nvPr/>
            </p:nvSpPr>
            <p:spPr>
              <a:xfrm>
                <a:off x="10846820" y="2488895"/>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10" name="Rectangle: Rounded Corners 109">
                <a:extLst>
                  <a:ext uri="{FF2B5EF4-FFF2-40B4-BE49-F238E27FC236}">
                    <a16:creationId xmlns:a16="http://schemas.microsoft.com/office/drawing/2014/main" id="{9AD22467-9926-30CA-18CD-22AB657FFDE9}"/>
                  </a:ext>
                </a:extLst>
              </p:cNvPr>
              <p:cNvSpPr/>
              <p:nvPr/>
            </p:nvSpPr>
            <p:spPr>
              <a:xfrm>
                <a:off x="10846820" y="2649191"/>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11" name="Rectangle: Rounded Corners 110">
                <a:extLst>
                  <a:ext uri="{FF2B5EF4-FFF2-40B4-BE49-F238E27FC236}">
                    <a16:creationId xmlns:a16="http://schemas.microsoft.com/office/drawing/2014/main" id="{38DA38AF-09C9-DE3F-8613-B9931BF91A1A}"/>
                  </a:ext>
                </a:extLst>
              </p:cNvPr>
              <p:cNvSpPr/>
              <p:nvPr/>
            </p:nvSpPr>
            <p:spPr bwMode="auto">
              <a:xfrm>
                <a:off x="10395074" y="325016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effectLst/>
                  <a:uLnTx/>
                  <a:uFillTx/>
                  <a:latin typeface="Segoe UI Semibold"/>
                  <a:ea typeface="+mn-ea"/>
                  <a:cs typeface="+mn-cs"/>
                </a:endParaRPr>
              </a:p>
            </p:txBody>
          </p:sp>
          <p:sp>
            <p:nvSpPr>
              <p:cNvPr id="112" name="Rectangle: Rounded Corners 111">
                <a:extLst>
                  <a:ext uri="{FF2B5EF4-FFF2-40B4-BE49-F238E27FC236}">
                    <a16:creationId xmlns:a16="http://schemas.microsoft.com/office/drawing/2014/main" id="{5C87AF1F-7462-3890-E3FF-3D5FBB11141B}"/>
                  </a:ext>
                </a:extLst>
              </p:cNvPr>
              <p:cNvSpPr/>
              <p:nvPr/>
            </p:nvSpPr>
            <p:spPr>
              <a:xfrm>
                <a:off x="10488512" y="330485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13" name="Rectangle: Rounded Corners 112">
                <a:extLst>
                  <a:ext uri="{FF2B5EF4-FFF2-40B4-BE49-F238E27FC236}">
                    <a16:creationId xmlns:a16="http://schemas.microsoft.com/office/drawing/2014/main" id="{A70EBD5F-13C6-2705-2869-39516FEF7A2A}"/>
                  </a:ext>
                </a:extLst>
              </p:cNvPr>
              <p:cNvSpPr/>
              <p:nvPr/>
            </p:nvSpPr>
            <p:spPr>
              <a:xfrm>
                <a:off x="10485385" y="346867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14" name="Rectangle: Rounded Corners 113">
                <a:extLst>
                  <a:ext uri="{FF2B5EF4-FFF2-40B4-BE49-F238E27FC236}">
                    <a16:creationId xmlns:a16="http://schemas.microsoft.com/office/drawing/2014/main" id="{290D4674-BE37-8B5F-B8C6-CD1588BF5352}"/>
                  </a:ext>
                </a:extLst>
              </p:cNvPr>
              <p:cNvSpPr/>
              <p:nvPr/>
            </p:nvSpPr>
            <p:spPr>
              <a:xfrm>
                <a:off x="10478235" y="399250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15" name="Rectangle: Rounded Corners 114">
                <a:extLst>
                  <a:ext uri="{FF2B5EF4-FFF2-40B4-BE49-F238E27FC236}">
                    <a16:creationId xmlns:a16="http://schemas.microsoft.com/office/drawing/2014/main" id="{28D572D7-2D15-C8CF-B859-DDC4EC9F7C50}"/>
                  </a:ext>
                </a:extLst>
              </p:cNvPr>
              <p:cNvSpPr/>
              <p:nvPr/>
            </p:nvSpPr>
            <p:spPr>
              <a:xfrm>
                <a:off x="10843185" y="348694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16" name="Rectangle: Rounded Corners 115">
                <a:extLst>
                  <a:ext uri="{FF2B5EF4-FFF2-40B4-BE49-F238E27FC236}">
                    <a16:creationId xmlns:a16="http://schemas.microsoft.com/office/drawing/2014/main" id="{4DE9C249-6DBA-A0D8-C1A9-F3696786B443}"/>
                  </a:ext>
                </a:extLst>
              </p:cNvPr>
              <p:cNvSpPr/>
              <p:nvPr/>
            </p:nvSpPr>
            <p:spPr>
              <a:xfrm>
                <a:off x="10843185" y="365012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17" name="Rectangle: Rounded Corners 116">
                <a:extLst>
                  <a:ext uri="{FF2B5EF4-FFF2-40B4-BE49-F238E27FC236}">
                    <a16:creationId xmlns:a16="http://schemas.microsoft.com/office/drawing/2014/main" id="{C83A8159-6932-BCA7-8D40-6261BEE8F6A4}"/>
                  </a:ext>
                </a:extLst>
              </p:cNvPr>
              <p:cNvSpPr/>
              <p:nvPr/>
            </p:nvSpPr>
            <p:spPr>
              <a:xfrm>
                <a:off x="10843185" y="381042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18" name="Rectangle: Rounded Corners 117">
                <a:extLst>
                  <a:ext uri="{FF2B5EF4-FFF2-40B4-BE49-F238E27FC236}">
                    <a16:creationId xmlns:a16="http://schemas.microsoft.com/office/drawing/2014/main" id="{904586D0-430D-37C2-BFB1-18ECE767DCBD}"/>
                  </a:ext>
                </a:extLst>
              </p:cNvPr>
              <p:cNvSpPr/>
              <p:nvPr/>
            </p:nvSpPr>
            <p:spPr bwMode="auto">
              <a:xfrm>
                <a:off x="10395074" y="441139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effectLst/>
                  <a:uLnTx/>
                  <a:uFillTx/>
                  <a:latin typeface="Segoe UI Semibold"/>
                  <a:ea typeface="+mn-ea"/>
                  <a:cs typeface="+mn-cs"/>
                </a:endParaRPr>
              </a:p>
            </p:txBody>
          </p:sp>
          <p:sp>
            <p:nvSpPr>
              <p:cNvPr id="119" name="Rectangle: Rounded Corners 118">
                <a:extLst>
                  <a:ext uri="{FF2B5EF4-FFF2-40B4-BE49-F238E27FC236}">
                    <a16:creationId xmlns:a16="http://schemas.microsoft.com/office/drawing/2014/main" id="{69DC1671-5016-CC7D-0A01-E2770619013B}"/>
                  </a:ext>
                </a:extLst>
              </p:cNvPr>
              <p:cNvSpPr/>
              <p:nvPr/>
            </p:nvSpPr>
            <p:spPr>
              <a:xfrm>
                <a:off x="10488512" y="446608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20" name="Rectangle: Rounded Corners 119">
                <a:extLst>
                  <a:ext uri="{FF2B5EF4-FFF2-40B4-BE49-F238E27FC236}">
                    <a16:creationId xmlns:a16="http://schemas.microsoft.com/office/drawing/2014/main" id="{A881B31B-A077-227E-29C8-A9912BD8C9AD}"/>
                  </a:ext>
                </a:extLst>
              </p:cNvPr>
              <p:cNvSpPr/>
              <p:nvPr/>
            </p:nvSpPr>
            <p:spPr>
              <a:xfrm>
                <a:off x="10485385" y="462990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21" name="Rectangle: Rounded Corners 120">
                <a:extLst>
                  <a:ext uri="{FF2B5EF4-FFF2-40B4-BE49-F238E27FC236}">
                    <a16:creationId xmlns:a16="http://schemas.microsoft.com/office/drawing/2014/main" id="{B9EED616-91B7-4805-127B-200DA1CDBA76}"/>
                  </a:ext>
                </a:extLst>
              </p:cNvPr>
              <p:cNvSpPr/>
              <p:nvPr/>
            </p:nvSpPr>
            <p:spPr>
              <a:xfrm>
                <a:off x="10478235" y="515373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schemeClr val="tx1"/>
                  </a:solidFill>
                  <a:effectLst/>
                  <a:uLnTx/>
                  <a:uFillTx/>
                  <a:latin typeface="Segoe UI Semibold" panose="020B0702040204020203" pitchFamily="34" charset="0"/>
                  <a:ea typeface="+mn-ea"/>
                  <a:cs typeface="Segoe UI Semibold" panose="020B0702040204020203" pitchFamily="34" charset="0"/>
                </a:endParaRPr>
              </a:p>
            </p:txBody>
          </p:sp>
          <p:sp>
            <p:nvSpPr>
              <p:cNvPr id="122" name="Rectangle: Rounded Corners 121">
                <a:extLst>
                  <a:ext uri="{FF2B5EF4-FFF2-40B4-BE49-F238E27FC236}">
                    <a16:creationId xmlns:a16="http://schemas.microsoft.com/office/drawing/2014/main" id="{FAB80C6F-AF3B-A0C8-AA6D-B4A38D367B36}"/>
                  </a:ext>
                </a:extLst>
              </p:cNvPr>
              <p:cNvSpPr/>
              <p:nvPr/>
            </p:nvSpPr>
            <p:spPr>
              <a:xfrm>
                <a:off x="10843185" y="464817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23" name="Rectangle: Rounded Corners 122">
                <a:extLst>
                  <a:ext uri="{FF2B5EF4-FFF2-40B4-BE49-F238E27FC236}">
                    <a16:creationId xmlns:a16="http://schemas.microsoft.com/office/drawing/2014/main" id="{9B127A91-9306-6F7B-A069-7F6C7CA69B39}"/>
                  </a:ext>
                </a:extLst>
              </p:cNvPr>
              <p:cNvSpPr/>
              <p:nvPr/>
            </p:nvSpPr>
            <p:spPr>
              <a:xfrm>
                <a:off x="10843185" y="481135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sp>
            <p:nvSpPr>
              <p:cNvPr id="124" name="Rectangle: Rounded Corners 123">
                <a:extLst>
                  <a:ext uri="{FF2B5EF4-FFF2-40B4-BE49-F238E27FC236}">
                    <a16:creationId xmlns:a16="http://schemas.microsoft.com/office/drawing/2014/main" id="{C63F5E35-2726-3A6C-341B-22363378B679}"/>
                  </a:ext>
                </a:extLst>
              </p:cNvPr>
              <p:cNvSpPr/>
              <p:nvPr/>
            </p:nvSpPr>
            <p:spPr>
              <a:xfrm>
                <a:off x="10843185" y="497165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schemeClr val="tx1"/>
                  </a:solidFill>
                  <a:effectLst/>
                  <a:uLnTx/>
                  <a:uFillTx/>
                  <a:latin typeface="Segoe UI Semilight" panose="020B0402040204020203" pitchFamily="34" charset="0"/>
                  <a:ea typeface="+mn-ea"/>
                  <a:cs typeface="Segoe UI Semilight" panose="020B0402040204020203" pitchFamily="34" charset="0"/>
                </a:endParaRPr>
              </a:p>
            </p:txBody>
          </p:sp>
        </p:grpSp>
        <p:sp>
          <p:nvSpPr>
            <p:cNvPr id="103" name="TextBox 102">
              <a:extLst>
                <a:ext uri="{FF2B5EF4-FFF2-40B4-BE49-F238E27FC236}">
                  <a16:creationId xmlns:a16="http://schemas.microsoft.com/office/drawing/2014/main" id="{D5257973-E919-1EEC-990D-F085BA66459B}"/>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effectLst/>
                  <a:uLnTx/>
                  <a:uFillTx/>
                  <a:latin typeface="Segoe UI Semibold"/>
                  <a:ea typeface="+mn-ea"/>
                  <a:cs typeface="+mn-cs"/>
                </a:rPr>
                <a:t>Agents</a:t>
              </a:r>
            </a:p>
          </p:txBody>
        </p:sp>
      </p:grpSp>
      <p:cxnSp>
        <p:nvCxnSpPr>
          <p:cNvPr id="125" name="Straight Arrow Connector 124">
            <a:extLst>
              <a:ext uri="{FF2B5EF4-FFF2-40B4-BE49-F238E27FC236}">
                <a16:creationId xmlns:a16="http://schemas.microsoft.com/office/drawing/2014/main" id="{1C1112BA-3FA5-DE67-8F66-475F15D38267}"/>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886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E29D8E8-F20F-CCE2-042B-DD6AEEA105E9}"/>
              </a:ext>
              <a:ext uri="{C183D7F6-B498-43B3-948B-1728B52AA6E4}">
                <adec:decorative xmlns:adec="http://schemas.microsoft.com/office/drawing/2017/decorative" val="1"/>
              </a:ext>
            </a:extLst>
          </p:cNvPr>
          <p:cNvSpPr>
            <a:spLocks/>
          </p:cNvSpPr>
          <p:nvPr/>
        </p:nvSpPr>
        <p:spPr bwMode="auto">
          <a:xfrm>
            <a:off x="875184" y="1504860"/>
            <a:ext cx="10730076" cy="4776670"/>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FF842BA2-32C0-D2AE-BD50-004BB058F13E}"/>
              </a:ext>
            </a:extLst>
          </p:cNvPr>
          <p:cNvSpPr>
            <a:spLocks noGrp="1"/>
          </p:cNvSpPr>
          <p:nvPr>
            <p:ph type="title"/>
          </p:nvPr>
        </p:nvSpPr>
        <p:spPr>
          <a:xfrm>
            <a:off x="586740" y="457200"/>
            <a:ext cx="11018520" cy="492443"/>
          </a:xfrm>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Building </a:t>
            </a:r>
            <a:r>
              <a:rPr lang="en-US" sz="3200">
                <a:solidFill>
                  <a:schemeClr val="tx1"/>
                </a:solidFill>
                <a:cs typeface="Segoe UI Semibold" panose="020B0702040204020203" pitchFamily="34" charset="0"/>
              </a:rPr>
              <a:t>blocks</a:t>
            </a: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 of an Agent</a:t>
            </a:r>
            <a:endParaRPr kumimoji="0" lang="en-US" sz="3600" b="0" i="0" u="none" strike="noStrike" kern="1200" cap="none" spc="-50" normalizeH="0" baseline="0" noProof="0">
              <a:ln w="3175">
                <a:noFill/>
              </a:ln>
              <a:solidFill>
                <a:schemeClr val="tx1"/>
              </a:solidFill>
              <a:effectLst/>
              <a:uLnTx/>
              <a:uFillTx/>
              <a:ea typeface="+mn-ea"/>
              <a:cs typeface="Segoe UI Semibold" panose="020B0702040204020203" pitchFamily="34" charset="0"/>
            </a:endParaRPr>
          </a:p>
        </p:txBody>
      </p:sp>
      <p:sp>
        <p:nvSpPr>
          <p:cNvPr id="4" name="Rectangle: Rounded Corners 3">
            <a:extLst>
              <a:ext uri="{FF2B5EF4-FFF2-40B4-BE49-F238E27FC236}">
                <a16:creationId xmlns:a16="http://schemas.microsoft.com/office/drawing/2014/main" id="{657A8010-492C-D2CB-EEC6-9F5E24C6B38A}"/>
              </a:ext>
            </a:extLst>
          </p:cNvPr>
          <p:cNvSpPr/>
          <p:nvPr/>
        </p:nvSpPr>
        <p:spPr bwMode="auto">
          <a:xfrm>
            <a:off x="1304727" y="1828799"/>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F4364C"/>
                </a:solidFill>
                <a:latin typeface="Segoe UI Semibold"/>
              </a:rPr>
              <a:t>Instructions</a:t>
            </a:r>
            <a:endParaRPr lang="en-GB">
              <a:solidFill>
                <a:srgbClr val="F4364C"/>
              </a:solidFill>
              <a:latin typeface="Segoe UI Semibold"/>
            </a:endParaRP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A prompt that defines how the agent should work to achieve its specific goals</a:t>
            </a:r>
          </a:p>
        </p:txBody>
      </p:sp>
      <p:sp>
        <p:nvSpPr>
          <p:cNvPr id="8" name="TextBox 7">
            <a:extLst>
              <a:ext uri="{FF2B5EF4-FFF2-40B4-BE49-F238E27FC236}">
                <a16:creationId xmlns:a16="http://schemas.microsoft.com/office/drawing/2014/main" id="{A1E63DA8-610B-DE0B-0D0C-3A31EAC294E8}"/>
              </a:ext>
            </a:extLst>
          </p:cNvPr>
          <p:cNvSpPr txBox="1"/>
          <p:nvPr/>
        </p:nvSpPr>
        <p:spPr>
          <a:xfrm>
            <a:off x="1639818" y="3802877"/>
            <a:ext cx="2521009" cy="1938992"/>
          </a:xfrm>
          <a:prstGeom prst="rect">
            <a:avLst/>
          </a:prstGeom>
          <a:noFill/>
        </p:spPr>
        <p:txBody>
          <a:bodyPr wrap="square" lIns="0" tIns="0" rIns="0" bIns="0" rtlCol="0">
            <a:spAutoFit/>
          </a:bodyPr>
          <a:lstStyle/>
          <a:p>
            <a:pPr algn="l"/>
            <a:r>
              <a:rPr lang="en-GB" sz="900">
                <a:latin typeface="Consolas" panose="020B0609020204030204" pitchFamily="49" charset="0"/>
              </a:rPr>
              <a:t>You are Product </a:t>
            </a:r>
            <a:r>
              <a:rPr lang="en-GB" sz="900" err="1">
                <a:latin typeface="Consolas" panose="020B0609020204030204" pitchFamily="49" charset="0"/>
              </a:rPr>
              <a:t>Catalog</a:t>
            </a:r>
            <a:r>
              <a:rPr lang="en-GB" sz="900">
                <a:latin typeface="Consolas" panose="020B0609020204030204" pitchFamily="49" charset="0"/>
              </a:rPr>
              <a:t> agent. </a:t>
            </a:r>
            <a:br>
              <a:rPr lang="en-GB" sz="900">
                <a:latin typeface="Consolas" panose="020B0609020204030204" pitchFamily="49" charset="0"/>
              </a:rPr>
            </a:br>
            <a:r>
              <a:rPr lang="en-GB" sz="900">
                <a:latin typeface="Consolas" panose="020B0609020204030204" pitchFamily="49" charset="0"/>
              </a:rPr>
              <a:t>You answer queries related to Contoso Electronics product </a:t>
            </a:r>
            <a:r>
              <a:rPr lang="en-GB" sz="900" err="1">
                <a:latin typeface="Consolas" panose="020B0609020204030204" pitchFamily="49" charset="0"/>
              </a:rPr>
              <a:t>catalog</a:t>
            </a:r>
            <a:r>
              <a:rPr lang="en-GB" sz="900">
                <a:latin typeface="Consolas" panose="020B0609020204030204" pitchFamily="49" charset="0"/>
              </a:rPr>
              <a:t> and refuse to answer any other questions.</a:t>
            </a:r>
          </a:p>
          <a:p>
            <a:pPr algn="l"/>
            <a:r>
              <a:rPr lang="en-GB" sz="900">
                <a:latin typeface="Consolas" panose="020B0609020204030204" pitchFamily="49" charset="0"/>
              </a:rPr>
              <a:t>You can return product details in the following format:</a:t>
            </a:r>
            <a:br>
              <a:rPr lang="en-GB" sz="900">
                <a:latin typeface="Consolas" panose="020B0609020204030204" pitchFamily="49" charset="0"/>
              </a:rPr>
            </a:br>
            <a:r>
              <a:rPr lang="en-GB" sz="900">
                <a:latin typeface="Consolas" panose="020B0609020204030204" pitchFamily="49" charset="0"/>
              </a:rPr>
              <a:t>Product Title: **title in bold font**</a:t>
            </a:r>
          </a:p>
          <a:p>
            <a:pPr algn="l"/>
            <a:r>
              <a:rPr lang="en-GB" sz="900">
                <a:latin typeface="Consolas" panose="020B0609020204030204" pitchFamily="49" charset="0"/>
              </a:rPr>
              <a:t>Category: category of product here</a:t>
            </a:r>
          </a:p>
          <a:p>
            <a:pPr algn="l"/>
            <a:r>
              <a:rPr lang="en-GB" sz="900">
                <a:latin typeface="Consolas" panose="020B0609020204030204" pitchFamily="49" charset="0"/>
              </a:rPr>
              <a:t>Description: description of the product rephrased to be more relevant for user query.</a:t>
            </a:r>
          </a:p>
          <a:p>
            <a:pPr algn="l"/>
            <a:r>
              <a:rPr lang="en-GB" sz="900">
                <a:latin typeface="Consolas" panose="020B0609020204030204" pitchFamily="49" charset="0"/>
              </a:rPr>
              <a:t>You can send details by email if requested by user.</a:t>
            </a:r>
          </a:p>
          <a:p>
            <a:pPr algn="l"/>
            <a:r>
              <a:rPr lang="en-GB" sz="900">
                <a:latin typeface="Consolas" panose="020B0609020204030204" pitchFamily="49" charset="0"/>
              </a:rPr>
              <a:t>Be polite and use professional tone.</a:t>
            </a:r>
            <a:endParaRPr lang="en-US" sz="900">
              <a:latin typeface="Consolas" panose="020B0609020204030204" pitchFamily="49" charset="0"/>
            </a:endParaRPr>
          </a:p>
        </p:txBody>
      </p:sp>
      <p:cxnSp>
        <p:nvCxnSpPr>
          <p:cNvPr id="10" name="Straight Connector 9">
            <a:extLst>
              <a:ext uri="{FF2B5EF4-FFF2-40B4-BE49-F238E27FC236}">
                <a16:creationId xmlns:a16="http://schemas.microsoft.com/office/drawing/2014/main" id="{8F714324-84D6-B923-20BE-1D4048636ABA}"/>
              </a:ext>
              <a:ext uri="{C183D7F6-B498-43B3-948B-1728B52AA6E4}">
                <adec:decorative xmlns:adec="http://schemas.microsoft.com/office/drawing/2017/decorative" val="1"/>
              </a:ext>
            </a:extLst>
          </p:cNvPr>
          <p:cNvCxnSpPr/>
          <p:nvPr/>
        </p:nvCxnSpPr>
        <p:spPr>
          <a:xfrm>
            <a:off x="1639818" y="3580686"/>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Rectangle: Rounded Corners 5">
            <a:extLst>
              <a:ext uri="{FF2B5EF4-FFF2-40B4-BE49-F238E27FC236}">
                <a16:creationId xmlns:a16="http://schemas.microsoft.com/office/drawing/2014/main" id="{73F60F39-9842-8017-F707-94299EDD3EA3}"/>
              </a:ext>
            </a:extLst>
          </p:cNvPr>
          <p:cNvSpPr/>
          <p:nvPr/>
        </p:nvSpPr>
        <p:spPr bwMode="auto">
          <a:xfrm>
            <a:off x="4850782" y="1828800"/>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C03BC4"/>
                </a:solidFill>
                <a:latin typeface="Segoe UI Semibold"/>
              </a:rPr>
              <a:t>Knowledge</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Data that agent uses to provide responses, based on the context of the requests</a:t>
            </a:r>
          </a:p>
        </p:txBody>
      </p:sp>
      <p:sp>
        <p:nvSpPr>
          <p:cNvPr id="13" name="TextBox 12">
            <a:extLst>
              <a:ext uri="{FF2B5EF4-FFF2-40B4-BE49-F238E27FC236}">
                <a16:creationId xmlns:a16="http://schemas.microsoft.com/office/drawing/2014/main" id="{22EEAF98-0C85-2F9C-6B3F-8B98B0E84561}"/>
              </a:ext>
            </a:extLst>
          </p:cNvPr>
          <p:cNvSpPr txBox="1"/>
          <p:nvPr/>
        </p:nvSpPr>
        <p:spPr>
          <a:xfrm>
            <a:off x="5164508" y="3792338"/>
            <a:ext cx="2521009" cy="138499"/>
          </a:xfrm>
          <a:prstGeom prst="rect">
            <a:avLst/>
          </a:prstGeom>
          <a:noFill/>
        </p:spPr>
        <p:txBody>
          <a:bodyPr wrap="square" lIns="0" tIns="0" rIns="0" bIns="0" rtlCol="0">
            <a:spAutoFit/>
          </a:bodyPr>
          <a:lstStyle/>
          <a:p>
            <a:pPr algn="l"/>
            <a:r>
              <a:rPr lang="en-GB" sz="900">
                <a:latin typeface="Consolas" panose="020B0609020204030204" pitchFamily="49" charset="0"/>
              </a:rPr>
              <a:t>You can search in…</a:t>
            </a:r>
            <a:endParaRPr lang="en-US" sz="900" err="1">
              <a:latin typeface="Consolas" panose="020B0609020204030204" pitchFamily="49" charset="0"/>
            </a:endParaRPr>
          </a:p>
        </p:txBody>
      </p:sp>
      <p:pic>
        <p:nvPicPr>
          <p:cNvPr id="16" name="Picture 15">
            <a:extLst>
              <a:ext uri="{FF2B5EF4-FFF2-40B4-BE49-F238E27FC236}">
                <a16:creationId xmlns:a16="http://schemas.microsoft.com/office/drawing/2014/main" id="{555C5980-8CC6-8BEA-CEC6-719282DA8A22}"/>
              </a:ext>
              <a:ext uri="{C183D7F6-B498-43B3-948B-1728B52AA6E4}">
                <adec:decorative xmlns:adec="http://schemas.microsoft.com/office/drawing/2017/decorative" val="1"/>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6187252" y="4189805"/>
            <a:ext cx="414123" cy="403770"/>
          </a:xfrm>
          <a:prstGeom prst="rect">
            <a:avLst/>
          </a:prstGeom>
        </p:spPr>
      </p:pic>
      <p:sp>
        <p:nvSpPr>
          <p:cNvPr id="18" name="TextBox 17">
            <a:extLst>
              <a:ext uri="{FF2B5EF4-FFF2-40B4-BE49-F238E27FC236}">
                <a16:creationId xmlns:a16="http://schemas.microsoft.com/office/drawing/2014/main" id="{DBDD3B6C-025D-60E2-55E2-60F350D5787B}"/>
              </a:ext>
            </a:extLst>
          </p:cNvPr>
          <p:cNvSpPr txBox="1"/>
          <p:nvPr/>
        </p:nvSpPr>
        <p:spPr>
          <a:xfrm>
            <a:off x="5837585" y="4656106"/>
            <a:ext cx="1148456" cy="184666"/>
          </a:xfrm>
          <a:prstGeom prst="rect">
            <a:avLst/>
          </a:prstGeom>
          <a:noFill/>
        </p:spPr>
        <p:txBody>
          <a:bodyPr wrap="none" lIns="0" tIns="0" rIns="0" bIns="0" rtlCol="0">
            <a:spAutoFit/>
          </a:bodyPr>
          <a:lstStyle/>
          <a:p>
            <a:pPr algn="l"/>
            <a:r>
              <a:rPr lang="en-GB" sz="1200" b="1"/>
              <a:t>SharePoint sites</a:t>
            </a:r>
            <a:endParaRPr lang="en-US" sz="1200" b="1" err="1"/>
          </a:p>
        </p:txBody>
      </p:sp>
      <p:sp>
        <p:nvSpPr>
          <p:cNvPr id="21" name="TextBox 20">
            <a:extLst>
              <a:ext uri="{FF2B5EF4-FFF2-40B4-BE49-F238E27FC236}">
                <a16:creationId xmlns:a16="http://schemas.microsoft.com/office/drawing/2014/main" id="{A2481383-2B89-9580-C9EE-D0C2C5C20C68}"/>
              </a:ext>
            </a:extLst>
          </p:cNvPr>
          <p:cNvSpPr txBox="1"/>
          <p:nvPr/>
        </p:nvSpPr>
        <p:spPr>
          <a:xfrm>
            <a:off x="5211510" y="5076141"/>
            <a:ext cx="2521009" cy="276999"/>
          </a:xfrm>
          <a:prstGeom prst="rect">
            <a:avLst/>
          </a:prstGeom>
          <a:noFill/>
        </p:spPr>
        <p:txBody>
          <a:bodyPr wrap="square" lIns="0" tIns="0" rIns="0" bIns="0" rtlCol="0">
            <a:spAutoFit/>
          </a:bodyPr>
          <a:lstStyle/>
          <a:p>
            <a:pPr algn="l"/>
            <a:r>
              <a:rPr lang="en-GB" sz="900">
                <a:latin typeface="Consolas" panose="020B0609020204030204" pitchFamily="49" charset="0"/>
              </a:rPr>
              <a:t>contoso.sharepoint.com/sites/catalog</a:t>
            </a:r>
          </a:p>
          <a:p>
            <a:pPr algn="l"/>
            <a:r>
              <a:rPr lang="en-GB" sz="900">
                <a:latin typeface="Consolas" panose="020B0609020204030204" pitchFamily="49" charset="0"/>
              </a:rPr>
              <a:t>contoso.sharepoint.com/sites/products</a:t>
            </a:r>
            <a:endParaRPr lang="en-US" sz="900">
              <a:latin typeface="Consolas" panose="020B0609020204030204" pitchFamily="49" charset="0"/>
            </a:endParaRPr>
          </a:p>
        </p:txBody>
      </p:sp>
      <p:sp>
        <p:nvSpPr>
          <p:cNvPr id="7" name="Rectangle: Rounded Corners 6">
            <a:extLst>
              <a:ext uri="{FF2B5EF4-FFF2-40B4-BE49-F238E27FC236}">
                <a16:creationId xmlns:a16="http://schemas.microsoft.com/office/drawing/2014/main" id="{5DF0582F-9DC9-5BD2-3C35-41756D4810AF}"/>
              </a:ext>
            </a:extLst>
          </p:cNvPr>
          <p:cNvSpPr/>
          <p:nvPr/>
        </p:nvSpPr>
        <p:spPr bwMode="auto">
          <a:xfrm>
            <a:off x="8264163" y="1828799"/>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0078D4"/>
                </a:solidFill>
                <a:latin typeface="Segoe UI Semibold"/>
              </a:rPr>
              <a:t>Actions / Tools</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Operations</a:t>
            </a:r>
            <a:r>
              <a:rPr lang="en-GB" sz="1600" b="1">
                <a:solidFill>
                  <a:schemeClr val="tx1"/>
                </a:solidFill>
                <a:cs typeface="Segoe Sans Display Semibold"/>
              </a:rPr>
              <a:t> </a:t>
            </a:r>
            <a:r>
              <a:rPr lang="en-GB" sz="1600">
                <a:solidFill>
                  <a:schemeClr val="tx1"/>
                </a:solidFill>
                <a:cs typeface="Segoe Sans Display Semibold"/>
              </a:rPr>
              <a:t>that Agent performs to execute tasks in Line-of-Business (LOB) systems</a:t>
            </a:r>
          </a:p>
        </p:txBody>
      </p:sp>
      <p:sp>
        <p:nvSpPr>
          <p:cNvPr id="20" name="TextBox 19">
            <a:extLst>
              <a:ext uri="{FF2B5EF4-FFF2-40B4-BE49-F238E27FC236}">
                <a16:creationId xmlns:a16="http://schemas.microsoft.com/office/drawing/2014/main" id="{69C551A6-03F1-B6EB-72D7-BF4F4E526873}"/>
              </a:ext>
            </a:extLst>
          </p:cNvPr>
          <p:cNvSpPr txBox="1"/>
          <p:nvPr/>
        </p:nvSpPr>
        <p:spPr>
          <a:xfrm>
            <a:off x="8557950" y="3792337"/>
            <a:ext cx="2521009" cy="830997"/>
          </a:xfrm>
          <a:prstGeom prst="rect">
            <a:avLst/>
          </a:prstGeom>
          <a:noFill/>
        </p:spPr>
        <p:txBody>
          <a:bodyPr wrap="square" lIns="0" tIns="0" rIns="0" bIns="0" rtlCol="0">
            <a:spAutoFit/>
          </a:bodyPr>
          <a:lstStyle/>
          <a:p>
            <a:pPr algn="l"/>
            <a:r>
              <a:rPr lang="en-GB" sz="900">
                <a:latin typeface="Consolas" panose="020B0609020204030204" pitchFamily="49" charset="0"/>
              </a:rPr>
              <a:t>If you’re requested to send an email, gather input information from the user:</a:t>
            </a:r>
          </a:p>
          <a:p>
            <a:pPr algn="l"/>
            <a:endParaRPr lang="en-GB" sz="900">
              <a:latin typeface="Consolas" panose="020B0609020204030204" pitchFamily="49" charset="0"/>
            </a:endParaRPr>
          </a:p>
          <a:p>
            <a:pPr marL="171450" indent="-171450" algn="l">
              <a:buFont typeface="Arial" panose="020B0604020202020204" pitchFamily="34" charset="0"/>
              <a:buChar char="•"/>
            </a:pPr>
            <a:r>
              <a:rPr lang="en-GB" sz="900">
                <a:latin typeface="Consolas" panose="020B0609020204030204" pitchFamily="49" charset="0"/>
              </a:rPr>
              <a:t>Email address of recipient</a:t>
            </a:r>
          </a:p>
          <a:p>
            <a:pPr marL="171450" indent="-171450" algn="l">
              <a:buFont typeface="Arial" panose="020B0604020202020204" pitchFamily="34" charset="0"/>
              <a:buChar char="•"/>
            </a:pPr>
            <a:r>
              <a:rPr lang="en-GB" sz="900">
                <a:latin typeface="Consolas" panose="020B0609020204030204" pitchFamily="49" charset="0"/>
              </a:rPr>
              <a:t>Subject of email</a:t>
            </a:r>
          </a:p>
          <a:p>
            <a:pPr marL="171450" indent="-171450" algn="l">
              <a:buFont typeface="Arial" panose="020B0604020202020204" pitchFamily="34" charset="0"/>
              <a:buChar char="•"/>
            </a:pPr>
            <a:r>
              <a:rPr lang="en-GB" sz="900">
                <a:latin typeface="Consolas" panose="020B0609020204030204" pitchFamily="49" charset="0"/>
              </a:rPr>
              <a:t>Body content of the email</a:t>
            </a:r>
          </a:p>
        </p:txBody>
      </p:sp>
      <p:pic>
        <p:nvPicPr>
          <p:cNvPr id="25" name="Picture 24">
            <a:extLst>
              <a:ext uri="{FF2B5EF4-FFF2-40B4-BE49-F238E27FC236}">
                <a16:creationId xmlns:a16="http://schemas.microsoft.com/office/drawing/2014/main" id="{FE77B265-D760-3303-B4BB-73B5A4CBACC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5525" y="4837830"/>
            <a:ext cx="389928" cy="389928"/>
          </a:xfrm>
          <a:prstGeom prst="rect">
            <a:avLst/>
          </a:prstGeom>
        </p:spPr>
      </p:pic>
      <p:sp>
        <p:nvSpPr>
          <p:cNvPr id="26" name="TextBox 25">
            <a:extLst>
              <a:ext uri="{FF2B5EF4-FFF2-40B4-BE49-F238E27FC236}">
                <a16:creationId xmlns:a16="http://schemas.microsoft.com/office/drawing/2014/main" id="{E243341A-3628-F639-3111-5F1BA4B75641}"/>
              </a:ext>
            </a:extLst>
          </p:cNvPr>
          <p:cNvSpPr txBox="1"/>
          <p:nvPr/>
        </p:nvSpPr>
        <p:spPr>
          <a:xfrm>
            <a:off x="8557950" y="5299336"/>
            <a:ext cx="2527359" cy="184666"/>
          </a:xfrm>
          <a:prstGeom prst="rect">
            <a:avLst/>
          </a:prstGeom>
          <a:noFill/>
        </p:spPr>
        <p:txBody>
          <a:bodyPr wrap="none" lIns="0" tIns="0" rIns="0" bIns="0" rtlCol="0">
            <a:spAutoFit/>
          </a:bodyPr>
          <a:lstStyle/>
          <a:p>
            <a:pPr algn="l"/>
            <a:r>
              <a:rPr lang="en-GB" sz="1200" b="1"/>
              <a:t>Outlook connector – Send an email</a:t>
            </a:r>
            <a:endParaRPr lang="en-US" sz="1200" b="1" err="1"/>
          </a:p>
        </p:txBody>
      </p:sp>
      <p:cxnSp>
        <p:nvCxnSpPr>
          <p:cNvPr id="11" name="Straight Connector 10">
            <a:extLst>
              <a:ext uri="{FF2B5EF4-FFF2-40B4-BE49-F238E27FC236}">
                <a16:creationId xmlns:a16="http://schemas.microsoft.com/office/drawing/2014/main" id="{73F486EC-046A-A86C-3013-DC91130C0470}"/>
              </a:ext>
              <a:ext uri="{C183D7F6-B498-43B3-948B-1728B52AA6E4}">
                <adec:decorative xmlns:adec="http://schemas.microsoft.com/office/drawing/2017/decorative" val="1"/>
              </a:ext>
            </a:extLst>
          </p:cNvPr>
          <p:cNvCxnSpPr/>
          <p:nvPr/>
        </p:nvCxnSpPr>
        <p:spPr>
          <a:xfrm>
            <a:off x="5211510" y="3579264"/>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264CE243-75A2-F004-E082-7036C39B44F6}"/>
              </a:ext>
              <a:ext uri="{C183D7F6-B498-43B3-948B-1728B52AA6E4}">
                <adec:decorative xmlns:adec="http://schemas.microsoft.com/office/drawing/2017/decorative" val="1"/>
              </a:ext>
            </a:extLst>
          </p:cNvPr>
          <p:cNvCxnSpPr/>
          <p:nvPr/>
        </p:nvCxnSpPr>
        <p:spPr>
          <a:xfrm>
            <a:off x="8651953" y="3577840"/>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50807054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C215209F-0037-3FA0-CC2D-48A1C21FC014}"/>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317875" y="1246066"/>
            <a:ext cx="11556250" cy="5146143"/>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 name="Title 1">
            <a:extLst>
              <a:ext uri="{FF2B5EF4-FFF2-40B4-BE49-F238E27FC236}">
                <a16:creationId xmlns:a16="http://schemas.microsoft.com/office/drawing/2014/main" id="{575D6678-BD34-F52A-8A12-4CDC56BD6084}"/>
              </a:ext>
            </a:extLst>
          </p:cNvPr>
          <p:cNvSpPr>
            <a:spLocks noGrp="1"/>
          </p:cNvSpPr>
          <p:nvPr>
            <p:ph type="title"/>
          </p:nvPr>
        </p:nvSpPr>
        <p:spPr/>
        <p:txBody>
          <a:bodyPr>
            <a:noAutofit/>
          </a:bodyPr>
          <a:lstStyle/>
          <a:p>
            <a:pPr algn="ctr"/>
            <a:r>
              <a:rPr lang="en-US" sz="3200">
                <a:solidFill>
                  <a:schemeClr val="tx1"/>
                </a:solidFill>
              </a:rPr>
              <a:t>Spectrum of Agent Capabilities</a:t>
            </a:r>
            <a:br>
              <a:rPr lang="en-US" sz="3200">
                <a:solidFill>
                  <a:schemeClr val="tx1"/>
                </a:solidFill>
                <a:cs typeface="Segoe UI Semibold" panose="020B0702040204020203" pitchFamily="34" charset="0"/>
              </a:rPr>
            </a:br>
            <a:endParaRPr lang="en-AU" sz="3200">
              <a:solidFill>
                <a:schemeClr val="tx1"/>
              </a:solidFill>
            </a:endParaRPr>
          </a:p>
        </p:txBody>
      </p:sp>
      <p:sp>
        <p:nvSpPr>
          <p:cNvPr id="3" name="Title 1">
            <a:extLst>
              <a:ext uri="{FF2B5EF4-FFF2-40B4-BE49-F238E27FC236}">
                <a16:creationId xmlns:a16="http://schemas.microsoft.com/office/drawing/2014/main" id="{F056AF11-6681-9113-09BF-CB59E1A3845C}"/>
              </a:ext>
              <a:ext uri="{C183D7F6-B498-43B3-948B-1728B52AA6E4}">
                <adec:decorative xmlns:adec="http://schemas.microsoft.com/office/drawing/2017/decorative" val="1"/>
              </a:ext>
            </a:extLst>
          </p:cNvPr>
          <p:cNvSpPr txBox="1">
            <a:spLocks/>
          </p:cNvSpPr>
          <p:nvPr/>
        </p:nvSpPr>
        <p:spPr>
          <a:xfrm>
            <a:off x="630425" y="155693"/>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4400" b="1" i="0" u="none" strike="noStrike" kern="1200" cap="none" spc="-50" normalizeH="0" baseline="0" noProof="0">
              <a:ln w="3175">
                <a:noFill/>
              </a:ln>
              <a:solidFill>
                <a:srgbClr val="FFFFFF"/>
              </a:solidFill>
              <a:effectLst/>
              <a:uLnTx/>
              <a:uFillTx/>
              <a:latin typeface="Segoe UI" panose="020B0502040204020203" pitchFamily="34" charset="0"/>
              <a:ea typeface="+mn-ea"/>
              <a:cs typeface="Segoe UI" pitchFamily="34" charset="0"/>
            </a:endParaRPr>
          </a:p>
        </p:txBody>
      </p:sp>
      <p:sp>
        <p:nvSpPr>
          <p:cNvPr id="4" name="Title 5">
            <a:extLst>
              <a:ext uri="{FF2B5EF4-FFF2-40B4-BE49-F238E27FC236}">
                <a16:creationId xmlns:a16="http://schemas.microsoft.com/office/drawing/2014/main" id="{8F346CE6-1EC3-3E2D-B4F9-85CA64762A23}"/>
              </a:ext>
            </a:extLst>
          </p:cNvPr>
          <p:cNvSpPr txBox="1">
            <a:spLocks/>
          </p:cNvSpPr>
          <p:nvPr/>
        </p:nvSpPr>
        <p:spPr>
          <a:xfrm>
            <a:off x="538601" y="692069"/>
            <a:ext cx="11018520" cy="4924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600">
              <a:latin typeface="Segoe UI Semibold" panose="020B0702040204020203" pitchFamily="34" charset="0"/>
              <a:cs typeface="Segoe UI Semibold" panose="020B0702040204020203" pitchFamily="34" charset="0"/>
            </a:endParaRPr>
          </a:p>
        </p:txBody>
      </p:sp>
      <p:sp>
        <p:nvSpPr>
          <p:cNvPr id="6" name="Rectangle: Top Corners Rounded 5">
            <a:extLst>
              <a:ext uri="{FF2B5EF4-FFF2-40B4-BE49-F238E27FC236}">
                <a16:creationId xmlns:a16="http://schemas.microsoft.com/office/drawing/2014/main" id="{5D271490-0659-CBB2-EDA4-961D73D186A5}"/>
              </a:ext>
            </a:extLst>
          </p:cNvPr>
          <p:cNvSpPr>
            <a:spLocks/>
          </p:cNvSpPr>
          <p:nvPr/>
        </p:nvSpPr>
        <p:spPr bwMode="auto">
          <a:xfrm rot="10800000">
            <a:off x="2108200" y="2133600"/>
            <a:ext cx="2308421" cy="3285917"/>
          </a:xfrm>
          <a:prstGeom prst="round2SameRect">
            <a:avLst/>
          </a:prstGeom>
          <a:solidFill>
            <a:srgbClr val="FBEEF6"/>
          </a:solidFill>
          <a:ln>
            <a:solidFill>
              <a:srgbClr val="D59D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Top Corners Rounded 6">
            <a:extLst>
              <a:ext uri="{FF2B5EF4-FFF2-40B4-BE49-F238E27FC236}">
                <a16:creationId xmlns:a16="http://schemas.microsoft.com/office/drawing/2014/main" id="{980F1D58-AC11-C6E4-EB36-AF05B56E25E4}"/>
              </a:ext>
            </a:extLst>
          </p:cNvPr>
          <p:cNvSpPr>
            <a:spLocks/>
          </p:cNvSpPr>
          <p:nvPr/>
        </p:nvSpPr>
        <p:spPr bwMode="auto">
          <a:xfrm rot="10800000">
            <a:off x="7772400" y="1627583"/>
            <a:ext cx="2307010" cy="3790934"/>
          </a:xfrm>
          <a:prstGeom prst="round2SameRect">
            <a:avLst/>
          </a:prstGeom>
          <a:solidFill>
            <a:srgbClr val="E9F5FB"/>
          </a:solidFill>
          <a:ln>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Top Corners Rounded 7">
            <a:extLst>
              <a:ext uri="{FF2B5EF4-FFF2-40B4-BE49-F238E27FC236}">
                <a16:creationId xmlns:a16="http://schemas.microsoft.com/office/drawing/2014/main" id="{0C5C4A3B-0222-696D-083B-4366FD4B0F05}"/>
              </a:ext>
            </a:extLst>
          </p:cNvPr>
          <p:cNvSpPr>
            <a:spLocks/>
          </p:cNvSpPr>
          <p:nvPr/>
        </p:nvSpPr>
        <p:spPr bwMode="auto">
          <a:xfrm rot="10800000">
            <a:off x="4940300" y="1866900"/>
            <a:ext cx="2308421" cy="3551617"/>
          </a:xfrm>
          <a:prstGeom prst="round2SameRect">
            <a:avLst/>
          </a:prstGeom>
          <a:solidFill>
            <a:srgbClr val="F0F0FA"/>
          </a:solidFill>
          <a:ln>
            <a:solidFill>
              <a:schemeClr val="accent2">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C3AF94F2-8300-B4CB-E0DE-D36CE3E5D4CA}"/>
              </a:ext>
            </a:extLst>
          </p:cNvPr>
          <p:cNvSpPr/>
          <p:nvPr/>
        </p:nvSpPr>
        <p:spPr bwMode="auto">
          <a:xfrm>
            <a:off x="575220" y="2509518"/>
            <a:ext cx="11049399"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12F9495F-5E73-1899-74C7-09341D5B667F}"/>
              </a:ext>
            </a:extLst>
          </p:cNvPr>
          <p:cNvSpPr txBox="1"/>
          <p:nvPr/>
        </p:nvSpPr>
        <p:spPr>
          <a:xfrm>
            <a:off x="775462" y="2663406"/>
            <a:ext cx="1536655"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Conversational</a:t>
            </a:r>
          </a:p>
        </p:txBody>
      </p:sp>
      <p:sp>
        <p:nvSpPr>
          <p:cNvPr id="11" name="TextBox 10">
            <a:extLst>
              <a:ext uri="{FF2B5EF4-FFF2-40B4-BE49-F238E27FC236}">
                <a16:creationId xmlns:a16="http://schemas.microsoft.com/office/drawing/2014/main" id="{13F0E890-215F-E0F1-B04D-2B4447BC67C0}"/>
              </a:ext>
            </a:extLst>
          </p:cNvPr>
          <p:cNvSpPr txBox="1"/>
          <p:nvPr/>
        </p:nvSpPr>
        <p:spPr>
          <a:xfrm>
            <a:off x="10183129" y="2663406"/>
            <a:ext cx="1229181"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Advanced</a:t>
            </a:r>
          </a:p>
        </p:txBody>
      </p:sp>
      <p:sp>
        <p:nvSpPr>
          <p:cNvPr id="12" name="TextBox 11">
            <a:extLst>
              <a:ext uri="{FF2B5EF4-FFF2-40B4-BE49-F238E27FC236}">
                <a16:creationId xmlns:a16="http://schemas.microsoft.com/office/drawing/2014/main" id="{2500F351-5548-D924-3F31-04F3F480F763}"/>
              </a:ext>
            </a:extLst>
          </p:cNvPr>
          <p:cNvSpPr txBox="1">
            <a:spLocks/>
          </p:cNvSpPr>
          <p:nvPr/>
        </p:nvSpPr>
        <p:spPr>
          <a:xfrm>
            <a:off x="2208863" y="3307683"/>
            <a:ext cx="2115334" cy="1292662"/>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F4364C"/>
                </a:solidFill>
                <a:effectLst/>
                <a:uLnTx/>
                <a:uFillTx/>
                <a:latin typeface="Segoe UI Semibold"/>
                <a:ea typeface="+mn-ea"/>
                <a:cs typeface="+mn-cs"/>
              </a:rPr>
              <a:t>Retrieval</a:t>
            </a:r>
            <a:endParaRPr kumimoji="0" lang="en-US" sz="800" b="0" i="0" u="none" strike="noStrike" kern="1200" cap="none" spc="0" normalizeH="0" baseline="0" noProof="0">
              <a:ln>
                <a:noFill/>
              </a:ln>
              <a:solidFill>
                <a:srgbClr val="F4364C"/>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Retrieve information </a:t>
            </a:r>
            <a:r>
              <a:rPr kumimoji="0" lang="en-US" sz="1400" b="0" i="0" u="none" strike="noStrike" kern="1200" cap="none" spc="0" normalizeH="0" baseline="0" noProof="0">
                <a:ln>
                  <a:noFill/>
                </a:ln>
                <a:solidFill>
                  <a:srgbClr val="000000"/>
                </a:solidFill>
                <a:effectLst/>
                <a:uLnTx/>
                <a:uFillTx/>
                <a:latin typeface="Segoe UI"/>
                <a:ea typeface="+mn-ea"/>
                <a:cs typeface="+mn-cs"/>
              </a:rPr>
              <a:t>from grounding data, reason, summarize, and answer user questions</a:t>
            </a:r>
          </a:p>
        </p:txBody>
      </p:sp>
      <p:sp>
        <p:nvSpPr>
          <p:cNvPr id="14" name="TextBox 13">
            <a:extLst>
              <a:ext uri="{FF2B5EF4-FFF2-40B4-BE49-F238E27FC236}">
                <a16:creationId xmlns:a16="http://schemas.microsoft.com/office/drawing/2014/main" id="{20123994-8B40-351E-021B-8D74A05947B8}"/>
              </a:ext>
            </a:extLst>
          </p:cNvPr>
          <p:cNvSpPr txBox="1">
            <a:spLocks/>
          </p:cNvSpPr>
          <p:nvPr/>
        </p:nvSpPr>
        <p:spPr>
          <a:xfrm>
            <a:off x="5038334" y="3307683"/>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C03BC4"/>
                </a:solidFill>
                <a:effectLst/>
                <a:uLnTx/>
                <a:uFillTx/>
                <a:latin typeface="Segoe UI Semibold"/>
                <a:ea typeface="+mn-ea"/>
                <a:cs typeface="+mn-cs"/>
              </a:rPr>
              <a:t>Task</a:t>
            </a:r>
            <a:endParaRPr kumimoji="0" lang="en-US" sz="800" b="0" i="0" u="none" strike="noStrike" kern="1200" cap="none" spc="0" normalizeH="0" baseline="0" noProof="0">
              <a:ln>
                <a:noFill/>
              </a:ln>
              <a:solidFill>
                <a:srgbClr val="C03BC4"/>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Take actions when asked, </a:t>
            </a:r>
            <a:r>
              <a:rPr kumimoji="0" lang="en-US" sz="1400" b="0" i="0" u="none" strike="noStrike" kern="1200" cap="none" spc="0" normalizeH="0" baseline="0" noProof="0">
                <a:ln>
                  <a:noFill/>
                </a:ln>
                <a:solidFill>
                  <a:srgbClr val="000000"/>
                </a:solidFill>
                <a:effectLst/>
                <a:uLnTx/>
                <a:uFillTx/>
                <a:latin typeface="Segoe UI"/>
                <a:ea typeface="+mn-ea"/>
                <a:cs typeface="+mn-cs"/>
              </a:rPr>
              <a:t>automate workflows, and replace repetitive tasks</a:t>
            </a:r>
            <a:br>
              <a:rPr kumimoji="0" lang="en-US" sz="1400" b="0" i="0" u="none" strike="noStrike" kern="1200" cap="none" spc="0" normalizeH="0" baseline="0" noProof="0">
                <a:ln>
                  <a:noFill/>
                </a:ln>
                <a:solidFill>
                  <a:srgbClr val="000000"/>
                </a:solidFill>
                <a:effectLst/>
                <a:uLnTx/>
                <a:uFillTx/>
                <a:latin typeface="Segoe UI"/>
                <a:ea typeface="+mn-ea"/>
                <a:cs typeface="+mn-cs"/>
              </a:rPr>
            </a:br>
            <a:r>
              <a:rPr kumimoji="0" lang="en-US" sz="1400" b="0" i="0" u="none" strike="noStrike" kern="1200" cap="none" spc="0" normalizeH="0" baseline="0" noProof="0">
                <a:ln>
                  <a:noFill/>
                </a:ln>
                <a:solidFill>
                  <a:srgbClr val="000000"/>
                </a:solidFill>
                <a:effectLst/>
                <a:uLnTx/>
                <a:uFillTx/>
                <a:latin typeface="Segoe UI"/>
                <a:ea typeface="+mn-ea"/>
                <a:cs typeface="+mn-cs"/>
              </a:rPr>
              <a:t>for users</a:t>
            </a:r>
          </a:p>
        </p:txBody>
      </p:sp>
      <p:sp>
        <p:nvSpPr>
          <p:cNvPr id="16" name="TextBox 15">
            <a:extLst>
              <a:ext uri="{FF2B5EF4-FFF2-40B4-BE49-F238E27FC236}">
                <a16:creationId xmlns:a16="http://schemas.microsoft.com/office/drawing/2014/main" id="{02AE9B39-581B-0E2C-C8CB-5B2BB525A0F4}"/>
              </a:ext>
            </a:extLst>
          </p:cNvPr>
          <p:cNvSpPr txBox="1">
            <a:spLocks/>
          </p:cNvSpPr>
          <p:nvPr/>
        </p:nvSpPr>
        <p:spPr>
          <a:xfrm>
            <a:off x="7868507" y="3307683"/>
            <a:ext cx="2115334" cy="1292662"/>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mn-cs"/>
              </a:rPr>
              <a:t>Autonomous</a:t>
            </a:r>
            <a:endParaRPr kumimoji="0" lang="en-US" sz="800" b="0" i="0" u="none" strike="noStrike" kern="1200" cap="none" spc="0" normalizeH="0" baseline="0" noProof="0">
              <a:ln>
                <a:noFill/>
              </a:ln>
              <a:solidFill>
                <a:srgbClr val="0078D4"/>
              </a:solidFill>
              <a:effectLst/>
              <a:uLnTx/>
              <a:uFillTx/>
              <a:latin typeface="Segoe UI Semibold"/>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a:ea typeface="+mn-ea"/>
                <a:cs typeface="+mn-cs"/>
              </a:rPr>
              <a:t>Operate independently, </a:t>
            </a:r>
            <a:r>
              <a:rPr kumimoji="0" lang="en-US" sz="1400" b="0" i="0" u="none" strike="noStrike" kern="1200" cap="none" spc="0" normalizeH="0" baseline="0" noProof="0">
                <a:ln>
                  <a:noFill/>
                </a:ln>
                <a:solidFill>
                  <a:srgbClr val="000000"/>
                </a:solidFill>
                <a:effectLst/>
                <a:uLnTx/>
                <a:uFillTx/>
                <a:latin typeface="Segoe UI"/>
                <a:ea typeface="+mn-ea"/>
                <a:cs typeface="+mn-cs"/>
              </a:rPr>
              <a:t>dynamically plan, orchestrate other agents, learn and escalate</a:t>
            </a:r>
          </a:p>
        </p:txBody>
      </p:sp>
      <p:sp>
        <p:nvSpPr>
          <p:cNvPr id="18" name="Rectangle: Rounded Corners 17">
            <a:extLst>
              <a:ext uri="{FF2B5EF4-FFF2-40B4-BE49-F238E27FC236}">
                <a16:creationId xmlns:a16="http://schemas.microsoft.com/office/drawing/2014/main" id="{A5606150-7B41-BCE7-C1F5-A43EB0D37855}"/>
              </a:ext>
            </a:extLst>
          </p:cNvPr>
          <p:cNvSpPr>
            <a:spLocks/>
          </p:cNvSpPr>
          <p:nvPr/>
        </p:nvSpPr>
        <p:spPr bwMode="auto">
          <a:xfrm>
            <a:off x="575220" y="5608103"/>
            <a:ext cx="11049399" cy="476071"/>
          </a:xfrm>
          <a:prstGeom prst="roundRect">
            <a:avLst>
              <a:gd name="adj" fmla="val 50000"/>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Agents vary in levels of complexity and capabilities depending on your need</a:t>
            </a:r>
          </a:p>
        </p:txBody>
      </p:sp>
      <p:grpSp>
        <p:nvGrpSpPr>
          <p:cNvPr id="19" name="Group 18">
            <a:extLst>
              <a:ext uri="{FF2B5EF4-FFF2-40B4-BE49-F238E27FC236}">
                <a16:creationId xmlns:a16="http://schemas.microsoft.com/office/drawing/2014/main" id="{29674A6C-91CB-DC3D-8014-E14B3D13A408}"/>
              </a:ext>
            </a:extLst>
          </p:cNvPr>
          <p:cNvGrpSpPr>
            <a:grpSpLocks/>
          </p:cNvGrpSpPr>
          <p:nvPr/>
        </p:nvGrpSpPr>
        <p:grpSpPr>
          <a:xfrm flipH="1">
            <a:off x="644209" y="5663258"/>
            <a:ext cx="365760" cy="365760"/>
            <a:chOff x="11191361" y="-22002"/>
            <a:chExt cx="365760" cy="365760"/>
          </a:xfrm>
        </p:grpSpPr>
        <p:sp>
          <p:nvSpPr>
            <p:cNvPr id="20" name="Freeform: Shape 115">
              <a:extLst>
                <a:ext uri="{FF2B5EF4-FFF2-40B4-BE49-F238E27FC236}">
                  <a16:creationId xmlns:a16="http://schemas.microsoft.com/office/drawing/2014/main" id="{703360A6-BEDC-2F38-E5DA-29039E2421C8}"/>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1" name="Graphic 16">
              <a:extLst>
                <a:ext uri="{FF2B5EF4-FFF2-40B4-BE49-F238E27FC236}">
                  <a16:creationId xmlns:a16="http://schemas.microsoft.com/office/drawing/2014/main" id="{70CF356A-ED3A-8DF0-5C98-0D9A325AAFE8}"/>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22" name="Group 21">
            <a:extLst>
              <a:ext uri="{FF2B5EF4-FFF2-40B4-BE49-F238E27FC236}">
                <a16:creationId xmlns:a16="http://schemas.microsoft.com/office/drawing/2014/main" id="{DFF4AFC9-6F9B-F396-29E8-83F029692F08}"/>
              </a:ext>
            </a:extLst>
          </p:cNvPr>
          <p:cNvGrpSpPr>
            <a:grpSpLocks/>
          </p:cNvGrpSpPr>
          <p:nvPr/>
        </p:nvGrpSpPr>
        <p:grpSpPr>
          <a:xfrm>
            <a:off x="11191361" y="5663258"/>
            <a:ext cx="365760" cy="365760"/>
            <a:chOff x="11191361" y="-22002"/>
            <a:chExt cx="365760" cy="365760"/>
          </a:xfrm>
        </p:grpSpPr>
        <p:sp>
          <p:nvSpPr>
            <p:cNvPr id="23" name="Freeform: Shape 115">
              <a:extLst>
                <a:ext uri="{FF2B5EF4-FFF2-40B4-BE49-F238E27FC236}">
                  <a16:creationId xmlns:a16="http://schemas.microsoft.com/office/drawing/2014/main" id="{289A8519-53AB-DBC9-0A2F-704EBECAFA1A}"/>
                </a:ext>
                <a:ext uri="{C183D7F6-B498-43B3-948B-1728B52AA6E4}">
                  <adec:decorative xmlns:adec="http://schemas.microsoft.com/office/drawing/2017/decorative" val="1"/>
                </a:ext>
              </a:extLst>
            </p:cNvPr>
            <p:cNvSpPr>
              <a:spLocks/>
            </p:cNvSpPr>
            <p:nvPr/>
          </p:nvSpPr>
          <p:spPr bwMode="auto">
            <a:xfrm>
              <a:off x="11191361" y="-22002"/>
              <a:ext cx="365760" cy="36576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4" name="Graphic 16">
              <a:extLst>
                <a:ext uri="{FF2B5EF4-FFF2-40B4-BE49-F238E27FC236}">
                  <a16:creationId xmlns:a16="http://schemas.microsoft.com/office/drawing/2014/main" id="{375C7087-3443-4123-34FB-BBD53083EF9A}"/>
                </a:ext>
              </a:extLst>
            </p:cNvPr>
            <p:cNvSpPr>
              <a:spLocks/>
            </p:cNvSpPr>
            <p:nvPr/>
          </p:nvSpPr>
          <p:spPr>
            <a:xfrm flipH="1">
              <a:off x="11191361" y="-22002"/>
              <a:ext cx="365760" cy="36576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25" name="Group 24">
            <a:extLst>
              <a:ext uri="{FF2B5EF4-FFF2-40B4-BE49-F238E27FC236}">
                <a16:creationId xmlns:a16="http://schemas.microsoft.com/office/drawing/2014/main" id="{4C5B4E37-0F34-F1FD-0657-D5B21A80F04E}"/>
              </a:ext>
            </a:extLst>
          </p:cNvPr>
          <p:cNvGrpSpPr>
            <a:grpSpLocks/>
          </p:cNvGrpSpPr>
          <p:nvPr/>
        </p:nvGrpSpPr>
        <p:grpSpPr>
          <a:xfrm>
            <a:off x="2857500" y="2362200"/>
            <a:ext cx="796686" cy="796680"/>
            <a:chOff x="2884588" y="3574780"/>
            <a:chExt cx="796686" cy="796680"/>
          </a:xfrm>
        </p:grpSpPr>
        <p:sp>
          <p:nvSpPr>
            <p:cNvPr id="26" name="Oval 25">
              <a:extLst>
                <a:ext uri="{FF2B5EF4-FFF2-40B4-BE49-F238E27FC236}">
                  <a16:creationId xmlns:a16="http://schemas.microsoft.com/office/drawing/2014/main" id="{0ADC752F-A82E-7A02-ACBF-A3BA420D7B9A}"/>
                </a:ext>
              </a:extLst>
            </p:cNvPr>
            <p:cNvSpPr/>
            <p:nvPr/>
          </p:nvSpPr>
          <p:spPr bwMode="auto">
            <a:xfrm>
              <a:off x="2884588" y="3574780"/>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7" name="Graphic 71" descr="Icon of a chat bubble">
              <a:extLst>
                <a:ext uri="{FF2B5EF4-FFF2-40B4-BE49-F238E27FC236}">
                  <a16:creationId xmlns:a16="http://schemas.microsoft.com/office/drawing/2014/main" id="{CCAE2D0C-D5AD-50F8-C789-C216D2662EFB}"/>
                </a:ext>
              </a:extLst>
            </p:cNvPr>
            <p:cNvSpPr>
              <a:spLocks/>
            </p:cNvSpPr>
            <p:nvPr/>
          </p:nvSpPr>
          <p:spPr>
            <a:xfrm>
              <a:off x="3068192" y="3780421"/>
              <a:ext cx="429478" cy="385398"/>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28" name="Group 27">
            <a:extLst>
              <a:ext uri="{FF2B5EF4-FFF2-40B4-BE49-F238E27FC236}">
                <a16:creationId xmlns:a16="http://schemas.microsoft.com/office/drawing/2014/main" id="{EB2798DE-8FCF-98F9-4D15-6C7CB7E33A32}"/>
              </a:ext>
            </a:extLst>
          </p:cNvPr>
          <p:cNvGrpSpPr>
            <a:grpSpLocks/>
          </p:cNvGrpSpPr>
          <p:nvPr/>
        </p:nvGrpSpPr>
        <p:grpSpPr>
          <a:xfrm>
            <a:off x="5689600" y="2349500"/>
            <a:ext cx="796686" cy="796680"/>
            <a:chOff x="5714058" y="3560056"/>
            <a:chExt cx="796686" cy="796680"/>
          </a:xfrm>
        </p:grpSpPr>
        <p:sp>
          <p:nvSpPr>
            <p:cNvPr id="29" name="Oval 28">
              <a:extLst>
                <a:ext uri="{FF2B5EF4-FFF2-40B4-BE49-F238E27FC236}">
                  <a16:creationId xmlns:a16="http://schemas.microsoft.com/office/drawing/2014/main" id="{9FACDF4D-0851-8F1E-11E8-EE84984EE80F}"/>
                </a:ext>
              </a:extLst>
            </p:cNvPr>
            <p:cNvSpPr/>
            <p:nvPr/>
          </p:nvSpPr>
          <p:spPr bwMode="auto">
            <a:xfrm>
              <a:off x="5714058" y="3560056"/>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0" name="Graphic 7" descr="Icon of 5 nodes connected to a central circle with lines">
              <a:extLst>
                <a:ext uri="{FF2B5EF4-FFF2-40B4-BE49-F238E27FC236}">
                  <a16:creationId xmlns:a16="http://schemas.microsoft.com/office/drawing/2014/main" id="{1F8053E1-78CF-D911-8C2B-1FB77D78DAFC}"/>
                </a:ext>
              </a:extLst>
            </p:cNvPr>
            <p:cNvSpPr/>
            <p:nvPr/>
          </p:nvSpPr>
          <p:spPr>
            <a:xfrm>
              <a:off x="5883422" y="3729288"/>
              <a:ext cx="457960" cy="458218"/>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5"/>
                    <a:pt x="134838" y="47455"/>
                    <a:pt x="133231" y="47119"/>
                  </a:cubicBezTo>
                  <a:lnTo>
                    <a:pt x="121039" y="67293"/>
                  </a:lnTo>
                  <a:cubicBezTo>
                    <a:pt x="128889" y="74499"/>
                    <a:pt x="133355" y="84670"/>
                    <a:pt x="133345" y="95325"/>
                  </a:cubicBezTo>
                  <a:lnTo>
                    <a:pt x="133345" y="95878"/>
                  </a:lnTo>
                  <a:lnTo>
                    <a:pt x="145689" y="98364"/>
                  </a:lnTo>
                  <a:cubicBezTo>
                    <a:pt x="151900" y="86771"/>
                    <a:pt x="166332" y="82407"/>
                    <a:pt x="177924" y="88618"/>
                  </a:cubicBezTo>
                  <a:cubicBezTo>
                    <a:pt x="189517" y="94828"/>
                    <a:pt x="193880" y="109260"/>
                    <a:pt x="187670" y="120853"/>
                  </a:cubicBezTo>
                  <a:cubicBezTo>
                    <a:pt x="181460" y="132445"/>
                    <a:pt x="167028" y="136808"/>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3" y="179960"/>
                    <a:pt x="132174" y="190613"/>
                    <a:pt x="119023" y="190604"/>
                  </a:cubicBezTo>
                  <a:cubicBezTo>
                    <a:pt x="105872" y="190594"/>
                    <a:pt x="95218" y="179925"/>
                    <a:pt x="95228" y="166774"/>
                  </a:cubicBezTo>
                  <a:cubicBezTo>
                    <a:pt x="95234"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2"/>
                    <a:pt x="152" y="131333"/>
                  </a:cubicBezTo>
                  <a:cubicBezTo>
                    <a:pt x="-1322" y="118264"/>
                    <a:pt x="8078" y="106476"/>
                    <a:pt x="21146" y="105002"/>
                  </a:cubicBezTo>
                  <a:cubicBezTo>
                    <a:pt x="28876" y="104130"/>
                    <a:pt x="36545" y="107089"/>
                    <a:pt x="41686" y="112927"/>
                  </a:cubicBezTo>
                  <a:lnTo>
                    <a:pt x="58393" y="105041"/>
                  </a:lnTo>
                  <a:cubicBezTo>
                    <a:pt x="55274"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7" y="17155"/>
                    <a:pt x="69748" y="29375"/>
                  </a:cubicBezTo>
                  <a:cubicBezTo>
                    <a:pt x="72622" y="36602"/>
                    <a:pt x="71786" y="44777"/>
                    <a:pt x="67508" y="51272"/>
                  </a:cubicBezTo>
                  <a:lnTo>
                    <a:pt x="76871" y="61940"/>
                  </a:lnTo>
                  <a:cubicBezTo>
                    <a:pt x="82498" y="58838"/>
                    <a:pt x="88820" y="57215"/>
                    <a:pt x="95245" y="57225"/>
                  </a:cubicBezTo>
                  <a:cubicBezTo>
                    <a:pt x="100055" y="57225"/>
                    <a:pt x="104675" y="58120"/>
                    <a:pt x="108904" y="59749"/>
                  </a:cubicBezTo>
                  <a:lnTo>
                    <a:pt x="120762" y="40128"/>
                  </a:lnTo>
                  <a:cubicBezTo>
                    <a:pt x="111752" y="30548"/>
                    <a:pt x="112213" y="15478"/>
                    <a:pt x="121792" y="6468"/>
                  </a:cubicBezTo>
                  <a:cubicBezTo>
                    <a:pt x="131371" y="-2543"/>
                    <a:pt x="146442" y="-2082"/>
                    <a:pt x="155453" y="7497"/>
                  </a:cubicBezTo>
                  <a:cubicBezTo>
                    <a:pt x="159606"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31" name="Group 30">
            <a:extLst>
              <a:ext uri="{FF2B5EF4-FFF2-40B4-BE49-F238E27FC236}">
                <a16:creationId xmlns:a16="http://schemas.microsoft.com/office/drawing/2014/main" id="{1F9A117F-1A93-29AB-02BA-62541D65441E}"/>
              </a:ext>
            </a:extLst>
          </p:cNvPr>
          <p:cNvGrpSpPr>
            <a:grpSpLocks/>
          </p:cNvGrpSpPr>
          <p:nvPr/>
        </p:nvGrpSpPr>
        <p:grpSpPr>
          <a:xfrm>
            <a:off x="8521700" y="2349500"/>
            <a:ext cx="796686" cy="796680"/>
            <a:chOff x="8542099" y="3559244"/>
            <a:chExt cx="796686" cy="796680"/>
          </a:xfrm>
        </p:grpSpPr>
        <p:sp>
          <p:nvSpPr>
            <p:cNvPr id="32" name="Oval 31">
              <a:extLst>
                <a:ext uri="{FF2B5EF4-FFF2-40B4-BE49-F238E27FC236}">
                  <a16:creationId xmlns:a16="http://schemas.microsoft.com/office/drawing/2014/main" id="{DA2BE09A-FEAE-08CA-9AA9-746FDE5303F5}"/>
                </a:ext>
              </a:extLst>
            </p:cNvPr>
            <p:cNvSpPr/>
            <p:nvPr/>
          </p:nvSpPr>
          <p:spPr bwMode="auto">
            <a:xfrm>
              <a:off x="8542099" y="3559244"/>
              <a:ext cx="796686" cy="796680"/>
            </a:xfrm>
            <a:prstGeom prst="ellipse">
              <a:avLst/>
            </a:pr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Graphic 25" descr="Icon of a conveyor belt">
              <a:extLst>
                <a:ext uri="{FF2B5EF4-FFF2-40B4-BE49-F238E27FC236}">
                  <a16:creationId xmlns:a16="http://schemas.microsoft.com/office/drawing/2014/main" id="{6C258312-2731-85D7-4E04-68224D171A70}"/>
                </a:ext>
              </a:extLst>
            </p:cNvPr>
            <p:cNvSpPr>
              <a:spLocks/>
            </p:cNvSpPr>
            <p:nvPr/>
          </p:nvSpPr>
          <p:spPr>
            <a:xfrm>
              <a:off x="8757072" y="3801720"/>
              <a:ext cx="366742" cy="311728"/>
            </a:xfrm>
            <a:custGeom>
              <a:avLst/>
              <a:gdLst>
                <a:gd name="connsiteX0" fmla="*/ 23813 w 190500"/>
                <a:gd name="connsiteY0" fmla="*/ 16669 h 161925"/>
                <a:gd name="connsiteX1" fmla="*/ 40481 w 190500"/>
                <a:gd name="connsiteY1" fmla="*/ 0 h 161925"/>
                <a:gd name="connsiteX2" fmla="*/ 64294 w 190500"/>
                <a:gd name="connsiteY2" fmla="*/ 0 h 161925"/>
                <a:gd name="connsiteX3" fmla="*/ 80963 w 190500"/>
                <a:gd name="connsiteY3" fmla="*/ 16669 h 161925"/>
                <a:gd name="connsiteX4" fmla="*/ 80963 w 190500"/>
                <a:gd name="connsiteY4" fmla="*/ 40481 h 161925"/>
                <a:gd name="connsiteX5" fmla="*/ 64294 w 190500"/>
                <a:gd name="connsiteY5" fmla="*/ 57150 h 161925"/>
                <a:gd name="connsiteX6" fmla="*/ 40481 w 190500"/>
                <a:gd name="connsiteY6" fmla="*/ 57150 h 161925"/>
                <a:gd name="connsiteX7" fmla="*/ 23813 w 190500"/>
                <a:gd name="connsiteY7" fmla="*/ 40481 h 161925"/>
                <a:gd name="connsiteX8" fmla="*/ 23813 w 190500"/>
                <a:gd name="connsiteY8" fmla="*/ 16669 h 161925"/>
                <a:gd name="connsiteX9" fmla="*/ 126206 w 190500"/>
                <a:gd name="connsiteY9" fmla="*/ 0 h 161925"/>
                <a:gd name="connsiteX10" fmla="*/ 109538 w 190500"/>
                <a:gd name="connsiteY10" fmla="*/ 16669 h 161925"/>
                <a:gd name="connsiteX11" fmla="*/ 109538 w 190500"/>
                <a:gd name="connsiteY11" fmla="*/ 40481 h 161925"/>
                <a:gd name="connsiteX12" fmla="*/ 126206 w 190500"/>
                <a:gd name="connsiteY12" fmla="*/ 57150 h 161925"/>
                <a:gd name="connsiteX13" fmla="*/ 150019 w 190500"/>
                <a:gd name="connsiteY13" fmla="*/ 57150 h 161925"/>
                <a:gd name="connsiteX14" fmla="*/ 166688 w 190500"/>
                <a:gd name="connsiteY14" fmla="*/ 40481 h 161925"/>
                <a:gd name="connsiteX15" fmla="*/ 166688 w 190500"/>
                <a:gd name="connsiteY15" fmla="*/ 16669 h 161925"/>
                <a:gd name="connsiteX16" fmla="*/ 150019 w 190500"/>
                <a:gd name="connsiteY16" fmla="*/ 0 h 161925"/>
                <a:gd name="connsiteX17" fmla="*/ 126206 w 190500"/>
                <a:gd name="connsiteY17" fmla="*/ 0 h 161925"/>
                <a:gd name="connsiteX18" fmla="*/ 123825 w 190500"/>
                <a:gd name="connsiteY18" fmla="*/ 16669 h 161925"/>
                <a:gd name="connsiteX19" fmla="*/ 126206 w 190500"/>
                <a:gd name="connsiteY19" fmla="*/ 14288 h 161925"/>
                <a:gd name="connsiteX20" fmla="*/ 150019 w 190500"/>
                <a:gd name="connsiteY20" fmla="*/ 14288 h 161925"/>
                <a:gd name="connsiteX21" fmla="*/ 152400 w 190500"/>
                <a:gd name="connsiteY21" fmla="*/ 16669 h 161925"/>
                <a:gd name="connsiteX22" fmla="*/ 152400 w 190500"/>
                <a:gd name="connsiteY22" fmla="*/ 40481 h 161925"/>
                <a:gd name="connsiteX23" fmla="*/ 150019 w 190500"/>
                <a:gd name="connsiteY23" fmla="*/ 42863 h 161925"/>
                <a:gd name="connsiteX24" fmla="*/ 126206 w 190500"/>
                <a:gd name="connsiteY24" fmla="*/ 42863 h 161925"/>
                <a:gd name="connsiteX25" fmla="*/ 123825 w 190500"/>
                <a:gd name="connsiteY25" fmla="*/ 40481 h 161925"/>
                <a:gd name="connsiteX26" fmla="*/ 123825 w 190500"/>
                <a:gd name="connsiteY26" fmla="*/ 16669 h 161925"/>
                <a:gd name="connsiteX27" fmla="*/ 0 w 190500"/>
                <a:gd name="connsiteY27" fmla="*/ 119063 h 161925"/>
                <a:gd name="connsiteX28" fmla="*/ 42863 w 190500"/>
                <a:gd name="connsiteY28" fmla="*/ 76200 h 161925"/>
                <a:gd name="connsiteX29" fmla="*/ 147638 w 190500"/>
                <a:gd name="connsiteY29" fmla="*/ 76200 h 161925"/>
                <a:gd name="connsiteX30" fmla="*/ 190500 w 190500"/>
                <a:gd name="connsiteY30" fmla="*/ 119063 h 161925"/>
                <a:gd name="connsiteX31" fmla="*/ 147638 w 190500"/>
                <a:gd name="connsiteY31" fmla="*/ 161925 h 161925"/>
                <a:gd name="connsiteX32" fmla="*/ 42863 w 190500"/>
                <a:gd name="connsiteY32" fmla="*/ 161925 h 161925"/>
                <a:gd name="connsiteX33" fmla="*/ 0 w 190500"/>
                <a:gd name="connsiteY33" fmla="*/ 119063 h 161925"/>
                <a:gd name="connsiteX34" fmla="*/ 61913 w 190500"/>
                <a:gd name="connsiteY34" fmla="*/ 119063 h 161925"/>
                <a:gd name="connsiteX35" fmla="*/ 47625 w 190500"/>
                <a:gd name="connsiteY35" fmla="*/ 104775 h 161925"/>
                <a:gd name="connsiteX36" fmla="*/ 33338 w 190500"/>
                <a:gd name="connsiteY36" fmla="*/ 119063 h 161925"/>
                <a:gd name="connsiteX37" fmla="*/ 47625 w 190500"/>
                <a:gd name="connsiteY37" fmla="*/ 133350 h 161925"/>
                <a:gd name="connsiteX38" fmla="*/ 61913 w 190500"/>
                <a:gd name="connsiteY38" fmla="*/ 119063 h 161925"/>
                <a:gd name="connsiteX39" fmla="*/ 109538 w 190500"/>
                <a:gd name="connsiteY39" fmla="*/ 119063 h 161925"/>
                <a:gd name="connsiteX40" fmla="*/ 95250 w 190500"/>
                <a:gd name="connsiteY40" fmla="*/ 104775 h 161925"/>
                <a:gd name="connsiteX41" fmla="*/ 80963 w 190500"/>
                <a:gd name="connsiteY41" fmla="*/ 119063 h 161925"/>
                <a:gd name="connsiteX42" fmla="*/ 95250 w 190500"/>
                <a:gd name="connsiteY42" fmla="*/ 133350 h 161925"/>
                <a:gd name="connsiteX43" fmla="*/ 109538 w 190500"/>
                <a:gd name="connsiteY43" fmla="*/ 119063 h 161925"/>
                <a:gd name="connsiteX44" fmla="*/ 142875 w 190500"/>
                <a:gd name="connsiteY44" fmla="*/ 133350 h 161925"/>
                <a:gd name="connsiteX45" fmla="*/ 157163 w 190500"/>
                <a:gd name="connsiteY45" fmla="*/ 119063 h 161925"/>
                <a:gd name="connsiteX46" fmla="*/ 142875 w 190500"/>
                <a:gd name="connsiteY46" fmla="*/ 104775 h 161925"/>
                <a:gd name="connsiteX47" fmla="*/ 128588 w 190500"/>
                <a:gd name="connsiteY47" fmla="*/ 119063 h 161925"/>
                <a:gd name="connsiteX48" fmla="*/ 142875 w 190500"/>
                <a:gd name="connsiteY48" fmla="*/ 13335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0500" h="161925">
                  <a:moveTo>
                    <a:pt x="23813" y="16669"/>
                  </a:moveTo>
                  <a:cubicBezTo>
                    <a:pt x="23813" y="7468"/>
                    <a:pt x="31280" y="0"/>
                    <a:pt x="40481" y="0"/>
                  </a:cubicBezTo>
                  <a:lnTo>
                    <a:pt x="64294" y="0"/>
                  </a:lnTo>
                  <a:cubicBezTo>
                    <a:pt x="73495" y="0"/>
                    <a:pt x="80963" y="7468"/>
                    <a:pt x="80963" y="16669"/>
                  </a:cubicBezTo>
                  <a:lnTo>
                    <a:pt x="80963" y="40481"/>
                  </a:lnTo>
                  <a:cubicBezTo>
                    <a:pt x="80963" y="49687"/>
                    <a:pt x="73500" y="57150"/>
                    <a:pt x="64294" y="57150"/>
                  </a:cubicBezTo>
                  <a:lnTo>
                    <a:pt x="40481" y="57150"/>
                  </a:lnTo>
                  <a:cubicBezTo>
                    <a:pt x="31275" y="57150"/>
                    <a:pt x="23813" y="49687"/>
                    <a:pt x="23813" y="40481"/>
                  </a:cubicBezTo>
                  <a:lnTo>
                    <a:pt x="23813" y="16669"/>
                  </a:lnTo>
                  <a:close/>
                  <a:moveTo>
                    <a:pt x="126206" y="0"/>
                  </a:moveTo>
                  <a:cubicBezTo>
                    <a:pt x="117000" y="0"/>
                    <a:pt x="109538" y="7463"/>
                    <a:pt x="109538" y="16669"/>
                  </a:cubicBezTo>
                  <a:lnTo>
                    <a:pt x="109538" y="40481"/>
                  </a:lnTo>
                  <a:cubicBezTo>
                    <a:pt x="109538" y="49682"/>
                    <a:pt x="117005" y="57150"/>
                    <a:pt x="126206" y="57150"/>
                  </a:cubicBezTo>
                  <a:lnTo>
                    <a:pt x="150019" y="57150"/>
                  </a:lnTo>
                  <a:cubicBezTo>
                    <a:pt x="159225" y="57150"/>
                    <a:pt x="166688" y="49687"/>
                    <a:pt x="166688" y="40481"/>
                  </a:cubicBezTo>
                  <a:lnTo>
                    <a:pt x="166688" y="16669"/>
                  </a:lnTo>
                  <a:cubicBezTo>
                    <a:pt x="166688" y="7463"/>
                    <a:pt x="159225" y="0"/>
                    <a:pt x="150019" y="0"/>
                  </a:cubicBezTo>
                  <a:lnTo>
                    <a:pt x="126206" y="0"/>
                  </a:lnTo>
                  <a:close/>
                  <a:moveTo>
                    <a:pt x="123825" y="16669"/>
                  </a:moveTo>
                  <a:cubicBezTo>
                    <a:pt x="123825" y="15354"/>
                    <a:pt x="124891" y="14288"/>
                    <a:pt x="126206" y="14288"/>
                  </a:cubicBezTo>
                  <a:lnTo>
                    <a:pt x="150019" y="14288"/>
                  </a:lnTo>
                  <a:cubicBezTo>
                    <a:pt x="151334" y="14288"/>
                    <a:pt x="152400" y="15354"/>
                    <a:pt x="152400" y="16669"/>
                  </a:cubicBezTo>
                  <a:lnTo>
                    <a:pt x="152400" y="40481"/>
                  </a:lnTo>
                  <a:cubicBezTo>
                    <a:pt x="152400" y="41796"/>
                    <a:pt x="151334" y="42863"/>
                    <a:pt x="150019" y="42863"/>
                  </a:cubicBezTo>
                  <a:lnTo>
                    <a:pt x="126206" y="42863"/>
                  </a:lnTo>
                  <a:cubicBezTo>
                    <a:pt x="124891" y="42863"/>
                    <a:pt x="123825" y="41796"/>
                    <a:pt x="123825" y="40481"/>
                  </a:cubicBezTo>
                  <a:lnTo>
                    <a:pt x="123825" y="16669"/>
                  </a:lnTo>
                  <a:close/>
                  <a:moveTo>
                    <a:pt x="0" y="119063"/>
                  </a:moveTo>
                  <a:cubicBezTo>
                    <a:pt x="0" y="95390"/>
                    <a:pt x="19190" y="76200"/>
                    <a:pt x="42863" y="76200"/>
                  </a:cubicBezTo>
                  <a:lnTo>
                    <a:pt x="147638" y="76200"/>
                  </a:lnTo>
                  <a:cubicBezTo>
                    <a:pt x="171310" y="76200"/>
                    <a:pt x="190500" y="95390"/>
                    <a:pt x="190500" y="119063"/>
                  </a:cubicBezTo>
                  <a:cubicBezTo>
                    <a:pt x="190500" y="142735"/>
                    <a:pt x="171310" y="161925"/>
                    <a:pt x="147638" y="161925"/>
                  </a:cubicBezTo>
                  <a:lnTo>
                    <a:pt x="42863" y="161925"/>
                  </a:lnTo>
                  <a:cubicBezTo>
                    <a:pt x="19190" y="161925"/>
                    <a:pt x="0" y="142735"/>
                    <a:pt x="0" y="119063"/>
                  </a:cubicBezTo>
                  <a:close/>
                  <a:moveTo>
                    <a:pt x="61913" y="119063"/>
                  </a:moveTo>
                  <a:cubicBezTo>
                    <a:pt x="61913" y="111172"/>
                    <a:pt x="55516" y="104775"/>
                    <a:pt x="47625" y="104775"/>
                  </a:cubicBezTo>
                  <a:cubicBezTo>
                    <a:pt x="39734" y="104775"/>
                    <a:pt x="33338" y="111172"/>
                    <a:pt x="33338" y="119063"/>
                  </a:cubicBezTo>
                  <a:cubicBezTo>
                    <a:pt x="33338" y="126953"/>
                    <a:pt x="39734" y="133350"/>
                    <a:pt x="47625" y="133350"/>
                  </a:cubicBezTo>
                  <a:cubicBezTo>
                    <a:pt x="55516" y="133350"/>
                    <a:pt x="61913" y="126953"/>
                    <a:pt x="61913" y="119063"/>
                  </a:cubicBezTo>
                  <a:close/>
                  <a:moveTo>
                    <a:pt x="109538" y="119063"/>
                  </a:moveTo>
                  <a:cubicBezTo>
                    <a:pt x="109538" y="111172"/>
                    <a:pt x="103141" y="104775"/>
                    <a:pt x="95250" y="104775"/>
                  </a:cubicBezTo>
                  <a:cubicBezTo>
                    <a:pt x="87359" y="104775"/>
                    <a:pt x="80963" y="111172"/>
                    <a:pt x="80963" y="119063"/>
                  </a:cubicBezTo>
                  <a:cubicBezTo>
                    <a:pt x="80963" y="126953"/>
                    <a:pt x="87359" y="133350"/>
                    <a:pt x="95250" y="133350"/>
                  </a:cubicBezTo>
                  <a:cubicBezTo>
                    <a:pt x="103141" y="133350"/>
                    <a:pt x="109538" y="126953"/>
                    <a:pt x="109538" y="119063"/>
                  </a:cubicBezTo>
                  <a:close/>
                  <a:moveTo>
                    <a:pt x="142875" y="133350"/>
                  </a:moveTo>
                  <a:cubicBezTo>
                    <a:pt x="150766" y="133350"/>
                    <a:pt x="157163" y="126953"/>
                    <a:pt x="157163" y="119063"/>
                  </a:cubicBezTo>
                  <a:cubicBezTo>
                    <a:pt x="157163" y="111172"/>
                    <a:pt x="150766" y="104775"/>
                    <a:pt x="142875" y="104775"/>
                  </a:cubicBezTo>
                  <a:cubicBezTo>
                    <a:pt x="134985" y="104775"/>
                    <a:pt x="128588" y="111172"/>
                    <a:pt x="128588" y="119063"/>
                  </a:cubicBezTo>
                  <a:cubicBezTo>
                    <a:pt x="128588" y="126953"/>
                    <a:pt x="134985" y="133350"/>
                    <a:pt x="142875" y="13335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32101637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9E8C73-E705-18A2-9CB3-6A00462DF6A2}"/>
            </a:ext>
          </a:extLst>
        </p:cNvPr>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4835343A-4FE4-6A40-8363-84DDB7ACF14E}"/>
              </a:ext>
              <a:ext uri="{C183D7F6-B498-43B3-948B-1728B52AA6E4}">
                <adec:decorative xmlns:adec="http://schemas.microsoft.com/office/drawing/2017/decorative" val="1"/>
              </a:ext>
            </a:extLst>
          </p:cNvPr>
          <p:cNvSpPr>
            <a:spLocks/>
          </p:cNvSpPr>
          <p:nvPr/>
        </p:nvSpPr>
        <p:spPr bwMode="auto">
          <a:xfrm>
            <a:off x="586740" y="3546302"/>
            <a:ext cx="11018520" cy="460605"/>
          </a:xfrm>
          <a:prstGeom prst="roundRect">
            <a:avLst>
              <a:gd name="adj" fmla="val 12430"/>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0" name="Freeform: Shape 33">
            <a:extLst>
              <a:ext uri="{FF2B5EF4-FFF2-40B4-BE49-F238E27FC236}">
                <a16:creationId xmlns:a16="http://schemas.microsoft.com/office/drawing/2014/main" id="{FB40FDFD-3A8B-62E6-D5E1-B0A66DBA3CF3}"/>
              </a:ext>
              <a:ext uri="{C183D7F6-B498-43B3-948B-1728B52AA6E4}">
                <adec:decorative xmlns:adec="http://schemas.microsoft.com/office/drawing/2017/decorative" val="1"/>
              </a:ext>
            </a:extLst>
          </p:cNvPr>
          <p:cNvSpPr>
            <a:spLocks/>
          </p:cNvSpPr>
          <p:nvPr/>
        </p:nvSpPr>
        <p:spPr bwMode="auto">
          <a:xfrm>
            <a:off x="2150389" y="334803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1" name="Freeform: Shape 33">
            <a:extLst>
              <a:ext uri="{FF2B5EF4-FFF2-40B4-BE49-F238E27FC236}">
                <a16:creationId xmlns:a16="http://schemas.microsoft.com/office/drawing/2014/main" id="{3FB5B760-74EE-1138-0D03-C2CCAB8160F6}"/>
              </a:ext>
              <a:ext uri="{C183D7F6-B498-43B3-948B-1728B52AA6E4}">
                <adec:decorative xmlns:adec="http://schemas.microsoft.com/office/drawing/2017/decorative" val="1"/>
              </a:ext>
            </a:extLst>
          </p:cNvPr>
          <p:cNvSpPr>
            <a:spLocks/>
          </p:cNvSpPr>
          <p:nvPr/>
        </p:nvSpPr>
        <p:spPr bwMode="auto">
          <a:xfrm>
            <a:off x="5715174" y="334803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3" name="Freeform: Shape 33">
            <a:extLst>
              <a:ext uri="{FF2B5EF4-FFF2-40B4-BE49-F238E27FC236}">
                <a16:creationId xmlns:a16="http://schemas.microsoft.com/office/drawing/2014/main" id="{EB401565-3209-2C34-291A-9F6C3B4D741D}"/>
              </a:ext>
              <a:ext uri="{C183D7F6-B498-43B3-948B-1728B52AA6E4}">
                <adec:decorative xmlns:adec="http://schemas.microsoft.com/office/drawing/2017/decorative" val="1"/>
              </a:ext>
            </a:extLst>
          </p:cNvPr>
          <p:cNvSpPr>
            <a:spLocks/>
          </p:cNvSpPr>
          <p:nvPr/>
        </p:nvSpPr>
        <p:spPr bwMode="auto">
          <a:xfrm>
            <a:off x="9247997" y="334803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6EDCA636-4DBD-DEC5-622C-22AAF3B21CD4}"/>
              </a:ext>
              <a:ext uri="{C183D7F6-B498-43B3-948B-1728B52AA6E4}">
                <adec:decorative xmlns:adec="http://schemas.microsoft.com/office/drawing/2017/decorative" val="1"/>
              </a:ext>
            </a:extLst>
          </p:cNvPr>
          <p:cNvSpPr>
            <a:spLocks/>
          </p:cNvSpPr>
          <p:nvPr/>
        </p:nvSpPr>
        <p:spPr bwMode="auto">
          <a:xfrm>
            <a:off x="586740" y="1667324"/>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89" name="Graphic 88">
            <a:extLst>
              <a:ext uri="{FF2B5EF4-FFF2-40B4-BE49-F238E27FC236}">
                <a16:creationId xmlns:a16="http://schemas.microsoft.com/office/drawing/2014/main" id="{CCE8501F-92C6-21E0-8A57-02593EDB9A43}"/>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0194" y="2615291"/>
            <a:ext cx="141171" cy="141171"/>
          </a:xfrm>
          <a:prstGeom prst="rect">
            <a:avLst/>
          </a:prstGeom>
        </p:spPr>
      </p:pic>
      <p:grpSp>
        <p:nvGrpSpPr>
          <p:cNvPr id="93" name="Group 92">
            <a:extLst>
              <a:ext uri="{FF2B5EF4-FFF2-40B4-BE49-F238E27FC236}">
                <a16:creationId xmlns:a16="http://schemas.microsoft.com/office/drawing/2014/main" id="{EBEA4671-79F7-1E88-5938-4D70080C54B2}"/>
              </a:ext>
              <a:ext uri="{C183D7F6-B498-43B3-948B-1728B52AA6E4}">
                <adec:decorative xmlns:adec="http://schemas.microsoft.com/office/drawing/2017/decorative" val="1"/>
              </a:ext>
            </a:extLst>
          </p:cNvPr>
          <p:cNvGrpSpPr>
            <a:grpSpLocks/>
          </p:cNvGrpSpPr>
          <p:nvPr/>
        </p:nvGrpSpPr>
        <p:grpSpPr>
          <a:xfrm>
            <a:off x="698501" y="2615291"/>
            <a:ext cx="426949" cy="141171"/>
            <a:chOff x="696092" y="2359438"/>
            <a:chExt cx="426949" cy="141171"/>
          </a:xfrm>
        </p:grpSpPr>
        <p:pic>
          <p:nvPicPr>
            <p:cNvPr id="88" name="Graphic 87">
              <a:extLst>
                <a:ext uri="{FF2B5EF4-FFF2-40B4-BE49-F238E27FC236}">
                  <a16:creationId xmlns:a16="http://schemas.microsoft.com/office/drawing/2014/main" id="{D431FD61-60DF-2DA7-AC2B-2E605A0F80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90" name="Graphic 89">
              <a:extLst>
                <a:ext uri="{FF2B5EF4-FFF2-40B4-BE49-F238E27FC236}">
                  <a16:creationId xmlns:a16="http://schemas.microsoft.com/office/drawing/2014/main" id="{0D38F732-94E7-C58D-DB91-6AEF352E96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sp>
        <p:nvSpPr>
          <p:cNvPr id="124" name="Rectangle: Rounded Corners 123">
            <a:extLst>
              <a:ext uri="{FF2B5EF4-FFF2-40B4-BE49-F238E27FC236}">
                <a16:creationId xmlns:a16="http://schemas.microsoft.com/office/drawing/2014/main" id="{577797CE-A28A-DF37-D237-CBC082B4F388}"/>
              </a:ext>
              <a:ext uri="{C183D7F6-B498-43B3-948B-1728B52AA6E4}">
                <adec:decorative xmlns:adec="http://schemas.microsoft.com/office/drawing/2017/decorative" val="1"/>
              </a:ext>
            </a:extLst>
          </p:cNvPr>
          <p:cNvSpPr>
            <a:spLocks/>
          </p:cNvSpPr>
          <p:nvPr/>
        </p:nvSpPr>
        <p:spPr bwMode="auto">
          <a:xfrm>
            <a:off x="3877212" y="1667324"/>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27" name="Graphic 126">
            <a:extLst>
              <a:ext uri="{FF2B5EF4-FFF2-40B4-BE49-F238E27FC236}">
                <a16:creationId xmlns:a16="http://schemas.microsoft.com/office/drawing/2014/main" id="{AF8FB273-8F38-E631-06FD-6B961305ADC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50666" y="2615291"/>
            <a:ext cx="141171" cy="141171"/>
          </a:xfrm>
          <a:prstGeom prst="rect">
            <a:avLst/>
          </a:prstGeom>
        </p:spPr>
      </p:pic>
      <p:grpSp>
        <p:nvGrpSpPr>
          <p:cNvPr id="128" name="Group 127">
            <a:extLst>
              <a:ext uri="{FF2B5EF4-FFF2-40B4-BE49-F238E27FC236}">
                <a16:creationId xmlns:a16="http://schemas.microsoft.com/office/drawing/2014/main" id="{119C85BF-43C1-CCBA-F171-7184DD459772}"/>
              </a:ext>
              <a:ext uri="{C183D7F6-B498-43B3-948B-1728B52AA6E4}">
                <adec:decorative xmlns:adec="http://schemas.microsoft.com/office/drawing/2017/decorative" val="1"/>
              </a:ext>
            </a:extLst>
          </p:cNvPr>
          <p:cNvGrpSpPr>
            <a:grpSpLocks/>
          </p:cNvGrpSpPr>
          <p:nvPr/>
        </p:nvGrpSpPr>
        <p:grpSpPr>
          <a:xfrm>
            <a:off x="3988973" y="2615291"/>
            <a:ext cx="426949" cy="141171"/>
            <a:chOff x="696092" y="2359438"/>
            <a:chExt cx="426949" cy="141171"/>
          </a:xfrm>
        </p:grpSpPr>
        <p:pic>
          <p:nvPicPr>
            <p:cNvPr id="129" name="Graphic 128">
              <a:extLst>
                <a:ext uri="{FF2B5EF4-FFF2-40B4-BE49-F238E27FC236}">
                  <a16:creationId xmlns:a16="http://schemas.microsoft.com/office/drawing/2014/main" id="{B3897134-0A96-A290-7687-4B43A47279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130" name="Graphic 129">
              <a:extLst>
                <a:ext uri="{FF2B5EF4-FFF2-40B4-BE49-F238E27FC236}">
                  <a16:creationId xmlns:a16="http://schemas.microsoft.com/office/drawing/2014/main" id="{C8C7E465-2C44-616B-2519-C8FF03A7C95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sp>
        <p:nvSpPr>
          <p:cNvPr id="132" name="Rectangle: Rounded Corners 131">
            <a:extLst>
              <a:ext uri="{FF2B5EF4-FFF2-40B4-BE49-F238E27FC236}">
                <a16:creationId xmlns:a16="http://schemas.microsoft.com/office/drawing/2014/main" id="{ED9F3243-33F1-1E4F-4953-4A9889EAB4E9}"/>
              </a:ext>
              <a:ext uri="{C183D7F6-B498-43B3-948B-1728B52AA6E4}">
                <adec:decorative xmlns:adec="http://schemas.microsoft.com/office/drawing/2017/decorative" val="1"/>
              </a:ext>
            </a:extLst>
          </p:cNvPr>
          <p:cNvSpPr>
            <a:spLocks/>
          </p:cNvSpPr>
          <p:nvPr/>
        </p:nvSpPr>
        <p:spPr bwMode="auto">
          <a:xfrm>
            <a:off x="7167684" y="1667324"/>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35" name="Graphic 134">
            <a:extLst>
              <a:ext uri="{FF2B5EF4-FFF2-40B4-BE49-F238E27FC236}">
                <a16:creationId xmlns:a16="http://schemas.microsoft.com/office/drawing/2014/main" id="{34481A9D-AA64-0C7F-EE77-5B3CF3A9AB7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41138" y="2615291"/>
            <a:ext cx="141171" cy="141171"/>
          </a:xfrm>
          <a:prstGeom prst="rect">
            <a:avLst/>
          </a:prstGeom>
        </p:spPr>
      </p:pic>
      <p:grpSp>
        <p:nvGrpSpPr>
          <p:cNvPr id="136" name="Group 135">
            <a:extLst>
              <a:ext uri="{FF2B5EF4-FFF2-40B4-BE49-F238E27FC236}">
                <a16:creationId xmlns:a16="http://schemas.microsoft.com/office/drawing/2014/main" id="{93682C9C-E3B5-D46A-8B84-4851739E2BA9}"/>
              </a:ext>
              <a:ext uri="{C183D7F6-B498-43B3-948B-1728B52AA6E4}">
                <adec:decorative xmlns:adec="http://schemas.microsoft.com/office/drawing/2017/decorative" val="1"/>
              </a:ext>
            </a:extLst>
          </p:cNvPr>
          <p:cNvGrpSpPr>
            <a:grpSpLocks/>
          </p:cNvGrpSpPr>
          <p:nvPr/>
        </p:nvGrpSpPr>
        <p:grpSpPr>
          <a:xfrm>
            <a:off x="7279445" y="2615291"/>
            <a:ext cx="426949" cy="141171"/>
            <a:chOff x="696092" y="2359438"/>
            <a:chExt cx="426949" cy="141171"/>
          </a:xfrm>
        </p:grpSpPr>
        <p:pic>
          <p:nvPicPr>
            <p:cNvPr id="137" name="Graphic 136">
              <a:extLst>
                <a:ext uri="{FF2B5EF4-FFF2-40B4-BE49-F238E27FC236}">
                  <a16:creationId xmlns:a16="http://schemas.microsoft.com/office/drawing/2014/main" id="{790ADDCE-EFB7-AF57-FE10-600425AFEE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138" name="Graphic 137">
              <a:extLst>
                <a:ext uri="{FF2B5EF4-FFF2-40B4-BE49-F238E27FC236}">
                  <a16:creationId xmlns:a16="http://schemas.microsoft.com/office/drawing/2014/main" id="{CA58C850-8A47-FB23-6E39-6EEEFC144D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sp>
        <p:nvSpPr>
          <p:cNvPr id="140" name="Rectangle: Rounded Corners 139">
            <a:extLst>
              <a:ext uri="{FF2B5EF4-FFF2-40B4-BE49-F238E27FC236}">
                <a16:creationId xmlns:a16="http://schemas.microsoft.com/office/drawing/2014/main" id="{93996126-55AE-8C05-D729-D6BB3E99A857}"/>
              </a:ext>
              <a:ext uri="{C183D7F6-B498-43B3-948B-1728B52AA6E4}">
                <adec:decorative xmlns:adec="http://schemas.microsoft.com/office/drawing/2017/decorative" val="1"/>
              </a:ext>
            </a:extLst>
          </p:cNvPr>
          <p:cNvSpPr>
            <a:spLocks/>
          </p:cNvSpPr>
          <p:nvPr/>
        </p:nvSpPr>
        <p:spPr bwMode="auto">
          <a:xfrm>
            <a:off x="2231976" y="4884853"/>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43" name="Graphic 142">
            <a:extLst>
              <a:ext uri="{FF2B5EF4-FFF2-40B4-BE49-F238E27FC236}">
                <a16:creationId xmlns:a16="http://schemas.microsoft.com/office/drawing/2014/main" id="{4095E221-DBE8-D1B6-3B55-82E2449F604D}"/>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05430" y="5832820"/>
            <a:ext cx="141171" cy="141171"/>
          </a:xfrm>
          <a:prstGeom prst="rect">
            <a:avLst/>
          </a:prstGeom>
        </p:spPr>
      </p:pic>
      <p:grpSp>
        <p:nvGrpSpPr>
          <p:cNvPr id="144" name="Group 143">
            <a:extLst>
              <a:ext uri="{FF2B5EF4-FFF2-40B4-BE49-F238E27FC236}">
                <a16:creationId xmlns:a16="http://schemas.microsoft.com/office/drawing/2014/main" id="{B55BF193-5B28-5465-1AF7-61BA5DF20EB9}"/>
              </a:ext>
              <a:ext uri="{C183D7F6-B498-43B3-948B-1728B52AA6E4}">
                <adec:decorative xmlns:adec="http://schemas.microsoft.com/office/drawing/2017/decorative" val="1"/>
              </a:ext>
            </a:extLst>
          </p:cNvPr>
          <p:cNvGrpSpPr>
            <a:grpSpLocks/>
          </p:cNvGrpSpPr>
          <p:nvPr/>
        </p:nvGrpSpPr>
        <p:grpSpPr>
          <a:xfrm>
            <a:off x="2343737" y="5832820"/>
            <a:ext cx="426949" cy="141171"/>
            <a:chOff x="696092" y="2359438"/>
            <a:chExt cx="426949" cy="141171"/>
          </a:xfrm>
        </p:grpSpPr>
        <p:pic>
          <p:nvPicPr>
            <p:cNvPr id="145" name="Graphic 144">
              <a:extLst>
                <a:ext uri="{FF2B5EF4-FFF2-40B4-BE49-F238E27FC236}">
                  <a16:creationId xmlns:a16="http://schemas.microsoft.com/office/drawing/2014/main" id="{C480E65C-2AFD-8D88-93AB-4A8A481E2C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146" name="Graphic 145">
              <a:extLst>
                <a:ext uri="{FF2B5EF4-FFF2-40B4-BE49-F238E27FC236}">
                  <a16:creationId xmlns:a16="http://schemas.microsoft.com/office/drawing/2014/main" id="{C71E25D1-E05E-3D07-BC66-3D1707516AA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sp>
        <p:nvSpPr>
          <p:cNvPr id="168" name="Rectangle: Rounded Corners 167">
            <a:extLst>
              <a:ext uri="{FF2B5EF4-FFF2-40B4-BE49-F238E27FC236}">
                <a16:creationId xmlns:a16="http://schemas.microsoft.com/office/drawing/2014/main" id="{9466A133-78E5-BDAA-3A22-3B5DA939C655}"/>
              </a:ext>
              <a:ext uri="{C183D7F6-B498-43B3-948B-1728B52AA6E4}">
                <adec:decorative xmlns:adec="http://schemas.microsoft.com/office/drawing/2017/decorative" val="1"/>
              </a:ext>
            </a:extLst>
          </p:cNvPr>
          <p:cNvSpPr>
            <a:spLocks/>
          </p:cNvSpPr>
          <p:nvPr/>
        </p:nvSpPr>
        <p:spPr bwMode="auto">
          <a:xfrm>
            <a:off x="5522449" y="4884853"/>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71" name="Graphic 170">
            <a:extLst>
              <a:ext uri="{FF2B5EF4-FFF2-40B4-BE49-F238E27FC236}">
                <a16:creationId xmlns:a16="http://schemas.microsoft.com/office/drawing/2014/main" id="{08762F8A-DF0E-61D9-EE63-3CA635D69A49}"/>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95903" y="5832820"/>
            <a:ext cx="141171" cy="141171"/>
          </a:xfrm>
          <a:prstGeom prst="rect">
            <a:avLst/>
          </a:prstGeom>
        </p:spPr>
      </p:pic>
      <p:grpSp>
        <p:nvGrpSpPr>
          <p:cNvPr id="172" name="Group 171">
            <a:extLst>
              <a:ext uri="{FF2B5EF4-FFF2-40B4-BE49-F238E27FC236}">
                <a16:creationId xmlns:a16="http://schemas.microsoft.com/office/drawing/2014/main" id="{EB3A2B42-11E6-4883-D438-160A28283EA3}"/>
              </a:ext>
              <a:ext uri="{C183D7F6-B498-43B3-948B-1728B52AA6E4}">
                <adec:decorative xmlns:adec="http://schemas.microsoft.com/office/drawing/2017/decorative" val="1"/>
              </a:ext>
            </a:extLst>
          </p:cNvPr>
          <p:cNvGrpSpPr>
            <a:grpSpLocks/>
          </p:cNvGrpSpPr>
          <p:nvPr/>
        </p:nvGrpSpPr>
        <p:grpSpPr>
          <a:xfrm>
            <a:off x="5634210" y="5832820"/>
            <a:ext cx="426949" cy="141171"/>
            <a:chOff x="696092" y="2359438"/>
            <a:chExt cx="426949" cy="141171"/>
          </a:xfrm>
        </p:grpSpPr>
        <p:pic>
          <p:nvPicPr>
            <p:cNvPr id="173" name="Graphic 172">
              <a:extLst>
                <a:ext uri="{FF2B5EF4-FFF2-40B4-BE49-F238E27FC236}">
                  <a16:creationId xmlns:a16="http://schemas.microsoft.com/office/drawing/2014/main" id="{9AF45539-488D-1A8D-0A00-4F54F54EB5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174" name="Graphic 173">
              <a:extLst>
                <a:ext uri="{FF2B5EF4-FFF2-40B4-BE49-F238E27FC236}">
                  <a16:creationId xmlns:a16="http://schemas.microsoft.com/office/drawing/2014/main" id="{3FD2FA68-7EB7-F5E2-EACD-980B08809C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sp>
        <p:nvSpPr>
          <p:cNvPr id="176" name="Rectangle: Rounded Corners 175">
            <a:extLst>
              <a:ext uri="{FF2B5EF4-FFF2-40B4-BE49-F238E27FC236}">
                <a16:creationId xmlns:a16="http://schemas.microsoft.com/office/drawing/2014/main" id="{9B351D11-E815-4110-75E2-7CD8FD94D69E}"/>
              </a:ext>
              <a:ext uri="{C183D7F6-B498-43B3-948B-1728B52AA6E4}">
                <adec:decorative xmlns:adec="http://schemas.microsoft.com/office/drawing/2017/decorative" val="1"/>
              </a:ext>
            </a:extLst>
          </p:cNvPr>
          <p:cNvSpPr>
            <a:spLocks/>
          </p:cNvSpPr>
          <p:nvPr/>
        </p:nvSpPr>
        <p:spPr bwMode="auto">
          <a:xfrm>
            <a:off x="8812920" y="4884853"/>
            <a:ext cx="2826385" cy="1221013"/>
          </a:xfrm>
          <a:prstGeom prst="roundRect">
            <a:avLst>
              <a:gd name="adj" fmla="val 694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79" name="Graphic 178">
            <a:extLst>
              <a:ext uri="{FF2B5EF4-FFF2-40B4-BE49-F238E27FC236}">
                <a16:creationId xmlns:a16="http://schemas.microsoft.com/office/drawing/2014/main" id="{8159135F-35E4-50DC-47F9-1D7837A09B7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86374" y="5832820"/>
            <a:ext cx="141171" cy="141171"/>
          </a:xfrm>
          <a:prstGeom prst="rect">
            <a:avLst/>
          </a:prstGeom>
        </p:spPr>
      </p:pic>
      <p:grpSp>
        <p:nvGrpSpPr>
          <p:cNvPr id="180" name="Group 179">
            <a:extLst>
              <a:ext uri="{FF2B5EF4-FFF2-40B4-BE49-F238E27FC236}">
                <a16:creationId xmlns:a16="http://schemas.microsoft.com/office/drawing/2014/main" id="{FA802CF5-F1CB-80B8-BD70-DC8242C88FB6}"/>
              </a:ext>
              <a:ext uri="{C183D7F6-B498-43B3-948B-1728B52AA6E4}">
                <adec:decorative xmlns:adec="http://schemas.microsoft.com/office/drawing/2017/decorative" val="1"/>
              </a:ext>
            </a:extLst>
          </p:cNvPr>
          <p:cNvGrpSpPr>
            <a:grpSpLocks/>
          </p:cNvGrpSpPr>
          <p:nvPr/>
        </p:nvGrpSpPr>
        <p:grpSpPr>
          <a:xfrm>
            <a:off x="8924681" y="5832820"/>
            <a:ext cx="426949" cy="141171"/>
            <a:chOff x="696092" y="2359438"/>
            <a:chExt cx="426949" cy="141171"/>
          </a:xfrm>
        </p:grpSpPr>
        <p:pic>
          <p:nvPicPr>
            <p:cNvPr id="181" name="Graphic 180">
              <a:extLst>
                <a:ext uri="{FF2B5EF4-FFF2-40B4-BE49-F238E27FC236}">
                  <a16:creationId xmlns:a16="http://schemas.microsoft.com/office/drawing/2014/main" id="{09DB1B5E-3849-742F-91E6-69DA60AF7E6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398" y="2359438"/>
              <a:ext cx="117643" cy="141171"/>
            </a:xfrm>
            <a:prstGeom prst="rect">
              <a:avLst/>
            </a:prstGeom>
          </p:spPr>
        </p:pic>
        <p:pic>
          <p:nvPicPr>
            <p:cNvPr id="182" name="Graphic 181">
              <a:extLst>
                <a:ext uri="{FF2B5EF4-FFF2-40B4-BE49-F238E27FC236}">
                  <a16:creationId xmlns:a16="http://schemas.microsoft.com/office/drawing/2014/main" id="{4CE7EC94-2768-3233-0605-10082B2A19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6092" y="2368751"/>
              <a:ext cx="117643" cy="117643"/>
            </a:xfrm>
            <a:prstGeom prst="rect">
              <a:avLst/>
            </a:prstGeom>
          </p:spPr>
        </p:pic>
      </p:grpSp>
      <p:cxnSp>
        <p:nvCxnSpPr>
          <p:cNvPr id="183" name="Straight Connector 182">
            <a:extLst>
              <a:ext uri="{FF2B5EF4-FFF2-40B4-BE49-F238E27FC236}">
                <a16:creationId xmlns:a16="http://schemas.microsoft.com/office/drawing/2014/main" id="{80C90277-8413-781D-2B64-53E33EBDC6E7}"/>
              </a:ext>
              <a:ext uri="{C183D7F6-B498-43B3-948B-1728B52AA6E4}">
                <adec:decorative xmlns:adec="http://schemas.microsoft.com/office/drawing/2017/decorative" val="1"/>
              </a:ext>
            </a:extLst>
          </p:cNvPr>
          <p:cNvCxnSpPr>
            <a:cxnSpLocks/>
          </p:cNvCxnSpPr>
          <p:nvPr/>
        </p:nvCxnSpPr>
        <p:spPr>
          <a:xfrm>
            <a:off x="1999933" y="2890568"/>
            <a:ext cx="0" cy="653502"/>
          </a:xfrm>
          <a:prstGeom prst="line">
            <a:avLst/>
          </a:prstGeom>
          <a:ln w="6350">
            <a:solidFill>
              <a:srgbClr val="FF5C39"/>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0ACFEBA1-5682-D8AB-2057-19F234F67E39}"/>
              </a:ext>
              <a:ext uri="{C183D7F6-B498-43B3-948B-1728B52AA6E4}">
                <adec:decorative xmlns:adec="http://schemas.microsoft.com/office/drawing/2017/decorative" val="1"/>
              </a:ext>
            </a:extLst>
          </p:cNvPr>
          <p:cNvCxnSpPr>
            <a:cxnSpLocks/>
          </p:cNvCxnSpPr>
          <p:nvPr/>
        </p:nvCxnSpPr>
        <p:spPr>
          <a:xfrm>
            <a:off x="5290404" y="2890568"/>
            <a:ext cx="0" cy="653502"/>
          </a:xfrm>
          <a:prstGeom prst="line">
            <a:avLst/>
          </a:prstGeom>
          <a:ln w="6350">
            <a:solidFill>
              <a:srgbClr val="C03BC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732E41B5-4701-DEED-0763-31AA1E7DF51C}"/>
              </a:ext>
              <a:ext uri="{C183D7F6-B498-43B3-948B-1728B52AA6E4}">
                <adec:decorative xmlns:adec="http://schemas.microsoft.com/office/drawing/2017/decorative" val="1"/>
              </a:ext>
            </a:extLst>
          </p:cNvPr>
          <p:cNvCxnSpPr>
            <a:cxnSpLocks/>
          </p:cNvCxnSpPr>
          <p:nvPr/>
        </p:nvCxnSpPr>
        <p:spPr>
          <a:xfrm>
            <a:off x="8580876" y="2890568"/>
            <a:ext cx="0" cy="653502"/>
          </a:xfrm>
          <a:prstGeom prst="line">
            <a:avLst/>
          </a:prstGeom>
          <a:ln w="6350">
            <a:solidFill>
              <a:srgbClr val="0078D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56FC973-C484-E0B5-B0BD-2C9C8D180621}"/>
              </a:ext>
              <a:ext uri="{C183D7F6-B498-43B3-948B-1728B52AA6E4}">
                <adec:decorative xmlns:adec="http://schemas.microsoft.com/office/drawing/2017/decorative" val="1"/>
              </a:ext>
            </a:extLst>
          </p:cNvPr>
          <p:cNvCxnSpPr>
            <a:cxnSpLocks/>
          </p:cNvCxnSpPr>
          <p:nvPr/>
        </p:nvCxnSpPr>
        <p:spPr>
          <a:xfrm flipV="1">
            <a:off x="6935641" y="4009137"/>
            <a:ext cx="0" cy="871177"/>
          </a:xfrm>
          <a:prstGeom prst="line">
            <a:avLst/>
          </a:prstGeom>
          <a:ln w="6350">
            <a:solidFill>
              <a:srgbClr val="C03BC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198D237C-DBA0-254B-3499-247D3A6062F5}"/>
              </a:ext>
              <a:ext uri="{C183D7F6-B498-43B3-948B-1728B52AA6E4}">
                <adec:decorative xmlns:adec="http://schemas.microsoft.com/office/drawing/2017/decorative" val="1"/>
              </a:ext>
            </a:extLst>
          </p:cNvPr>
          <p:cNvCxnSpPr>
            <a:cxnSpLocks/>
          </p:cNvCxnSpPr>
          <p:nvPr/>
        </p:nvCxnSpPr>
        <p:spPr>
          <a:xfrm flipV="1">
            <a:off x="10226112" y="4009137"/>
            <a:ext cx="0" cy="871177"/>
          </a:xfrm>
          <a:prstGeom prst="line">
            <a:avLst/>
          </a:prstGeom>
          <a:ln w="6350">
            <a:solidFill>
              <a:srgbClr val="0078D4"/>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2" name="Graphic 63">
            <a:extLst>
              <a:ext uri="{FF2B5EF4-FFF2-40B4-BE49-F238E27FC236}">
                <a16:creationId xmlns:a16="http://schemas.microsoft.com/office/drawing/2014/main" id="{075916B3-9F2F-E140-5BAC-320133801FBE}"/>
              </a:ext>
              <a:ext uri="{C183D7F6-B498-43B3-948B-1728B52AA6E4}">
                <adec:decorative xmlns:adec="http://schemas.microsoft.com/office/drawing/2017/decorative" val="1"/>
              </a:ext>
            </a:extLst>
          </p:cNvPr>
          <p:cNvSpPr>
            <a:spLocks noChangeAspect="1"/>
          </p:cNvSpPr>
          <p:nvPr/>
        </p:nvSpPr>
        <p:spPr>
          <a:xfrm>
            <a:off x="2437546" y="3634932"/>
            <a:ext cx="282826" cy="283344"/>
          </a:xfrm>
          <a:custGeom>
            <a:avLst/>
            <a:gdLst>
              <a:gd name="connsiteX0" fmla="*/ 0 w 190157"/>
              <a:gd name="connsiteY0" fmla="*/ 21431 h 190506"/>
              <a:gd name="connsiteX1" fmla="*/ 21431 w 190157"/>
              <a:gd name="connsiteY1" fmla="*/ 0 h 190506"/>
              <a:gd name="connsiteX2" fmla="*/ 150019 w 190157"/>
              <a:gd name="connsiteY2" fmla="*/ 0 h 190506"/>
              <a:gd name="connsiteX3" fmla="*/ 171450 w 190157"/>
              <a:gd name="connsiteY3" fmla="*/ 21431 h 190506"/>
              <a:gd name="connsiteX4" fmla="*/ 171450 w 190157"/>
              <a:gd name="connsiteY4" fmla="*/ 76314 h 190506"/>
              <a:gd name="connsiteX5" fmla="*/ 146618 w 190157"/>
              <a:gd name="connsiteY5" fmla="*/ 85363 h 190506"/>
              <a:gd name="connsiteX6" fmla="*/ 117681 w 190157"/>
              <a:gd name="connsiteY6" fmla="*/ 114300 h 190506"/>
              <a:gd name="connsiteX7" fmla="*/ 78581 w 190157"/>
              <a:gd name="connsiteY7" fmla="*/ 114300 h 190506"/>
              <a:gd name="connsiteX8" fmla="*/ 71438 w 190157"/>
              <a:gd name="connsiteY8" fmla="*/ 121444 h 190506"/>
              <a:gd name="connsiteX9" fmla="*/ 78581 w 190157"/>
              <a:gd name="connsiteY9" fmla="*/ 128588 h 190506"/>
              <a:gd name="connsiteX10" fmla="*/ 103394 w 190157"/>
              <a:gd name="connsiteY10" fmla="*/ 128588 h 190506"/>
              <a:gd name="connsiteX11" fmla="*/ 90392 w 190157"/>
              <a:gd name="connsiteY11" fmla="*/ 141589 h 190506"/>
              <a:gd name="connsiteX12" fmla="*/ 81153 w 190157"/>
              <a:gd name="connsiteY12" fmla="*/ 157896 h 190506"/>
              <a:gd name="connsiteX13" fmla="*/ 77781 w 190157"/>
              <a:gd name="connsiteY13" fmla="*/ 171450 h 190506"/>
              <a:gd name="connsiteX14" fmla="*/ 21431 w 190157"/>
              <a:gd name="connsiteY14" fmla="*/ 171450 h 190506"/>
              <a:gd name="connsiteX15" fmla="*/ 0 w 190157"/>
              <a:gd name="connsiteY15" fmla="*/ 150019 h 190506"/>
              <a:gd name="connsiteX16" fmla="*/ 0 w 190157"/>
              <a:gd name="connsiteY16" fmla="*/ 21431 h 190506"/>
              <a:gd name="connsiteX17" fmla="*/ 45244 w 190157"/>
              <a:gd name="connsiteY17" fmla="*/ 59531 h 190506"/>
              <a:gd name="connsiteX18" fmla="*/ 54769 w 190157"/>
              <a:gd name="connsiteY18" fmla="*/ 50006 h 190506"/>
              <a:gd name="connsiteX19" fmla="*/ 45244 w 190157"/>
              <a:gd name="connsiteY19" fmla="*/ 40481 h 190506"/>
              <a:gd name="connsiteX20" fmla="*/ 35719 w 190157"/>
              <a:gd name="connsiteY20" fmla="*/ 50006 h 190506"/>
              <a:gd name="connsiteX21" fmla="*/ 45244 w 190157"/>
              <a:gd name="connsiteY21" fmla="*/ 59531 h 190506"/>
              <a:gd name="connsiteX22" fmla="*/ 78581 w 190157"/>
              <a:gd name="connsiteY22" fmla="*/ 42863 h 190506"/>
              <a:gd name="connsiteX23" fmla="*/ 71438 w 190157"/>
              <a:gd name="connsiteY23" fmla="*/ 50006 h 190506"/>
              <a:gd name="connsiteX24" fmla="*/ 78581 w 190157"/>
              <a:gd name="connsiteY24" fmla="*/ 57150 h 190506"/>
              <a:gd name="connsiteX25" fmla="*/ 130969 w 190157"/>
              <a:gd name="connsiteY25" fmla="*/ 57150 h 190506"/>
              <a:gd name="connsiteX26" fmla="*/ 138113 w 190157"/>
              <a:gd name="connsiteY26" fmla="*/ 50006 h 190506"/>
              <a:gd name="connsiteX27" fmla="*/ 130969 w 190157"/>
              <a:gd name="connsiteY27" fmla="*/ 42863 h 190506"/>
              <a:gd name="connsiteX28" fmla="*/ 78581 w 190157"/>
              <a:gd name="connsiteY28" fmla="*/ 42863 h 190506"/>
              <a:gd name="connsiteX29" fmla="*/ 78581 w 190157"/>
              <a:gd name="connsiteY29" fmla="*/ 78581 h 190506"/>
              <a:gd name="connsiteX30" fmla="*/ 71438 w 190157"/>
              <a:gd name="connsiteY30" fmla="*/ 85725 h 190506"/>
              <a:gd name="connsiteX31" fmla="*/ 78581 w 190157"/>
              <a:gd name="connsiteY31" fmla="*/ 92869 h 190506"/>
              <a:gd name="connsiteX32" fmla="*/ 130969 w 190157"/>
              <a:gd name="connsiteY32" fmla="*/ 92869 h 190506"/>
              <a:gd name="connsiteX33" fmla="*/ 138113 w 190157"/>
              <a:gd name="connsiteY33" fmla="*/ 85725 h 190506"/>
              <a:gd name="connsiteX34" fmla="*/ 130969 w 190157"/>
              <a:gd name="connsiteY34" fmla="*/ 78581 h 190506"/>
              <a:gd name="connsiteX35" fmla="*/ 78581 w 190157"/>
              <a:gd name="connsiteY35" fmla="*/ 78581 h 190506"/>
              <a:gd name="connsiteX36" fmla="*/ 35719 w 190157"/>
              <a:gd name="connsiteY36" fmla="*/ 85725 h 190506"/>
              <a:gd name="connsiteX37" fmla="*/ 45244 w 190157"/>
              <a:gd name="connsiteY37" fmla="*/ 95250 h 190506"/>
              <a:gd name="connsiteX38" fmla="*/ 54769 w 190157"/>
              <a:gd name="connsiteY38" fmla="*/ 85725 h 190506"/>
              <a:gd name="connsiteX39" fmla="*/ 45244 w 190157"/>
              <a:gd name="connsiteY39" fmla="*/ 76200 h 190506"/>
              <a:gd name="connsiteX40" fmla="*/ 35719 w 190157"/>
              <a:gd name="connsiteY40" fmla="*/ 85725 h 190506"/>
              <a:gd name="connsiteX41" fmla="*/ 45244 w 190157"/>
              <a:gd name="connsiteY41" fmla="*/ 130969 h 190506"/>
              <a:gd name="connsiteX42" fmla="*/ 54769 w 190157"/>
              <a:gd name="connsiteY42" fmla="*/ 121444 h 190506"/>
              <a:gd name="connsiteX43" fmla="*/ 45244 w 190157"/>
              <a:gd name="connsiteY43" fmla="*/ 111919 h 190506"/>
              <a:gd name="connsiteX44" fmla="*/ 35719 w 190157"/>
              <a:gd name="connsiteY44" fmla="*/ 121444 h 190506"/>
              <a:gd name="connsiteX45" fmla="*/ 45244 w 190157"/>
              <a:gd name="connsiteY45" fmla="*/ 130969 h 190506"/>
              <a:gd name="connsiteX46" fmla="*/ 153353 w 190157"/>
              <a:gd name="connsiteY46" fmla="*/ 92107 h 190506"/>
              <a:gd name="connsiteX47" fmla="*/ 97126 w 190157"/>
              <a:gd name="connsiteY47" fmla="*/ 148323 h 190506"/>
              <a:gd name="connsiteX48" fmla="*/ 90402 w 190157"/>
              <a:gd name="connsiteY48" fmla="*/ 160201 h 190506"/>
              <a:gd name="connsiteX49" fmla="*/ 86039 w 190157"/>
              <a:gd name="connsiteY49" fmla="*/ 177641 h 190506"/>
              <a:gd name="connsiteX50" fmla="*/ 93573 w 190157"/>
              <a:gd name="connsiteY50" fmla="*/ 190197 h 190506"/>
              <a:gd name="connsiteX51" fmla="*/ 98603 w 190157"/>
              <a:gd name="connsiteY51" fmla="*/ 190195 h 190506"/>
              <a:gd name="connsiteX52" fmla="*/ 116034 w 190157"/>
              <a:gd name="connsiteY52" fmla="*/ 185842 h 190506"/>
              <a:gd name="connsiteX53" fmla="*/ 127921 w 190157"/>
              <a:gd name="connsiteY53" fmla="*/ 179108 h 190506"/>
              <a:gd name="connsiteX54" fmla="*/ 184137 w 190157"/>
              <a:gd name="connsiteY54" fmla="*/ 122892 h 190506"/>
              <a:gd name="connsiteX55" fmla="*/ 183414 w 190157"/>
              <a:gd name="connsiteY55" fmla="*/ 92107 h 190506"/>
              <a:gd name="connsiteX56" fmla="*/ 153353 w 190157"/>
              <a:gd name="connsiteY56" fmla="*/ 92107 h 19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90157" h="190506">
                <a:moveTo>
                  <a:pt x="0" y="21431"/>
                </a:moveTo>
                <a:cubicBezTo>
                  <a:pt x="0" y="9595"/>
                  <a:pt x="9595" y="0"/>
                  <a:pt x="21431" y="0"/>
                </a:cubicBezTo>
                <a:lnTo>
                  <a:pt x="150019" y="0"/>
                </a:lnTo>
                <a:cubicBezTo>
                  <a:pt x="161855" y="0"/>
                  <a:pt x="171450" y="9595"/>
                  <a:pt x="171450" y="21431"/>
                </a:cubicBezTo>
                <a:lnTo>
                  <a:pt x="171450" y="76314"/>
                </a:lnTo>
                <a:cubicBezTo>
                  <a:pt x="162241" y="75508"/>
                  <a:pt x="153149" y="78820"/>
                  <a:pt x="146618" y="85363"/>
                </a:cubicBezTo>
                <a:lnTo>
                  <a:pt x="117681" y="114300"/>
                </a:lnTo>
                <a:lnTo>
                  <a:pt x="78581" y="114300"/>
                </a:lnTo>
                <a:cubicBezTo>
                  <a:pt x="74636" y="114300"/>
                  <a:pt x="71438" y="117499"/>
                  <a:pt x="71438" y="121444"/>
                </a:cubicBezTo>
                <a:cubicBezTo>
                  <a:pt x="71438" y="125389"/>
                  <a:pt x="74636" y="128588"/>
                  <a:pt x="78581" y="128588"/>
                </a:cubicBezTo>
                <a:lnTo>
                  <a:pt x="103394" y="128588"/>
                </a:lnTo>
                <a:lnTo>
                  <a:pt x="90392" y="141589"/>
                </a:lnTo>
                <a:cubicBezTo>
                  <a:pt x="85892" y="146087"/>
                  <a:pt x="82698" y="151724"/>
                  <a:pt x="81153" y="157896"/>
                </a:cubicBezTo>
                <a:lnTo>
                  <a:pt x="77781" y="171450"/>
                </a:lnTo>
                <a:lnTo>
                  <a:pt x="21431" y="171450"/>
                </a:lnTo>
                <a:cubicBezTo>
                  <a:pt x="9595" y="171450"/>
                  <a:pt x="0" y="161855"/>
                  <a:pt x="0" y="150019"/>
                </a:cubicBezTo>
                <a:lnTo>
                  <a:pt x="0" y="21431"/>
                </a:lnTo>
                <a:close/>
                <a:moveTo>
                  <a:pt x="45244" y="59531"/>
                </a:moveTo>
                <a:cubicBezTo>
                  <a:pt x="50504" y="59531"/>
                  <a:pt x="54769" y="55267"/>
                  <a:pt x="54769" y="50006"/>
                </a:cubicBezTo>
                <a:cubicBezTo>
                  <a:pt x="54769" y="44746"/>
                  <a:pt x="50504" y="40481"/>
                  <a:pt x="45244" y="40481"/>
                </a:cubicBezTo>
                <a:cubicBezTo>
                  <a:pt x="39983" y="40481"/>
                  <a:pt x="35719" y="44746"/>
                  <a:pt x="35719" y="50006"/>
                </a:cubicBezTo>
                <a:cubicBezTo>
                  <a:pt x="35719" y="55267"/>
                  <a:pt x="39983" y="59531"/>
                  <a:pt x="45244" y="59531"/>
                </a:cubicBezTo>
                <a:close/>
                <a:moveTo>
                  <a:pt x="78581" y="42863"/>
                </a:moveTo>
                <a:cubicBezTo>
                  <a:pt x="74636" y="42863"/>
                  <a:pt x="71438" y="46061"/>
                  <a:pt x="71438" y="50006"/>
                </a:cubicBezTo>
                <a:cubicBezTo>
                  <a:pt x="71438" y="53952"/>
                  <a:pt x="74636" y="57150"/>
                  <a:pt x="78581" y="57150"/>
                </a:cubicBezTo>
                <a:lnTo>
                  <a:pt x="130969" y="57150"/>
                </a:lnTo>
                <a:cubicBezTo>
                  <a:pt x="134914" y="57150"/>
                  <a:pt x="138113" y="53952"/>
                  <a:pt x="138113" y="50006"/>
                </a:cubicBezTo>
                <a:cubicBezTo>
                  <a:pt x="138113" y="46061"/>
                  <a:pt x="134914" y="42863"/>
                  <a:pt x="130969" y="42863"/>
                </a:cubicBezTo>
                <a:lnTo>
                  <a:pt x="78581" y="42863"/>
                </a:lnTo>
                <a:close/>
                <a:moveTo>
                  <a:pt x="78581" y="78581"/>
                </a:moveTo>
                <a:cubicBezTo>
                  <a:pt x="74636" y="78581"/>
                  <a:pt x="71438" y="81780"/>
                  <a:pt x="71438" y="85725"/>
                </a:cubicBezTo>
                <a:cubicBezTo>
                  <a:pt x="71438" y="89670"/>
                  <a:pt x="74636" y="92869"/>
                  <a:pt x="78581" y="92869"/>
                </a:cubicBezTo>
                <a:lnTo>
                  <a:pt x="130969" y="92869"/>
                </a:lnTo>
                <a:cubicBezTo>
                  <a:pt x="134914" y="92869"/>
                  <a:pt x="138113" y="89670"/>
                  <a:pt x="138113" y="85725"/>
                </a:cubicBezTo>
                <a:cubicBezTo>
                  <a:pt x="138113" y="81780"/>
                  <a:pt x="134914" y="78581"/>
                  <a:pt x="130969" y="78581"/>
                </a:cubicBezTo>
                <a:lnTo>
                  <a:pt x="78581" y="78581"/>
                </a:lnTo>
                <a:close/>
                <a:moveTo>
                  <a:pt x="35719" y="85725"/>
                </a:moveTo>
                <a:cubicBezTo>
                  <a:pt x="35719" y="90986"/>
                  <a:pt x="39983" y="95250"/>
                  <a:pt x="45244" y="95250"/>
                </a:cubicBezTo>
                <a:cubicBezTo>
                  <a:pt x="50504" y="95250"/>
                  <a:pt x="54769" y="90986"/>
                  <a:pt x="54769" y="85725"/>
                </a:cubicBezTo>
                <a:cubicBezTo>
                  <a:pt x="54769" y="80464"/>
                  <a:pt x="50504" y="76200"/>
                  <a:pt x="45244" y="76200"/>
                </a:cubicBezTo>
                <a:cubicBezTo>
                  <a:pt x="39983" y="76200"/>
                  <a:pt x="35719" y="80464"/>
                  <a:pt x="35719" y="85725"/>
                </a:cubicBezTo>
                <a:close/>
                <a:moveTo>
                  <a:pt x="45244" y="130969"/>
                </a:moveTo>
                <a:cubicBezTo>
                  <a:pt x="50504" y="130969"/>
                  <a:pt x="54769" y="126704"/>
                  <a:pt x="54769" y="121444"/>
                </a:cubicBezTo>
                <a:cubicBezTo>
                  <a:pt x="54769" y="116183"/>
                  <a:pt x="50504" y="111919"/>
                  <a:pt x="45244" y="111919"/>
                </a:cubicBezTo>
                <a:cubicBezTo>
                  <a:pt x="39983" y="111919"/>
                  <a:pt x="35719" y="116183"/>
                  <a:pt x="35719" y="121444"/>
                </a:cubicBezTo>
                <a:cubicBezTo>
                  <a:pt x="35719" y="126704"/>
                  <a:pt x="39983" y="130969"/>
                  <a:pt x="45244" y="130969"/>
                </a:cubicBezTo>
                <a:close/>
                <a:moveTo>
                  <a:pt x="153353" y="92107"/>
                </a:moveTo>
                <a:lnTo>
                  <a:pt x="97126" y="148323"/>
                </a:lnTo>
                <a:cubicBezTo>
                  <a:pt x="93851" y="151601"/>
                  <a:pt x="91527" y="155706"/>
                  <a:pt x="90402" y="160201"/>
                </a:cubicBezTo>
                <a:lnTo>
                  <a:pt x="86039" y="177641"/>
                </a:lnTo>
                <a:cubicBezTo>
                  <a:pt x="84652" y="183189"/>
                  <a:pt x="88025" y="188810"/>
                  <a:pt x="93573" y="190197"/>
                </a:cubicBezTo>
                <a:cubicBezTo>
                  <a:pt x="95224" y="190611"/>
                  <a:pt x="96952" y="190610"/>
                  <a:pt x="98603" y="190195"/>
                </a:cubicBezTo>
                <a:lnTo>
                  <a:pt x="116034" y="185842"/>
                </a:lnTo>
                <a:cubicBezTo>
                  <a:pt x="120533" y="184717"/>
                  <a:pt x="124642" y="182389"/>
                  <a:pt x="127921" y="179108"/>
                </a:cubicBezTo>
                <a:lnTo>
                  <a:pt x="184137" y="122892"/>
                </a:lnTo>
                <a:cubicBezTo>
                  <a:pt x="192438" y="114190"/>
                  <a:pt x="192114" y="100408"/>
                  <a:pt x="183414" y="92107"/>
                </a:cubicBezTo>
                <a:cubicBezTo>
                  <a:pt x="175001" y="84080"/>
                  <a:pt x="161766" y="84080"/>
                  <a:pt x="153353" y="9210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 name="Graphic 57">
            <a:extLst>
              <a:ext uri="{FF2B5EF4-FFF2-40B4-BE49-F238E27FC236}">
                <a16:creationId xmlns:a16="http://schemas.microsoft.com/office/drawing/2014/main" id="{2C97C103-4589-3254-D72C-DE657DAF926C}"/>
              </a:ext>
              <a:ext uri="{C183D7F6-B498-43B3-948B-1728B52AA6E4}">
                <adec:decorative xmlns:adec="http://schemas.microsoft.com/office/drawing/2017/decorative" val="1"/>
              </a:ext>
            </a:extLst>
          </p:cNvPr>
          <p:cNvSpPr>
            <a:spLocks/>
          </p:cNvSpPr>
          <p:nvPr/>
        </p:nvSpPr>
        <p:spPr>
          <a:xfrm>
            <a:off x="5996228" y="3636457"/>
            <a:ext cx="295032" cy="280294"/>
          </a:xfrm>
          <a:custGeom>
            <a:avLst/>
            <a:gdLst>
              <a:gd name="connsiteX0" fmla="*/ 45244 w 190490"/>
              <a:gd name="connsiteY0" fmla="*/ 180975 h 180975"/>
              <a:gd name="connsiteX1" fmla="*/ 38102 w 190490"/>
              <a:gd name="connsiteY1" fmla="*/ 173829 h 180975"/>
              <a:gd name="connsiteX2" fmla="*/ 44272 w 190490"/>
              <a:gd name="connsiteY2" fmla="*/ 166754 h 180975"/>
              <a:gd name="connsiteX3" fmla="*/ 45244 w 190490"/>
              <a:gd name="connsiteY3" fmla="*/ 166688 h 180975"/>
              <a:gd name="connsiteX4" fmla="*/ 61903 w 190490"/>
              <a:gd name="connsiteY4" fmla="*/ 166688 h 180975"/>
              <a:gd name="connsiteX5" fmla="*/ 61903 w 190490"/>
              <a:gd name="connsiteY5" fmla="*/ 142894 h 180975"/>
              <a:gd name="connsiteX6" fmla="*/ 21431 w 190490"/>
              <a:gd name="connsiteY6" fmla="*/ 142894 h 180975"/>
              <a:gd name="connsiteX7" fmla="*/ 48 w 190490"/>
              <a:gd name="connsiteY7" fmla="*/ 122930 h 180975"/>
              <a:gd name="connsiteX8" fmla="*/ 0 w 190490"/>
              <a:gd name="connsiteY8" fmla="*/ 121463 h 180975"/>
              <a:gd name="connsiteX9" fmla="*/ 0 w 190490"/>
              <a:gd name="connsiteY9" fmla="*/ 21431 h 180975"/>
              <a:gd name="connsiteX10" fmla="*/ 19964 w 190490"/>
              <a:gd name="connsiteY10" fmla="*/ 48 h 180975"/>
              <a:gd name="connsiteX11" fmla="*/ 21431 w 190490"/>
              <a:gd name="connsiteY11" fmla="*/ 0 h 180975"/>
              <a:gd name="connsiteX12" fmla="*/ 169059 w 190490"/>
              <a:gd name="connsiteY12" fmla="*/ 0 h 180975"/>
              <a:gd name="connsiteX13" fmla="*/ 190443 w 190490"/>
              <a:gd name="connsiteY13" fmla="*/ 19964 h 180975"/>
              <a:gd name="connsiteX14" fmla="*/ 190490 w 190490"/>
              <a:gd name="connsiteY14" fmla="*/ 21431 h 180975"/>
              <a:gd name="connsiteX15" fmla="*/ 190490 w 190490"/>
              <a:gd name="connsiteY15" fmla="*/ 121463 h 180975"/>
              <a:gd name="connsiteX16" fmla="*/ 170526 w 190490"/>
              <a:gd name="connsiteY16" fmla="*/ 142846 h 180975"/>
              <a:gd name="connsiteX17" fmla="*/ 169059 w 190490"/>
              <a:gd name="connsiteY17" fmla="*/ 142894 h 180975"/>
              <a:gd name="connsiteX18" fmla="*/ 128578 w 190490"/>
              <a:gd name="connsiteY18" fmla="*/ 142894 h 180975"/>
              <a:gd name="connsiteX19" fmla="*/ 128578 w 190490"/>
              <a:gd name="connsiteY19" fmla="*/ 166688 h 180975"/>
              <a:gd name="connsiteX20" fmla="*/ 145256 w 190490"/>
              <a:gd name="connsiteY20" fmla="*/ 166688 h 180975"/>
              <a:gd name="connsiteX21" fmla="*/ 152472 w 190490"/>
              <a:gd name="connsiteY21" fmla="*/ 173758 h 180975"/>
              <a:gd name="connsiteX22" fmla="*/ 146228 w 190490"/>
              <a:gd name="connsiteY22" fmla="*/ 180918 h 180975"/>
              <a:gd name="connsiteX23" fmla="*/ 145256 w 190490"/>
              <a:gd name="connsiteY23" fmla="*/ 180975 h 180975"/>
              <a:gd name="connsiteX24" fmla="*/ 45244 w 190490"/>
              <a:gd name="connsiteY24" fmla="*/ 180975 h 180975"/>
              <a:gd name="connsiteX25" fmla="*/ 114281 w 190490"/>
              <a:gd name="connsiteY25" fmla="*/ 142894 h 180975"/>
              <a:gd name="connsiteX26" fmla="*/ 76181 w 190490"/>
              <a:gd name="connsiteY26" fmla="*/ 142894 h 180975"/>
              <a:gd name="connsiteX27" fmla="*/ 76190 w 190490"/>
              <a:gd name="connsiteY27" fmla="*/ 166688 h 180975"/>
              <a:gd name="connsiteX28" fmla="*/ 114290 w 190490"/>
              <a:gd name="connsiteY28" fmla="*/ 166688 h 180975"/>
              <a:gd name="connsiteX29" fmla="*/ 114281 w 190490"/>
              <a:gd name="connsiteY29" fmla="*/ 1428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0490" h="180975">
                <a:moveTo>
                  <a:pt x="45244" y="180975"/>
                </a:moveTo>
                <a:cubicBezTo>
                  <a:pt x="41298" y="180974"/>
                  <a:pt x="38101" y="177775"/>
                  <a:pt x="38102" y="173829"/>
                </a:cubicBezTo>
                <a:cubicBezTo>
                  <a:pt x="38103" y="170260"/>
                  <a:pt x="40737" y="167241"/>
                  <a:pt x="44272" y="166754"/>
                </a:cubicBezTo>
                <a:lnTo>
                  <a:pt x="45244" y="166688"/>
                </a:lnTo>
                <a:lnTo>
                  <a:pt x="61903" y="166688"/>
                </a:lnTo>
                <a:lnTo>
                  <a:pt x="61903" y="142894"/>
                </a:lnTo>
                <a:lnTo>
                  <a:pt x="21431" y="142894"/>
                </a:lnTo>
                <a:cubicBezTo>
                  <a:pt x="10163" y="142895"/>
                  <a:pt x="819" y="134171"/>
                  <a:pt x="48" y="122930"/>
                </a:cubicBezTo>
                <a:lnTo>
                  <a:pt x="0" y="121463"/>
                </a:lnTo>
                <a:lnTo>
                  <a:pt x="0" y="21431"/>
                </a:lnTo>
                <a:cubicBezTo>
                  <a:pt x="-1" y="10163"/>
                  <a:pt x="8723" y="819"/>
                  <a:pt x="19964" y="48"/>
                </a:cubicBezTo>
                <a:lnTo>
                  <a:pt x="21431" y="0"/>
                </a:lnTo>
                <a:lnTo>
                  <a:pt x="169059" y="0"/>
                </a:lnTo>
                <a:cubicBezTo>
                  <a:pt x="180327" y="-1"/>
                  <a:pt x="189671" y="8723"/>
                  <a:pt x="190443" y="19964"/>
                </a:cubicBezTo>
                <a:lnTo>
                  <a:pt x="190490" y="21431"/>
                </a:lnTo>
                <a:lnTo>
                  <a:pt x="190490" y="121463"/>
                </a:lnTo>
                <a:cubicBezTo>
                  <a:pt x="190491" y="132731"/>
                  <a:pt x="181767" y="142075"/>
                  <a:pt x="170526" y="142846"/>
                </a:cubicBezTo>
                <a:lnTo>
                  <a:pt x="169059" y="142894"/>
                </a:lnTo>
                <a:lnTo>
                  <a:pt x="128578" y="142894"/>
                </a:lnTo>
                <a:lnTo>
                  <a:pt x="128578" y="166688"/>
                </a:lnTo>
                <a:lnTo>
                  <a:pt x="145256" y="166688"/>
                </a:lnTo>
                <a:cubicBezTo>
                  <a:pt x="149202" y="166648"/>
                  <a:pt x="152432" y="169813"/>
                  <a:pt x="152472" y="173758"/>
                </a:cubicBezTo>
                <a:cubicBezTo>
                  <a:pt x="152510" y="177383"/>
                  <a:pt x="149824" y="180462"/>
                  <a:pt x="146228" y="180918"/>
                </a:cubicBezTo>
                <a:lnTo>
                  <a:pt x="145256" y="180975"/>
                </a:lnTo>
                <a:lnTo>
                  <a:pt x="45244" y="180975"/>
                </a:lnTo>
                <a:close/>
                <a:moveTo>
                  <a:pt x="114281" y="142894"/>
                </a:moveTo>
                <a:lnTo>
                  <a:pt x="76181" y="142894"/>
                </a:lnTo>
                <a:lnTo>
                  <a:pt x="76190" y="166688"/>
                </a:lnTo>
                <a:lnTo>
                  <a:pt x="114290" y="166688"/>
                </a:lnTo>
                <a:lnTo>
                  <a:pt x="114281" y="142894"/>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 name="Graphic 52">
            <a:extLst>
              <a:ext uri="{FF2B5EF4-FFF2-40B4-BE49-F238E27FC236}">
                <a16:creationId xmlns:a16="http://schemas.microsoft.com/office/drawing/2014/main" id="{DDE574D2-7A85-5ABB-AB97-4711FCACF805}"/>
              </a:ext>
              <a:ext uri="{C183D7F6-B498-43B3-948B-1728B52AA6E4}">
                <adec:decorative xmlns:adec="http://schemas.microsoft.com/office/drawing/2017/decorative" val="1"/>
              </a:ext>
            </a:extLst>
          </p:cNvPr>
          <p:cNvSpPr/>
          <p:nvPr/>
        </p:nvSpPr>
        <p:spPr>
          <a:xfrm>
            <a:off x="9506665" y="3606606"/>
            <a:ext cx="339804" cy="339996"/>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85" name="Straight Connector 84">
            <a:extLst>
              <a:ext uri="{FF2B5EF4-FFF2-40B4-BE49-F238E27FC236}">
                <a16:creationId xmlns:a16="http://schemas.microsoft.com/office/drawing/2014/main" id="{6B01C668-F317-2E8D-5595-98B9B8C70261}"/>
              </a:ext>
              <a:ext uri="{C183D7F6-B498-43B3-948B-1728B52AA6E4}">
                <adec:decorative xmlns:adec="http://schemas.microsoft.com/office/drawing/2017/decorative" val="1"/>
              </a:ext>
            </a:extLst>
          </p:cNvPr>
          <p:cNvCxnSpPr>
            <a:cxnSpLocks/>
          </p:cNvCxnSpPr>
          <p:nvPr/>
        </p:nvCxnSpPr>
        <p:spPr>
          <a:xfrm flipV="1">
            <a:off x="3645168" y="4009137"/>
            <a:ext cx="0" cy="871177"/>
          </a:xfrm>
          <a:prstGeom prst="line">
            <a:avLst/>
          </a:prstGeom>
          <a:ln w="6350">
            <a:solidFill>
              <a:srgbClr val="FF5C39"/>
            </a:solidFill>
            <a:prstDash val="lgDash"/>
            <a:headEnd type="oval" w="sm" len="sm"/>
            <a:tailEnd type="none" w="lg"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98B4CDD9-9B0D-CF91-9893-51A3EA2D75C4}"/>
              </a:ext>
            </a:extLst>
          </p:cNvPr>
          <p:cNvSpPr>
            <a:spLocks noGrp="1"/>
          </p:cNvSpPr>
          <p:nvPr>
            <p:ph type="title"/>
          </p:nvPr>
        </p:nvSpPr>
        <p:spPr>
          <a:xfrm>
            <a:off x="586740" y="457200"/>
            <a:ext cx="11018520" cy="492443"/>
          </a:xfrm>
        </p:spPr>
        <p:txBody>
          <a:bodyPr/>
          <a:lstStyle/>
          <a:p>
            <a:pPr algn="ctr"/>
            <a:r>
              <a:rPr lang="en-GB" sz="3200">
                <a:solidFill>
                  <a:schemeClr val="tx1"/>
                </a:solidFill>
                <a:cs typeface="Segoe UI"/>
              </a:rPr>
              <a:t>Spectrum of agents </a:t>
            </a:r>
            <a:endParaRPr lang="en-US" sz="3200">
              <a:solidFill>
                <a:schemeClr val="tx1"/>
              </a:solidFill>
              <a:cs typeface="Segoe UI"/>
            </a:endParaRPr>
          </a:p>
        </p:txBody>
      </p:sp>
      <p:sp>
        <p:nvSpPr>
          <p:cNvPr id="6" name="Slide Number Placeholder 5">
            <a:extLst>
              <a:ext uri="{FF2B5EF4-FFF2-40B4-BE49-F238E27FC236}">
                <a16:creationId xmlns:a16="http://schemas.microsoft.com/office/drawing/2014/main" id="{3E820629-9B2E-0204-B8B4-4E32F40968E8}"/>
              </a:ext>
              <a:ext uri="{C183D7F6-B498-43B3-948B-1728B52AA6E4}">
                <adec:decorative xmlns:adec="http://schemas.microsoft.com/office/drawing/2017/decorative" val="0"/>
              </a:ext>
            </a:extLst>
          </p:cNvPr>
          <p:cNvSpPr>
            <a:spLocks noGrp="1"/>
          </p:cNvSpPr>
          <p:nvPr>
            <p:ph type="sldNum" sz="quarter" idx="4"/>
          </p:nvPr>
        </p:nvSpPr>
        <p:spPr>
          <a:prstGeom prst="rect">
            <a:avLst/>
          </a:prstGeom>
        </p:spPr>
        <p:txBody>
          <a:bodyPr vert="horz" wrap="square" lIns="0" tIns="0" rIns="0" bIns="0" rtlCol="0" anchor="ctr">
            <a:spAutoFit/>
          </a:bodyPr>
          <a:lstStyle>
            <a:lvl1pPr algn="ctr">
              <a:defRPr sz="8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0151E6-08A3-4246-B91A-F3551DAD1FF4}" type="slidenum">
              <a:rPr kumimoji="0" lang="en-IN" sz="8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IN" sz="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descr="a timeline showing a spectrum ranging from Foundation to complex">
            <a:extLst>
              <a:ext uri="{FF2B5EF4-FFF2-40B4-BE49-F238E27FC236}">
                <a16:creationId xmlns:a16="http://schemas.microsoft.com/office/drawing/2014/main" id="{29BC989E-E5FE-2B84-3773-1B46F101385F}"/>
              </a:ext>
            </a:extLst>
          </p:cNvPr>
          <p:cNvSpPr/>
          <p:nvPr/>
        </p:nvSpPr>
        <p:spPr bwMode="auto">
          <a:xfrm>
            <a:off x="586740" y="1103086"/>
            <a:ext cx="229404" cy="1749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81A66CEF-2915-DC04-DA1A-636ADC04587D}"/>
              </a:ext>
            </a:extLst>
          </p:cNvPr>
          <p:cNvSpPr txBox="1">
            <a:spLocks/>
          </p:cNvSpPr>
          <p:nvPr/>
        </p:nvSpPr>
        <p:spPr>
          <a:xfrm>
            <a:off x="670508" y="3668883"/>
            <a:ext cx="1180193" cy="215444"/>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5C39"/>
                </a:solidFill>
                <a:effectLst/>
                <a:uLnTx/>
                <a:uFillTx/>
                <a:latin typeface="Segoe UI Semibold"/>
                <a:ea typeface="+mn-ea"/>
                <a:cs typeface="Segoe UI" pitchFamily="34" charset="0"/>
              </a:rPr>
              <a:t>Simple</a:t>
            </a:r>
          </a:p>
        </p:txBody>
      </p:sp>
      <p:sp>
        <p:nvSpPr>
          <p:cNvPr id="86" name="TextBox 85">
            <a:extLst>
              <a:ext uri="{FF2B5EF4-FFF2-40B4-BE49-F238E27FC236}">
                <a16:creationId xmlns:a16="http://schemas.microsoft.com/office/drawing/2014/main" id="{4F9077D3-533B-F28C-4408-58730A35EEE4}"/>
              </a:ext>
            </a:extLst>
          </p:cNvPr>
          <p:cNvSpPr txBox="1">
            <a:spLocks/>
          </p:cNvSpPr>
          <p:nvPr/>
        </p:nvSpPr>
        <p:spPr>
          <a:xfrm>
            <a:off x="698501" y="1393366"/>
            <a:ext cx="2261283" cy="215444"/>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5C39"/>
                </a:solidFill>
                <a:effectLst/>
                <a:uLnTx/>
                <a:uFillTx/>
                <a:latin typeface="Segoe UI Semibold"/>
                <a:ea typeface="+mn-ea"/>
                <a:cs typeface="Segoe UI"/>
              </a:rPr>
              <a:t>IT Helpdesk </a:t>
            </a:r>
            <a:endParaRPr kumimoji="0" lang="en-US" sz="1400" b="0" i="0" u="none" strike="noStrike" kern="1200" cap="none" spc="0" normalizeH="0" baseline="0" noProof="0">
              <a:ln w="3175">
                <a:noFill/>
              </a:ln>
              <a:solidFill>
                <a:srgbClr val="FF5C39"/>
              </a:solidFill>
              <a:effectLst/>
              <a:uLnTx/>
              <a:uFillTx/>
              <a:latin typeface="Segoe UI Semibold"/>
              <a:ea typeface="+mn-ea"/>
              <a:cs typeface="Segoe UI" pitchFamily="34" charset="0"/>
            </a:endParaRPr>
          </a:p>
        </p:txBody>
      </p:sp>
      <p:sp>
        <p:nvSpPr>
          <p:cNvPr id="87" name="TextBox 86">
            <a:extLst>
              <a:ext uri="{FF2B5EF4-FFF2-40B4-BE49-F238E27FC236}">
                <a16:creationId xmlns:a16="http://schemas.microsoft.com/office/drawing/2014/main" id="{A06B8223-F025-6898-8C90-5A8378BD64DB}"/>
              </a:ext>
            </a:extLst>
          </p:cNvPr>
          <p:cNvSpPr txBox="1">
            <a:spLocks/>
          </p:cNvSpPr>
          <p:nvPr/>
        </p:nvSpPr>
        <p:spPr>
          <a:xfrm>
            <a:off x="698500" y="1738335"/>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How do I connect to the corporate network?</a:t>
            </a:r>
          </a:p>
        </p:txBody>
      </p:sp>
      <p:sp>
        <p:nvSpPr>
          <p:cNvPr id="141" name="TextBox 140">
            <a:extLst>
              <a:ext uri="{FF2B5EF4-FFF2-40B4-BE49-F238E27FC236}">
                <a16:creationId xmlns:a16="http://schemas.microsoft.com/office/drawing/2014/main" id="{18551D9E-E797-8499-CEBC-DE4FA3917790}"/>
              </a:ext>
            </a:extLst>
          </p:cNvPr>
          <p:cNvSpPr txBox="1">
            <a:spLocks/>
          </p:cNvSpPr>
          <p:nvPr/>
        </p:nvSpPr>
        <p:spPr>
          <a:xfrm>
            <a:off x="2343737" y="4395452"/>
            <a:ext cx="1088559" cy="43088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5C39"/>
                </a:solidFill>
                <a:effectLst/>
                <a:uLnTx/>
                <a:uFillTx/>
                <a:latin typeface="Segoe UI Semibold"/>
                <a:ea typeface="+mn-ea"/>
                <a:cs typeface="Segoe UI"/>
              </a:rPr>
              <a:t>Project Tracker </a:t>
            </a:r>
          </a:p>
        </p:txBody>
      </p:sp>
      <p:sp>
        <p:nvSpPr>
          <p:cNvPr id="142" name="TextBox 141">
            <a:extLst>
              <a:ext uri="{FF2B5EF4-FFF2-40B4-BE49-F238E27FC236}">
                <a16:creationId xmlns:a16="http://schemas.microsoft.com/office/drawing/2014/main" id="{214A8063-5D64-B8B3-7C12-D074099EC221}"/>
              </a:ext>
            </a:extLst>
          </p:cNvPr>
          <p:cNvSpPr txBox="1">
            <a:spLocks/>
          </p:cNvSpPr>
          <p:nvPr/>
        </p:nvSpPr>
        <p:spPr>
          <a:xfrm>
            <a:off x="2343736" y="4955864"/>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What is the status of phase 2 for project X and the remaining budget?</a:t>
            </a:r>
          </a:p>
        </p:txBody>
      </p:sp>
      <p:sp>
        <p:nvSpPr>
          <p:cNvPr id="125" name="TextBox 124">
            <a:extLst>
              <a:ext uri="{FF2B5EF4-FFF2-40B4-BE49-F238E27FC236}">
                <a16:creationId xmlns:a16="http://schemas.microsoft.com/office/drawing/2014/main" id="{024DDDA1-2553-9F34-A739-DEB2F76DE7C8}"/>
              </a:ext>
            </a:extLst>
          </p:cNvPr>
          <p:cNvSpPr txBox="1">
            <a:spLocks/>
          </p:cNvSpPr>
          <p:nvPr/>
        </p:nvSpPr>
        <p:spPr>
          <a:xfrm>
            <a:off x="3988973" y="1393366"/>
            <a:ext cx="2261283" cy="215444"/>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C03BC4"/>
                </a:solidFill>
                <a:effectLst/>
                <a:uLnTx/>
                <a:uFillTx/>
                <a:latin typeface="Segoe UI Semibold"/>
                <a:ea typeface="+mn-ea"/>
                <a:cs typeface="Segoe UI"/>
              </a:rPr>
              <a:t>Device Refresh </a:t>
            </a:r>
            <a:endParaRPr kumimoji="0" lang="en-US" sz="1400" b="0" i="0" u="none" strike="noStrike" kern="1200" cap="none" spc="0" normalizeH="0" baseline="0" noProof="0">
              <a:ln w="3175">
                <a:noFill/>
              </a:ln>
              <a:solidFill>
                <a:srgbClr val="C03BC4"/>
              </a:solidFill>
              <a:effectLst/>
              <a:uLnTx/>
              <a:uFillTx/>
              <a:latin typeface="Segoe UI Semibold"/>
              <a:ea typeface="+mn-ea"/>
              <a:cs typeface="Segoe UI" pitchFamily="34" charset="0"/>
            </a:endParaRPr>
          </a:p>
        </p:txBody>
      </p:sp>
      <p:sp>
        <p:nvSpPr>
          <p:cNvPr id="126" name="TextBox 125">
            <a:extLst>
              <a:ext uri="{FF2B5EF4-FFF2-40B4-BE49-F238E27FC236}">
                <a16:creationId xmlns:a16="http://schemas.microsoft.com/office/drawing/2014/main" id="{41610E0B-04F4-8730-FE84-374FA3CD7A38}"/>
              </a:ext>
            </a:extLst>
          </p:cNvPr>
          <p:cNvSpPr txBox="1">
            <a:spLocks/>
          </p:cNvSpPr>
          <p:nvPr/>
        </p:nvSpPr>
        <p:spPr>
          <a:xfrm>
            <a:off x="3988972" y="1738335"/>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Request a new laptop and send approvals via IT Service tool.</a:t>
            </a:r>
          </a:p>
        </p:txBody>
      </p:sp>
      <p:sp>
        <p:nvSpPr>
          <p:cNvPr id="169" name="TextBox 168">
            <a:extLst>
              <a:ext uri="{FF2B5EF4-FFF2-40B4-BE49-F238E27FC236}">
                <a16:creationId xmlns:a16="http://schemas.microsoft.com/office/drawing/2014/main" id="{FFE089E5-A229-6849-5ED5-393C2478EBCE}"/>
              </a:ext>
            </a:extLst>
          </p:cNvPr>
          <p:cNvSpPr txBox="1">
            <a:spLocks/>
          </p:cNvSpPr>
          <p:nvPr/>
        </p:nvSpPr>
        <p:spPr>
          <a:xfrm>
            <a:off x="5634211" y="4395452"/>
            <a:ext cx="1069385" cy="43088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C03BC4"/>
                </a:solidFill>
                <a:effectLst/>
                <a:uLnTx/>
                <a:uFillTx/>
                <a:latin typeface="Segoe UI Semibold"/>
                <a:ea typeface="+mn-ea"/>
                <a:cs typeface="Segoe UI"/>
              </a:rPr>
              <a:t>Expense Report </a:t>
            </a:r>
          </a:p>
        </p:txBody>
      </p:sp>
      <p:sp>
        <p:nvSpPr>
          <p:cNvPr id="170" name="TextBox 169">
            <a:extLst>
              <a:ext uri="{FF2B5EF4-FFF2-40B4-BE49-F238E27FC236}">
                <a16:creationId xmlns:a16="http://schemas.microsoft.com/office/drawing/2014/main" id="{1B4DE2CD-3963-0E60-F178-266C55BD3327}"/>
              </a:ext>
            </a:extLst>
          </p:cNvPr>
          <p:cNvSpPr txBox="1">
            <a:spLocks/>
          </p:cNvSpPr>
          <p:nvPr/>
        </p:nvSpPr>
        <p:spPr>
          <a:xfrm>
            <a:off x="5634209" y="4955864"/>
            <a:ext cx="2602864" cy="369332"/>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Review outstanding open purchase orders and begin financial planning.</a:t>
            </a:r>
          </a:p>
        </p:txBody>
      </p:sp>
      <p:sp>
        <p:nvSpPr>
          <p:cNvPr id="133" name="TextBox 132">
            <a:extLst>
              <a:ext uri="{FF2B5EF4-FFF2-40B4-BE49-F238E27FC236}">
                <a16:creationId xmlns:a16="http://schemas.microsoft.com/office/drawing/2014/main" id="{6B6A52FE-96E7-BC6F-C3D7-B648E92E2428}"/>
              </a:ext>
            </a:extLst>
          </p:cNvPr>
          <p:cNvSpPr txBox="1">
            <a:spLocks/>
          </p:cNvSpPr>
          <p:nvPr/>
        </p:nvSpPr>
        <p:spPr>
          <a:xfrm>
            <a:off x="7279445" y="1393366"/>
            <a:ext cx="2261283" cy="215444"/>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78D4"/>
                </a:solidFill>
                <a:effectLst/>
                <a:uLnTx/>
                <a:uFillTx/>
                <a:latin typeface="Segoe UI Semibold"/>
                <a:ea typeface="+mn-ea"/>
                <a:cs typeface="Segoe UI"/>
              </a:rPr>
              <a:t>Lead Gen </a:t>
            </a:r>
            <a:endParaRPr kumimoji="0" lang="en-US" sz="1400" b="0" i="0" u="none" strike="noStrike" kern="1200" cap="none" spc="0" normalizeH="0" baseline="0" noProof="0">
              <a:ln w="3175">
                <a:noFill/>
              </a:ln>
              <a:solidFill>
                <a:srgbClr val="0078D4"/>
              </a:solidFill>
              <a:effectLst/>
              <a:uLnTx/>
              <a:uFillTx/>
              <a:latin typeface="Segoe UI Semibold"/>
              <a:ea typeface="+mn-ea"/>
              <a:cs typeface="Segoe UI" pitchFamily="34" charset="0"/>
            </a:endParaRPr>
          </a:p>
        </p:txBody>
      </p:sp>
      <p:sp>
        <p:nvSpPr>
          <p:cNvPr id="134" name="TextBox 133">
            <a:extLst>
              <a:ext uri="{FF2B5EF4-FFF2-40B4-BE49-F238E27FC236}">
                <a16:creationId xmlns:a16="http://schemas.microsoft.com/office/drawing/2014/main" id="{53B820E6-F45F-A762-A8DC-523C45DD7726}"/>
              </a:ext>
            </a:extLst>
          </p:cNvPr>
          <p:cNvSpPr txBox="1">
            <a:spLocks/>
          </p:cNvSpPr>
          <p:nvPr/>
        </p:nvSpPr>
        <p:spPr>
          <a:xfrm>
            <a:off x="7279444" y="1738335"/>
            <a:ext cx="2261284" cy="553998"/>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The agent has identified and researched 15 new leads for you to review.</a:t>
            </a:r>
          </a:p>
        </p:txBody>
      </p:sp>
      <p:sp>
        <p:nvSpPr>
          <p:cNvPr id="177" name="TextBox 176">
            <a:extLst>
              <a:ext uri="{FF2B5EF4-FFF2-40B4-BE49-F238E27FC236}">
                <a16:creationId xmlns:a16="http://schemas.microsoft.com/office/drawing/2014/main" id="{6A117550-7324-E202-EF0A-13D2CB38335D}"/>
              </a:ext>
            </a:extLst>
          </p:cNvPr>
          <p:cNvSpPr txBox="1">
            <a:spLocks/>
          </p:cNvSpPr>
          <p:nvPr/>
        </p:nvSpPr>
        <p:spPr>
          <a:xfrm>
            <a:off x="8924682" y="4395452"/>
            <a:ext cx="1166226" cy="430887"/>
          </a:xfrm>
          <a:prstGeom prst="rect">
            <a:avLst/>
          </a:prstGeom>
        </p:spPr>
        <p:txBody>
          <a:bodyPr vert="horz" wrap="square" lIns="0" tIns="0" rIns="0" bIns="0" rtlCol="0" anchor="b">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0078D4"/>
                </a:solidFill>
                <a:effectLst/>
                <a:uLnTx/>
                <a:uFillTx/>
                <a:latin typeface="Segoe UI Semibold"/>
                <a:ea typeface="+mn-ea"/>
                <a:cs typeface="Segoe UI"/>
              </a:rPr>
              <a:t>Customer Support </a:t>
            </a:r>
          </a:p>
        </p:txBody>
      </p:sp>
      <p:sp>
        <p:nvSpPr>
          <p:cNvPr id="178" name="TextBox 177">
            <a:extLst>
              <a:ext uri="{FF2B5EF4-FFF2-40B4-BE49-F238E27FC236}">
                <a16:creationId xmlns:a16="http://schemas.microsoft.com/office/drawing/2014/main" id="{7D16E9A7-4E14-CEEB-0903-ED3B03295ADD}"/>
              </a:ext>
            </a:extLst>
          </p:cNvPr>
          <p:cNvSpPr txBox="1">
            <a:spLocks/>
          </p:cNvSpPr>
          <p:nvPr/>
        </p:nvSpPr>
        <p:spPr>
          <a:xfrm>
            <a:off x="8924680" y="4955864"/>
            <a:ext cx="2371235" cy="553998"/>
          </a:xfrm>
          <a:prstGeom prst="rect">
            <a:avLst/>
          </a:prstGeom>
        </p:spPr>
        <p:txBody>
          <a:bodyPr vert="horz" wrap="square" lIns="0" tIns="0" rIns="0" bIns="0" rtlCol="0" anchor="t">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pitchFamily="34" charset="0"/>
              </a:rPr>
              <a:t>The agent identified new support issues and triaged to multi-agents to handle.</a:t>
            </a:r>
          </a:p>
        </p:txBody>
      </p:sp>
      <p:sp>
        <p:nvSpPr>
          <p:cNvPr id="61" name="TextBox 60">
            <a:extLst>
              <a:ext uri="{FF2B5EF4-FFF2-40B4-BE49-F238E27FC236}">
                <a16:creationId xmlns:a16="http://schemas.microsoft.com/office/drawing/2014/main" id="{30F119DE-2893-B752-96ED-8AA211ADF4B0}"/>
              </a:ext>
            </a:extLst>
          </p:cNvPr>
          <p:cNvSpPr txBox="1">
            <a:spLocks/>
          </p:cNvSpPr>
          <p:nvPr/>
        </p:nvSpPr>
        <p:spPr>
          <a:xfrm>
            <a:off x="10531426" y="3668883"/>
            <a:ext cx="990066" cy="215444"/>
          </a:xfrm>
          <a:prstGeom prst="rect">
            <a:avLst/>
          </a:prstGeom>
        </p:spPr>
        <p:txBody>
          <a:bodyPr vert="horz" wrap="square" lIns="0" tIns="0" rIns="0" bIns="0" rtlCol="0" anchor="ctr">
            <a:spAutoFit/>
          </a:bodyPr>
          <a:lstStyle>
            <a:defPPr>
              <a:defRPr lang="en-US"/>
            </a:defPPr>
            <a:lvl1pPr defTabSz="932742">
              <a:lnSpc>
                <a:spcPct val="100000"/>
              </a:lnSpc>
              <a:spcBef>
                <a:spcPct val="0"/>
              </a:spcBef>
              <a:buNone/>
              <a:defRPr sz="2000" b="0" cap="none" spc="-50" baseline="0">
                <a:ln w="3175">
                  <a:noFill/>
                </a:ln>
                <a:effectLst/>
                <a:latin typeface="+mj-lt"/>
                <a:cs typeface="Segoe UI" pitchFamily="34" charset="0"/>
              </a:defRPr>
            </a:lvl1pPr>
          </a:lstStyle>
          <a:p>
            <a:pPr marL="0" marR="0" lvl="0" indent="0" algn="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14938C"/>
                </a:solidFill>
                <a:effectLst/>
                <a:uLnTx/>
                <a:uFillTx/>
                <a:latin typeface="Segoe UI Semibold"/>
                <a:ea typeface="+mn-ea"/>
                <a:cs typeface="Segoe UI" pitchFamily="34" charset="0"/>
              </a:rPr>
              <a:t>Advanced</a:t>
            </a:r>
          </a:p>
        </p:txBody>
      </p:sp>
    </p:spTree>
    <p:custDataLst>
      <p:tags r:id="rId1"/>
    </p:custDataLst>
    <p:extLst>
      <p:ext uri="{BB962C8B-B14F-4D97-AF65-F5344CB8AC3E}">
        <p14:creationId xmlns:p14="http://schemas.microsoft.com/office/powerpoint/2010/main" val="17033569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DDE3DE-F267-E345-29DF-745C81C189BD}"/>
              </a:ext>
            </a:extLst>
          </p:cNvPr>
          <p:cNvSpPr>
            <a:spLocks noGrp="1"/>
          </p:cNvSpPr>
          <p:nvPr>
            <p:ph type="title"/>
          </p:nvPr>
        </p:nvSpPr>
        <p:spPr>
          <a:xfrm>
            <a:off x="586740" y="457200"/>
            <a:ext cx="11233958" cy="492443"/>
          </a:xfrm>
        </p:spPr>
        <p:txBody>
          <a:bodyPr/>
          <a:lstStyle/>
          <a:p>
            <a:pPr algn="ctr"/>
            <a:r>
              <a:rPr lang="en-US" sz="3200">
                <a:solidFill>
                  <a:schemeClr val="tx1"/>
                </a:solidFill>
                <a:cs typeface="Segoe UI"/>
              </a:rPr>
              <a:t>Optimize and reinvent your business processes with agents</a:t>
            </a:r>
          </a:p>
        </p:txBody>
      </p:sp>
      <p:pic>
        <p:nvPicPr>
          <p:cNvPr id="3" name="Picture 2">
            <a:extLst>
              <a:ext uri="{FF2B5EF4-FFF2-40B4-BE49-F238E27FC236}">
                <a16:creationId xmlns:a16="http://schemas.microsoft.com/office/drawing/2014/main" id="{5845CD09-5C15-E89F-F917-FAF44B7E0393}"/>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4" y="1787756"/>
            <a:ext cx="11017254" cy="4250116"/>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8" name="Rectangle: Top Corners Rounded 7">
            <a:extLst>
              <a:ext uri="{FF2B5EF4-FFF2-40B4-BE49-F238E27FC236}">
                <a16:creationId xmlns:a16="http://schemas.microsoft.com/office/drawing/2014/main" id="{D7554E0B-B780-E9CC-93F2-756123ABC709}"/>
              </a:ext>
              <a:ext uri="{C183D7F6-B498-43B3-948B-1728B52AA6E4}">
                <adec:decorative xmlns:adec="http://schemas.microsoft.com/office/drawing/2017/decorative" val="1"/>
              </a:ext>
            </a:extLst>
          </p:cNvPr>
          <p:cNvSpPr>
            <a:spLocks/>
          </p:cNvSpPr>
          <p:nvPr/>
        </p:nvSpPr>
        <p:spPr bwMode="auto">
          <a:xfrm>
            <a:off x="586740" y="5527303"/>
            <a:ext cx="11017254" cy="518519"/>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5" name="TextBox 4">
            <a:extLst>
              <a:ext uri="{FF2B5EF4-FFF2-40B4-BE49-F238E27FC236}">
                <a16:creationId xmlns:a16="http://schemas.microsoft.com/office/drawing/2014/main" id="{AD4B6678-C484-4A4F-629E-180E5B0688EC}"/>
              </a:ext>
              <a:ext uri="{C183D7F6-B498-43B3-948B-1728B52AA6E4}">
                <adec:decorative xmlns:adec="http://schemas.microsoft.com/office/drawing/2017/decorative" val="1"/>
              </a:ext>
            </a:extLst>
          </p:cNvPr>
          <p:cNvSpPr txBox="1">
            <a:spLocks/>
          </p:cNvSpPr>
          <p:nvPr/>
        </p:nvSpPr>
        <p:spPr>
          <a:xfrm>
            <a:off x="838683" y="1957754"/>
            <a:ext cx="3448992" cy="3828809"/>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6" name="TextBox 5">
            <a:extLst>
              <a:ext uri="{FF2B5EF4-FFF2-40B4-BE49-F238E27FC236}">
                <a16:creationId xmlns:a16="http://schemas.microsoft.com/office/drawing/2014/main" id="{E1A4493B-3444-9523-B4BF-ECF29BD7748E}"/>
              </a:ext>
              <a:ext uri="{C183D7F6-B498-43B3-948B-1728B52AA6E4}">
                <adec:decorative xmlns:adec="http://schemas.microsoft.com/office/drawing/2017/decorative" val="1"/>
              </a:ext>
            </a:extLst>
          </p:cNvPr>
          <p:cNvSpPr txBox="1">
            <a:spLocks/>
          </p:cNvSpPr>
          <p:nvPr/>
        </p:nvSpPr>
        <p:spPr>
          <a:xfrm>
            <a:off x="4371503" y="1957754"/>
            <a:ext cx="3448992" cy="3828809"/>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7" name="TextBox 6">
            <a:extLst>
              <a:ext uri="{FF2B5EF4-FFF2-40B4-BE49-F238E27FC236}">
                <a16:creationId xmlns:a16="http://schemas.microsoft.com/office/drawing/2014/main" id="{299193B9-93C6-3C40-1D0A-D09C1B6104D8}"/>
              </a:ext>
              <a:ext uri="{C183D7F6-B498-43B3-948B-1728B52AA6E4}">
                <adec:decorative xmlns:adec="http://schemas.microsoft.com/office/drawing/2017/decorative" val="1"/>
              </a:ext>
            </a:extLst>
          </p:cNvPr>
          <p:cNvSpPr txBox="1">
            <a:spLocks/>
          </p:cNvSpPr>
          <p:nvPr/>
        </p:nvSpPr>
        <p:spPr>
          <a:xfrm>
            <a:off x="7904325" y="1957755"/>
            <a:ext cx="3448992" cy="3828809"/>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742" fontAlgn="base">
              <a:lnSpc>
                <a:spcPct val="100000"/>
              </a:lnSpc>
              <a:spcBef>
                <a:spcPct val="0"/>
              </a:spcBef>
              <a:spcAft>
                <a:spcPct val="0"/>
              </a:spcAft>
              <a:buClrTx/>
              <a:buSzTx/>
              <a:buFontTx/>
              <a:buNone/>
              <a:tabLst/>
              <a:defRPr kumimoji="0" sz="2000" b="0" i="0" u="none" strike="noStrike" cap="none" spc="-50" normalizeH="0" baseline="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mj-lt"/>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9" name="Freeform: Shape 33">
            <a:extLst>
              <a:ext uri="{FF2B5EF4-FFF2-40B4-BE49-F238E27FC236}">
                <a16:creationId xmlns:a16="http://schemas.microsoft.com/office/drawing/2014/main" id="{50E0EA54-C63A-692F-34E6-C1476E3DBF30}"/>
              </a:ext>
              <a:ext uri="{C183D7F6-B498-43B3-948B-1728B52AA6E4}">
                <adec:decorative xmlns:adec="http://schemas.microsoft.com/office/drawing/2017/decorative" val="1"/>
              </a:ext>
            </a:extLst>
          </p:cNvPr>
          <p:cNvSpPr>
            <a:spLocks/>
          </p:cNvSpPr>
          <p:nvPr/>
        </p:nvSpPr>
        <p:spPr bwMode="auto">
          <a:xfrm>
            <a:off x="2118626" y="152918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Freeform: Shape 33">
            <a:extLst>
              <a:ext uri="{FF2B5EF4-FFF2-40B4-BE49-F238E27FC236}">
                <a16:creationId xmlns:a16="http://schemas.microsoft.com/office/drawing/2014/main" id="{079C3BD0-D594-BD98-AAEC-AC6EAC9AC096}"/>
              </a:ext>
              <a:ext uri="{C183D7F6-B498-43B3-948B-1728B52AA6E4}">
                <adec:decorative xmlns:adec="http://schemas.microsoft.com/office/drawing/2017/decorative" val="1"/>
              </a:ext>
            </a:extLst>
          </p:cNvPr>
          <p:cNvSpPr>
            <a:spLocks/>
          </p:cNvSpPr>
          <p:nvPr/>
        </p:nvSpPr>
        <p:spPr bwMode="auto">
          <a:xfrm>
            <a:off x="9216234" y="152918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 name="Graphic 52">
            <a:extLst>
              <a:ext uri="{FF2B5EF4-FFF2-40B4-BE49-F238E27FC236}">
                <a16:creationId xmlns:a16="http://schemas.microsoft.com/office/drawing/2014/main" id="{214F4E72-5F24-0583-BCAD-8EE9AACED270}"/>
              </a:ext>
              <a:ext uri="{C183D7F6-B498-43B3-948B-1728B52AA6E4}">
                <adec:decorative xmlns:adec="http://schemas.microsoft.com/office/drawing/2017/decorative" val="1"/>
              </a:ext>
            </a:extLst>
          </p:cNvPr>
          <p:cNvSpPr/>
          <p:nvPr/>
        </p:nvSpPr>
        <p:spPr>
          <a:xfrm>
            <a:off x="2377294" y="1799546"/>
            <a:ext cx="339804" cy="339996"/>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5" name="TextBox 14">
            <a:extLst>
              <a:ext uri="{FF2B5EF4-FFF2-40B4-BE49-F238E27FC236}">
                <a16:creationId xmlns:a16="http://schemas.microsoft.com/office/drawing/2014/main" id="{34D991D4-D005-E143-4654-4EA687009561}"/>
              </a:ext>
            </a:extLst>
          </p:cNvPr>
          <p:cNvSpPr txBox="1">
            <a:spLocks/>
          </p:cNvSpPr>
          <p:nvPr/>
        </p:nvSpPr>
        <p:spPr>
          <a:xfrm>
            <a:off x="1244860" y="2442645"/>
            <a:ext cx="2493790" cy="55399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Transform complex and dynamic processes</a:t>
            </a:r>
          </a:p>
        </p:txBody>
      </p:sp>
      <p:sp>
        <p:nvSpPr>
          <p:cNvPr id="16" name="TextBox 15">
            <a:extLst>
              <a:ext uri="{FF2B5EF4-FFF2-40B4-BE49-F238E27FC236}">
                <a16:creationId xmlns:a16="http://schemas.microsoft.com/office/drawing/2014/main" id="{FADF17F8-539F-5B92-0FB5-EC838D745DFC}"/>
              </a:ext>
            </a:extLst>
          </p:cNvPr>
          <p:cNvSpPr txBox="1">
            <a:spLocks/>
          </p:cNvSpPr>
          <p:nvPr/>
        </p:nvSpPr>
        <p:spPr>
          <a:xfrm>
            <a:off x="4575303" y="2453078"/>
            <a:ext cx="2971390" cy="55399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Reimagine possibilities with multi-agent collaboration</a:t>
            </a:r>
          </a:p>
        </p:txBody>
      </p:sp>
      <p:sp>
        <p:nvSpPr>
          <p:cNvPr id="17" name="TextBox 16">
            <a:extLst>
              <a:ext uri="{FF2B5EF4-FFF2-40B4-BE49-F238E27FC236}">
                <a16:creationId xmlns:a16="http://schemas.microsoft.com/office/drawing/2014/main" id="{06AEC8A7-B4D3-26EB-6DD8-C7EA6F7DE1D7}"/>
              </a:ext>
            </a:extLst>
          </p:cNvPr>
          <p:cNvSpPr txBox="1">
            <a:spLocks/>
          </p:cNvSpPr>
          <p:nvPr/>
        </p:nvSpPr>
        <p:spPr>
          <a:xfrm>
            <a:off x="7904325" y="2442645"/>
            <a:ext cx="3448992" cy="55399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UI Semibold"/>
                <a:ea typeface="+mn-ea"/>
                <a:cs typeface="Segoe Sans Display Semibold" pitchFamily="2" charset="0"/>
              </a:rPr>
              <a:t>Enable every employee to augment their jobs with agents</a:t>
            </a:r>
          </a:p>
        </p:txBody>
      </p:sp>
      <p:sp>
        <p:nvSpPr>
          <p:cNvPr id="18" name="Rectangle 17">
            <a:extLst>
              <a:ext uri="{FF2B5EF4-FFF2-40B4-BE49-F238E27FC236}">
                <a16:creationId xmlns:a16="http://schemas.microsoft.com/office/drawing/2014/main" id="{6416AF05-9CDB-5A97-B4A9-1761CACD0770}"/>
              </a:ext>
            </a:extLst>
          </p:cNvPr>
          <p:cNvSpPr/>
          <p:nvPr/>
        </p:nvSpPr>
        <p:spPr bwMode="auto">
          <a:xfrm>
            <a:off x="960582" y="3523194"/>
            <a:ext cx="3253170" cy="1325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lang="en-US" sz="1600">
                <a:solidFill>
                  <a:srgbClr val="333333"/>
                </a:solidFill>
                <a:latin typeface="McKinsey Sans"/>
              </a:rPr>
              <a:t>Agents</a:t>
            </a:r>
            <a:r>
              <a:rPr kumimoji="0" lang="en-US" sz="1600" b="0" i="0" u="none" strike="noStrike" kern="1200" cap="none" spc="0" normalizeH="0" baseline="0" noProof="0">
                <a:ln>
                  <a:noFill/>
                </a:ln>
                <a:solidFill>
                  <a:srgbClr val="333333"/>
                </a:solidFill>
                <a:effectLst/>
                <a:uLnTx/>
                <a:uFillTx/>
                <a:latin typeface="McKinsey Sans"/>
                <a:ea typeface="+mn-ea"/>
                <a:cs typeface="+mn-cs"/>
              </a:rPr>
              <a:t> can </a:t>
            </a:r>
            <a:r>
              <a:rPr kumimoji="0" lang="en-US" sz="1600" b="1" i="0" u="none" strike="noStrike" kern="1200" cap="none" spc="0" normalizeH="0" baseline="0" noProof="0">
                <a:ln>
                  <a:noFill/>
                </a:ln>
                <a:solidFill>
                  <a:srgbClr val="333333"/>
                </a:solidFill>
                <a:effectLst/>
                <a:uLnTx/>
                <a:uFillTx/>
                <a:latin typeface="McKinsey Sans"/>
                <a:ea typeface="+mn-ea"/>
                <a:cs typeface="+mn-cs"/>
              </a:rPr>
              <a:t>handle highly variable situations in real time</a:t>
            </a:r>
            <a:r>
              <a:rPr kumimoji="0" lang="en-US" sz="1600" b="0" i="0" u="none" strike="noStrike" kern="1200" cap="none" spc="0" normalizeH="0" baseline="0" noProof="0">
                <a:ln>
                  <a:noFill/>
                </a:ln>
                <a:solidFill>
                  <a:srgbClr val="333333"/>
                </a:solidFill>
                <a:effectLst/>
                <a:uLnTx/>
                <a:uFillTx/>
                <a:latin typeface="McKinsey Sans"/>
                <a:ea typeface="+mn-ea"/>
                <a:cs typeface="+mn-cs"/>
              </a:rPr>
              <a:t>, using judgment to plan their steps and perform specialized tasks required to complete the job.</a:t>
            </a:r>
            <a:endParaRPr kumimoji="0" lang="en-US" sz="16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endParaRPr>
          </a:p>
        </p:txBody>
      </p:sp>
      <p:sp>
        <p:nvSpPr>
          <p:cNvPr id="19" name="Rectangle 18">
            <a:extLst>
              <a:ext uri="{FF2B5EF4-FFF2-40B4-BE49-F238E27FC236}">
                <a16:creationId xmlns:a16="http://schemas.microsoft.com/office/drawing/2014/main" id="{78C7D73C-0C93-FE08-9D39-7E683DCB7C08}"/>
              </a:ext>
            </a:extLst>
          </p:cNvPr>
          <p:cNvSpPr/>
          <p:nvPr/>
        </p:nvSpPr>
        <p:spPr bwMode="auto">
          <a:xfrm>
            <a:off x="4458798" y="3523194"/>
            <a:ext cx="3361698" cy="1325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33333"/>
                </a:solidFill>
                <a:effectLst/>
                <a:uLnTx/>
                <a:uFillTx/>
                <a:latin typeface="McKinsey Sans"/>
                <a:ea typeface="+mn-ea"/>
                <a:cs typeface="+mn-cs"/>
              </a:rPr>
              <a:t>Agents can collaborate with multiple users and other agents to accomplish tasks that </a:t>
            </a:r>
            <a:r>
              <a:rPr kumimoji="0" lang="en-US" sz="1600" b="1" i="0" u="none" strike="noStrike" kern="1200" cap="none" spc="0" normalizeH="0" baseline="0" noProof="0">
                <a:ln>
                  <a:noFill/>
                </a:ln>
                <a:solidFill>
                  <a:srgbClr val="333333"/>
                </a:solidFill>
                <a:effectLst/>
                <a:uLnTx/>
                <a:uFillTx/>
                <a:latin typeface="McKinsey Sans"/>
                <a:ea typeface="+mn-ea"/>
                <a:cs typeface="+mn-cs"/>
              </a:rPr>
              <a:t>span disconnected systems, long time horizons, and organizational boundaries</a:t>
            </a:r>
            <a:r>
              <a:rPr kumimoji="0" lang="en-US" sz="1600" b="0" i="0" u="none" strike="noStrike" kern="1200" cap="none" spc="0" normalizeH="0" baseline="0" noProof="0">
                <a:ln>
                  <a:noFill/>
                </a:ln>
                <a:solidFill>
                  <a:srgbClr val="333333"/>
                </a:solidFill>
                <a:effectLst/>
                <a:uLnTx/>
                <a:uFillTx/>
                <a:latin typeface="McKinsey Sans"/>
                <a:ea typeface="+mn-ea"/>
                <a:cs typeface="+mn-cs"/>
              </a:rPr>
              <a:t>.</a:t>
            </a:r>
          </a:p>
        </p:txBody>
      </p:sp>
      <p:sp>
        <p:nvSpPr>
          <p:cNvPr id="20" name="Rectangle 19">
            <a:extLst>
              <a:ext uri="{FF2B5EF4-FFF2-40B4-BE49-F238E27FC236}">
                <a16:creationId xmlns:a16="http://schemas.microsoft.com/office/drawing/2014/main" id="{DA2B8AC0-732A-D75D-E457-B2A1F4616CC3}"/>
              </a:ext>
            </a:extLst>
          </p:cNvPr>
          <p:cNvSpPr/>
          <p:nvPr/>
        </p:nvSpPr>
        <p:spPr bwMode="auto">
          <a:xfrm>
            <a:off x="7970982" y="3523194"/>
            <a:ext cx="3166876" cy="107907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33333"/>
                </a:solidFill>
                <a:effectLst/>
                <a:uLnTx/>
                <a:uFillTx/>
                <a:latin typeface="McKinsey Sans"/>
                <a:ea typeface="+mn-ea"/>
                <a:cs typeface="+mn-cs"/>
              </a:rPr>
              <a:t>Using natural language, any employee can be </a:t>
            </a:r>
            <a:r>
              <a:rPr kumimoji="0" lang="en-US" sz="1600" b="1" i="0" u="none" strike="noStrike" kern="1200" cap="none" spc="0" normalizeH="0" baseline="0" noProof="0">
                <a:ln>
                  <a:noFill/>
                </a:ln>
                <a:solidFill>
                  <a:srgbClr val="333333"/>
                </a:solidFill>
                <a:effectLst/>
                <a:uLnTx/>
                <a:uFillTx/>
                <a:latin typeface="McKinsey Sans"/>
                <a:ea typeface="+mn-ea"/>
                <a:cs typeface="+mn-cs"/>
              </a:rPr>
              <a:t>empowered to design and operate custom tailored agents </a:t>
            </a:r>
            <a:r>
              <a:rPr kumimoji="0" lang="en-US" sz="1600" b="0" i="0" u="none" strike="noStrike" kern="1200" cap="none" spc="0" normalizeH="0" baseline="0" noProof="0">
                <a:ln>
                  <a:noFill/>
                </a:ln>
                <a:solidFill>
                  <a:srgbClr val="333333"/>
                </a:solidFill>
                <a:effectLst/>
                <a:uLnTx/>
                <a:uFillTx/>
                <a:latin typeface="McKinsey Sans"/>
                <a:ea typeface="+mn-ea"/>
                <a:cs typeface="+mn-cs"/>
              </a:rPr>
              <a:t>for their workflows.</a:t>
            </a:r>
          </a:p>
        </p:txBody>
      </p:sp>
      <p:sp>
        <p:nvSpPr>
          <p:cNvPr id="30" name="Rectangle: Top Corners Rounded 29">
            <a:extLst>
              <a:ext uri="{FF2B5EF4-FFF2-40B4-BE49-F238E27FC236}">
                <a16:creationId xmlns:a16="http://schemas.microsoft.com/office/drawing/2014/main" id="{55536518-F7BF-13C6-52AD-C80D9E432E93}"/>
              </a:ext>
              <a:ext uri="{C183D7F6-B498-43B3-948B-1728B52AA6E4}">
                <adec:decorative xmlns:adec="http://schemas.microsoft.com/office/drawing/2017/decorative" val="1"/>
              </a:ext>
            </a:extLst>
          </p:cNvPr>
          <p:cNvSpPr/>
          <p:nvPr/>
        </p:nvSpPr>
        <p:spPr bwMode="auto">
          <a:xfrm>
            <a:off x="2214715" y="3145947"/>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Rectangle: Top Corners Rounded 30">
            <a:extLst>
              <a:ext uri="{FF2B5EF4-FFF2-40B4-BE49-F238E27FC236}">
                <a16:creationId xmlns:a16="http://schemas.microsoft.com/office/drawing/2014/main" id="{29E8B8B1-3A26-8EE4-7F25-D3A58F8A36B0}"/>
              </a:ext>
              <a:ext uri="{C183D7F6-B498-43B3-948B-1728B52AA6E4}">
                <adec:decorative xmlns:adec="http://schemas.microsoft.com/office/drawing/2017/decorative" val="1"/>
              </a:ext>
            </a:extLst>
          </p:cNvPr>
          <p:cNvSpPr/>
          <p:nvPr/>
        </p:nvSpPr>
        <p:spPr bwMode="auto">
          <a:xfrm>
            <a:off x="5747535" y="3145947"/>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Top Corners Rounded 31">
            <a:extLst>
              <a:ext uri="{FF2B5EF4-FFF2-40B4-BE49-F238E27FC236}">
                <a16:creationId xmlns:a16="http://schemas.microsoft.com/office/drawing/2014/main" id="{3F458BCC-50E7-3F40-9114-1F6792018B12}"/>
              </a:ext>
              <a:ext uri="{C183D7F6-B498-43B3-948B-1728B52AA6E4}">
                <adec:decorative xmlns:adec="http://schemas.microsoft.com/office/drawing/2017/decorative" val="1"/>
              </a:ext>
            </a:extLst>
          </p:cNvPr>
          <p:cNvSpPr>
            <a:spLocks/>
          </p:cNvSpPr>
          <p:nvPr/>
        </p:nvSpPr>
        <p:spPr bwMode="auto">
          <a:xfrm>
            <a:off x="9280357" y="3145947"/>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Graphic 62">
            <a:extLst>
              <a:ext uri="{FF2B5EF4-FFF2-40B4-BE49-F238E27FC236}">
                <a16:creationId xmlns:a16="http://schemas.microsoft.com/office/drawing/2014/main" id="{D07C64D7-35FF-03FC-4EB3-B77AE4DE50D8}"/>
              </a:ext>
              <a:ext uri="{C183D7F6-B498-43B3-948B-1728B52AA6E4}">
                <adec:decorative xmlns:adec="http://schemas.microsoft.com/office/drawing/2017/decorative" val="1"/>
              </a:ext>
            </a:extLst>
          </p:cNvPr>
          <p:cNvSpPr/>
          <p:nvPr/>
        </p:nvSpPr>
        <p:spPr>
          <a:xfrm>
            <a:off x="9510691" y="1812760"/>
            <a:ext cx="268225" cy="326782"/>
          </a:xfrm>
          <a:custGeom>
            <a:avLst/>
            <a:gdLst>
              <a:gd name="connsiteX0" fmla="*/ 130978 w 152409"/>
              <a:gd name="connsiteY0" fmla="*/ 114262 h 190461"/>
              <a:gd name="connsiteX1" fmla="*/ 152410 w 152409"/>
              <a:gd name="connsiteY1" fmla="*/ 135674 h 190461"/>
              <a:gd name="connsiteX2" fmla="*/ 152410 w 152409"/>
              <a:gd name="connsiteY2" fmla="*/ 135684 h 190461"/>
              <a:gd name="connsiteX3" fmla="*/ 152410 w 152409"/>
              <a:gd name="connsiteY3" fmla="*/ 144428 h 190461"/>
              <a:gd name="connsiteX4" fmla="*/ 147523 w 152409"/>
              <a:gd name="connsiteY4" fmla="*/ 159658 h 190461"/>
              <a:gd name="connsiteX5" fmla="*/ 76171 w 152409"/>
              <a:gd name="connsiteY5" fmla="*/ 190462 h 190461"/>
              <a:gd name="connsiteX6" fmla="*/ 4858 w 152409"/>
              <a:gd name="connsiteY6" fmla="*/ 159629 h 190461"/>
              <a:gd name="connsiteX7" fmla="*/ 0 w 152409"/>
              <a:gd name="connsiteY7" fmla="*/ 144437 h 190461"/>
              <a:gd name="connsiteX8" fmla="*/ 0 w 152409"/>
              <a:gd name="connsiteY8" fmla="*/ 135674 h 190461"/>
              <a:gd name="connsiteX9" fmla="*/ 21412 w 152409"/>
              <a:gd name="connsiteY9" fmla="*/ 114243 h 190461"/>
              <a:gd name="connsiteX10" fmla="*/ 21422 w 152409"/>
              <a:gd name="connsiteY10" fmla="*/ 114243 h 190461"/>
              <a:gd name="connsiteX11" fmla="*/ 130969 w 152409"/>
              <a:gd name="connsiteY11" fmla="*/ 114243 h 190461"/>
              <a:gd name="connsiteX12" fmla="*/ 76171 w 152409"/>
              <a:gd name="connsiteY12" fmla="*/ 0 h 190461"/>
              <a:gd name="connsiteX13" fmla="*/ 123796 w 152409"/>
              <a:gd name="connsiteY13" fmla="*/ 47625 h 190461"/>
              <a:gd name="connsiteX14" fmla="*/ 76171 w 152409"/>
              <a:gd name="connsiteY14" fmla="*/ 95250 h 190461"/>
              <a:gd name="connsiteX15" fmla="*/ 28546 w 152409"/>
              <a:gd name="connsiteY15" fmla="*/ 47625 h 190461"/>
              <a:gd name="connsiteX16" fmla="*/ 76171 w 152409"/>
              <a:gd name="connsiteY16"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9" h="190461">
                <a:moveTo>
                  <a:pt x="130978" y="114262"/>
                </a:moveTo>
                <a:cubicBezTo>
                  <a:pt x="142809" y="114256"/>
                  <a:pt x="152404" y="123843"/>
                  <a:pt x="152410" y="135674"/>
                </a:cubicBezTo>
                <a:cubicBezTo>
                  <a:pt x="152410" y="135677"/>
                  <a:pt x="152410" y="135681"/>
                  <a:pt x="152410" y="135684"/>
                </a:cubicBezTo>
                <a:lnTo>
                  <a:pt x="152410" y="144428"/>
                </a:lnTo>
                <a:cubicBezTo>
                  <a:pt x="152409" y="149889"/>
                  <a:pt x="150700" y="155215"/>
                  <a:pt x="147523" y="159658"/>
                </a:cubicBezTo>
                <a:cubicBezTo>
                  <a:pt x="132798" y="180261"/>
                  <a:pt x="108747" y="190462"/>
                  <a:pt x="76171" y="190462"/>
                </a:cubicBezTo>
                <a:cubicBezTo>
                  <a:pt x="43577" y="190462"/>
                  <a:pt x="19545" y="180251"/>
                  <a:pt x="4858" y="159629"/>
                </a:cubicBezTo>
                <a:cubicBezTo>
                  <a:pt x="1699" y="155194"/>
                  <a:pt x="1" y="149883"/>
                  <a:pt x="0" y="144437"/>
                </a:cubicBezTo>
                <a:lnTo>
                  <a:pt x="0" y="135674"/>
                </a:lnTo>
                <a:cubicBezTo>
                  <a:pt x="-5" y="123843"/>
                  <a:pt x="9581" y="114249"/>
                  <a:pt x="21412" y="114243"/>
                </a:cubicBezTo>
                <a:cubicBezTo>
                  <a:pt x="21415" y="114243"/>
                  <a:pt x="21419" y="114243"/>
                  <a:pt x="21422" y="114243"/>
                </a:cubicBezTo>
                <a:lnTo>
                  <a:pt x="130969" y="114243"/>
                </a:lnTo>
                <a:close/>
                <a:moveTo>
                  <a:pt x="76171" y="0"/>
                </a:moveTo>
                <a:cubicBezTo>
                  <a:pt x="102474" y="0"/>
                  <a:pt x="123796" y="21322"/>
                  <a:pt x="123796" y="47625"/>
                </a:cubicBezTo>
                <a:cubicBezTo>
                  <a:pt x="123796" y="73928"/>
                  <a:pt x="102474" y="95250"/>
                  <a:pt x="76171" y="95250"/>
                </a:cubicBezTo>
                <a:cubicBezTo>
                  <a:pt x="49869" y="95250"/>
                  <a:pt x="28546" y="73928"/>
                  <a:pt x="28546" y="47625"/>
                </a:cubicBezTo>
                <a:cubicBezTo>
                  <a:pt x="28546" y="21322"/>
                  <a:pt x="49869" y="0"/>
                  <a:pt x="76171"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0" name="Freeform: Shape 33">
            <a:extLst>
              <a:ext uri="{FF2B5EF4-FFF2-40B4-BE49-F238E27FC236}">
                <a16:creationId xmlns:a16="http://schemas.microsoft.com/office/drawing/2014/main" id="{86A259A6-78E1-A92F-BB08-76A64F68ADC8}"/>
              </a:ext>
              <a:ext uri="{C183D7F6-B498-43B3-948B-1728B52AA6E4}">
                <adec:decorative xmlns:adec="http://schemas.microsoft.com/office/drawing/2017/decorative" val="1"/>
              </a:ext>
            </a:extLst>
          </p:cNvPr>
          <p:cNvSpPr>
            <a:spLocks/>
          </p:cNvSpPr>
          <p:nvPr/>
        </p:nvSpPr>
        <p:spPr bwMode="auto">
          <a:xfrm>
            <a:off x="5667429" y="1529184"/>
            <a:ext cx="857140" cy="85714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 name="Graphic 52">
            <a:extLst>
              <a:ext uri="{FF2B5EF4-FFF2-40B4-BE49-F238E27FC236}">
                <a16:creationId xmlns:a16="http://schemas.microsoft.com/office/drawing/2014/main" id="{DE7E8C5E-8F7F-52D8-892C-C447E7958A1D}"/>
              </a:ext>
              <a:ext uri="{C183D7F6-B498-43B3-948B-1728B52AA6E4}">
                <adec:decorative xmlns:adec="http://schemas.microsoft.com/office/drawing/2017/decorative" val="1"/>
              </a:ext>
            </a:extLst>
          </p:cNvPr>
          <p:cNvSpPr>
            <a:spLocks noChangeAspect="1"/>
          </p:cNvSpPr>
          <p:nvPr/>
        </p:nvSpPr>
        <p:spPr>
          <a:xfrm>
            <a:off x="5747536" y="1702758"/>
            <a:ext cx="220872" cy="220997"/>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2" name="Graphic 52">
            <a:extLst>
              <a:ext uri="{FF2B5EF4-FFF2-40B4-BE49-F238E27FC236}">
                <a16:creationId xmlns:a16="http://schemas.microsoft.com/office/drawing/2014/main" id="{46A58513-D576-7330-5F99-93F1E8053613}"/>
              </a:ext>
              <a:ext uri="{C183D7F6-B498-43B3-948B-1728B52AA6E4}">
                <adec:decorative xmlns:adec="http://schemas.microsoft.com/office/drawing/2017/decorative" val="1"/>
              </a:ext>
            </a:extLst>
          </p:cNvPr>
          <p:cNvSpPr>
            <a:spLocks noChangeAspect="1"/>
          </p:cNvSpPr>
          <p:nvPr/>
        </p:nvSpPr>
        <p:spPr>
          <a:xfrm>
            <a:off x="6059219" y="1650243"/>
            <a:ext cx="220872" cy="220997"/>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3" name="Graphic 52">
            <a:extLst>
              <a:ext uri="{FF2B5EF4-FFF2-40B4-BE49-F238E27FC236}">
                <a16:creationId xmlns:a16="http://schemas.microsoft.com/office/drawing/2014/main" id="{7AA8592C-37E7-F1AF-B5DA-04E9C04253C3}"/>
              </a:ext>
              <a:ext uri="{C183D7F6-B498-43B3-948B-1728B52AA6E4}">
                <adec:decorative xmlns:adec="http://schemas.microsoft.com/office/drawing/2017/decorative" val="1"/>
              </a:ext>
            </a:extLst>
          </p:cNvPr>
          <p:cNvSpPr>
            <a:spLocks noChangeAspect="1"/>
          </p:cNvSpPr>
          <p:nvPr/>
        </p:nvSpPr>
        <p:spPr>
          <a:xfrm>
            <a:off x="5892054" y="2022495"/>
            <a:ext cx="220872" cy="220997"/>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1" name="Graphic 52">
            <a:extLst>
              <a:ext uri="{FF2B5EF4-FFF2-40B4-BE49-F238E27FC236}">
                <a16:creationId xmlns:a16="http://schemas.microsoft.com/office/drawing/2014/main" id="{C787ECC8-E5FA-DCCE-F335-2DFBA0EB5213}"/>
              </a:ext>
              <a:ext uri="{C183D7F6-B498-43B3-948B-1728B52AA6E4}">
                <adec:decorative xmlns:adec="http://schemas.microsoft.com/office/drawing/2017/decorative" val="1"/>
              </a:ext>
            </a:extLst>
          </p:cNvPr>
          <p:cNvSpPr>
            <a:spLocks noChangeAspect="1"/>
          </p:cNvSpPr>
          <p:nvPr/>
        </p:nvSpPr>
        <p:spPr>
          <a:xfrm>
            <a:off x="6223312" y="1908530"/>
            <a:ext cx="220872" cy="220997"/>
          </a:xfrm>
          <a:custGeom>
            <a:avLst/>
            <a:gdLst>
              <a:gd name="connsiteX0" fmla="*/ 161920 w 190496"/>
              <a:gd name="connsiteY0" fmla="*/ 23802 h 190603"/>
              <a:gd name="connsiteX1" fmla="*/ 138117 w 190496"/>
              <a:gd name="connsiteY1" fmla="*/ 47624 h 190603"/>
              <a:gd name="connsiteX2" fmla="*/ 133231 w 190496"/>
              <a:gd name="connsiteY2" fmla="*/ 47119 h 190603"/>
              <a:gd name="connsiteX3" fmla="*/ 121039 w 190496"/>
              <a:gd name="connsiteY3" fmla="*/ 67293 h 190603"/>
              <a:gd name="connsiteX4" fmla="*/ 133345 w 190496"/>
              <a:gd name="connsiteY4" fmla="*/ 95325 h 190603"/>
              <a:gd name="connsiteX5" fmla="*/ 133345 w 190496"/>
              <a:gd name="connsiteY5" fmla="*/ 95878 h 190603"/>
              <a:gd name="connsiteX6" fmla="*/ 145689 w 190496"/>
              <a:gd name="connsiteY6" fmla="*/ 98364 h 190603"/>
              <a:gd name="connsiteX7" fmla="*/ 177924 w 190496"/>
              <a:gd name="connsiteY7" fmla="*/ 88618 h 190603"/>
              <a:gd name="connsiteX8" fmla="*/ 187670 w 190496"/>
              <a:gd name="connsiteY8" fmla="*/ 120853 h 190603"/>
              <a:gd name="connsiteX9" fmla="*/ 155435 w 190496"/>
              <a:gd name="connsiteY9" fmla="*/ 130598 h 190603"/>
              <a:gd name="connsiteX10" fmla="*/ 143032 w 190496"/>
              <a:gd name="connsiteY10" fmla="*/ 112403 h 190603"/>
              <a:gd name="connsiteX11" fmla="*/ 130459 w 190496"/>
              <a:gd name="connsiteY11" fmla="*/ 109879 h 190603"/>
              <a:gd name="connsiteX12" fmla="*/ 113866 w 190496"/>
              <a:gd name="connsiteY12" fmla="*/ 128577 h 190603"/>
              <a:gd name="connsiteX13" fmla="*/ 118581 w 190496"/>
              <a:gd name="connsiteY13" fmla="*/ 142979 h 190603"/>
              <a:gd name="connsiteX14" fmla="*/ 119058 w 190496"/>
              <a:gd name="connsiteY14" fmla="*/ 142979 h 190603"/>
              <a:gd name="connsiteX15" fmla="*/ 142853 w 190496"/>
              <a:gd name="connsiteY15" fmla="*/ 166808 h 190603"/>
              <a:gd name="connsiteX16" fmla="*/ 119023 w 190496"/>
              <a:gd name="connsiteY16" fmla="*/ 190604 h 190603"/>
              <a:gd name="connsiteX17" fmla="*/ 95228 w 190496"/>
              <a:gd name="connsiteY17" fmla="*/ 166774 h 190603"/>
              <a:gd name="connsiteX18" fmla="*/ 105037 w 190496"/>
              <a:gd name="connsiteY18" fmla="*/ 147532 h 190603"/>
              <a:gd name="connsiteX19" fmla="*/ 100312 w 190496"/>
              <a:gd name="connsiteY19" fmla="*/ 133092 h 190603"/>
              <a:gd name="connsiteX20" fmla="*/ 64575 w 190496"/>
              <a:gd name="connsiteY20" fmla="*/ 117918 h 190603"/>
              <a:gd name="connsiteX21" fmla="*/ 47477 w 190496"/>
              <a:gd name="connsiteY21" fmla="*/ 125996 h 190603"/>
              <a:gd name="connsiteX22" fmla="*/ 26483 w 190496"/>
              <a:gd name="connsiteY22" fmla="*/ 152327 h 190603"/>
              <a:gd name="connsiteX23" fmla="*/ 152 w 190496"/>
              <a:gd name="connsiteY23" fmla="*/ 131333 h 190603"/>
              <a:gd name="connsiteX24" fmla="*/ 21146 w 190496"/>
              <a:gd name="connsiteY24" fmla="*/ 105002 h 190603"/>
              <a:gd name="connsiteX25" fmla="*/ 41686 w 190496"/>
              <a:gd name="connsiteY25" fmla="*/ 112927 h 190603"/>
              <a:gd name="connsiteX26" fmla="*/ 58393 w 190496"/>
              <a:gd name="connsiteY26" fmla="*/ 105041 h 190603"/>
              <a:gd name="connsiteX27" fmla="*/ 65860 w 190496"/>
              <a:gd name="connsiteY27" fmla="*/ 71065 h 190603"/>
              <a:gd name="connsiteX28" fmla="*/ 56421 w 190496"/>
              <a:gd name="connsiteY28" fmla="*/ 60302 h 190603"/>
              <a:gd name="connsiteX29" fmla="*/ 25494 w 190496"/>
              <a:gd name="connsiteY29" fmla="*/ 46975 h 190603"/>
              <a:gd name="connsiteX30" fmla="*/ 38821 w 190496"/>
              <a:gd name="connsiteY30" fmla="*/ 16048 h 190603"/>
              <a:gd name="connsiteX31" fmla="*/ 69748 w 190496"/>
              <a:gd name="connsiteY31" fmla="*/ 29375 h 190603"/>
              <a:gd name="connsiteX32" fmla="*/ 67508 w 190496"/>
              <a:gd name="connsiteY32" fmla="*/ 51272 h 190603"/>
              <a:gd name="connsiteX33" fmla="*/ 76871 w 190496"/>
              <a:gd name="connsiteY33" fmla="*/ 61940 h 190603"/>
              <a:gd name="connsiteX34" fmla="*/ 95245 w 190496"/>
              <a:gd name="connsiteY34" fmla="*/ 57225 h 190603"/>
              <a:gd name="connsiteX35" fmla="*/ 108904 w 190496"/>
              <a:gd name="connsiteY35" fmla="*/ 59749 h 190603"/>
              <a:gd name="connsiteX36" fmla="*/ 120762 w 190496"/>
              <a:gd name="connsiteY36" fmla="*/ 40128 h 190603"/>
              <a:gd name="connsiteX37" fmla="*/ 121792 w 190496"/>
              <a:gd name="connsiteY37" fmla="*/ 6468 h 190603"/>
              <a:gd name="connsiteX38" fmla="*/ 155453 w 190496"/>
              <a:gd name="connsiteY38" fmla="*/ 7497 h 190603"/>
              <a:gd name="connsiteX39" fmla="*/ 161920 w 190496"/>
              <a:gd name="connsiteY39" fmla="*/ 23811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496" h="190603">
                <a:moveTo>
                  <a:pt x="161920" y="23802"/>
                </a:moveTo>
                <a:cubicBezTo>
                  <a:pt x="161925" y="36953"/>
                  <a:pt x="151268" y="47619"/>
                  <a:pt x="138117" y="47624"/>
                </a:cubicBezTo>
                <a:cubicBezTo>
                  <a:pt x="136475" y="47624"/>
                  <a:pt x="134838" y="47455"/>
                  <a:pt x="133231" y="47119"/>
                </a:cubicBezTo>
                <a:lnTo>
                  <a:pt x="121039" y="67293"/>
                </a:lnTo>
                <a:cubicBezTo>
                  <a:pt x="128889" y="74499"/>
                  <a:pt x="133354" y="84669"/>
                  <a:pt x="133345" y="95325"/>
                </a:cubicBezTo>
                <a:lnTo>
                  <a:pt x="133345" y="95878"/>
                </a:lnTo>
                <a:lnTo>
                  <a:pt x="145689" y="98364"/>
                </a:lnTo>
                <a:cubicBezTo>
                  <a:pt x="151900" y="86771"/>
                  <a:pt x="166332" y="82408"/>
                  <a:pt x="177924" y="88618"/>
                </a:cubicBezTo>
                <a:cubicBezTo>
                  <a:pt x="189517" y="94828"/>
                  <a:pt x="193880" y="109260"/>
                  <a:pt x="187670" y="120853"/>
                </a:cubicBezTo>
                <a:cubicBezTo>
                  <a:pt x="181460" y="132445"/>
                  <a:pt x="167028" y="136809"/>
                  <a:pt x="155435" y="130598"/>
                </a:cubicBezTo>
                <a:cubicBezTo>
                  <a:pt x="148576" y="126924"/>
                  <a:pt x="143945" y="120131"/>
                  <a:pt x="143032" y="112403"/>
                </a:cubicBezTo>
                <a:lnTo>
                  <a:pt x="130459" y="109879"/>
                </a:lnTo>
                <a:cubicBezTo>
                  <a:pt x="127179" y="117795"/>
                  <a:pt x="121336" y="124379"/>
                  <a:pt x="113866" y="128577"/>
                </a:cubicBezTo>
                <a:lnTo>
                  <a:pt x="118581" y="142979"/>
                </a:lnTo>
                <a:lnTo>
                  <a:pt x="119058" y="142979"/>
                </a:lnTo>
                <a:cubicBezTo>
                  <a:pt x="132209" y="142988"/>
                  <a:pt x="142862" y="153657"/>
                  <a:pt x="142853" y="166808"/>
                </a:cubicBezTo>
                <a:cubicBezTo>
                  <a:pt x="142844" y="179960"/>
                  <a:pt x="132175" y="190613"/>
                  <a:pt x="119023" y="190604"/>
                </a:cubicBezTo>
                <a:cubicBezTo>
                  <a:pt x="105872" y="190594"/>
                  <a:pt x="95219" y="179925"/>
                  <a:pt x="95228" y="166774"/>
                </a:cubicBezTo>
                <a:cubicBezTo>
                  <a:pt x="95233" y="159161"/>
                  <a:pt x="98879" y="152009"/>
                  <a:pt x="105037" y="147532"/>
                </a:cubicBezTo>
                <a:lnTo>
                  <a:pt x="100312" y="133092"/>
                </a:lnTo>
                <a:cubicBezTo>
                  <a:pt x="86521" y="134951"/>
                  <a:pt x="72815" y="129132"/>
                  <a:pt x="64575" y="117918"/>
                </a:cubicBezTo>
                <a:lnTo>
                  <a:pt x="47477" y="125996"/>
                </a:lnTo>
                <a:cubicBezTo>
                  <a:pt x="48951" y="139064"/>
                  <a:pt x="39552" y="150853"/>
                  <a:pt x="26483" y="152327"/>
                </a:cubicBezTo>
                <a:cubicBezTo>
                  <a:pt x="13415" y="153801"/>
                  <a:pt x="1626" y="144401"/>
                  <a:pt x="152" y="131333"/>
                </a:cubicBezTo>
                <a:cubicBezTo>
                  <a:pt x="-1322" y="118265"/>
                  <a:pt x="8078" y="106476"/>
                  <a:pt x="21146" y="105002"/>
                </a:cubicBezTo>
                <a:cubicBezTo>
                  <a:pt x="28876" y="104130"/>
                  <a:pt x="36545" y="107089"/>
                  <a:pt x="41686" y="112927"/>
                </a:cubicBezTo>
                <a:lnTo>
                  <a:pt x="58393" y="105041"/>
                </a:lnTo>
                <a:cubicBezTo>
                  <a:pt x="55275" y="93173"/>
                  <a:pt x="58053" y="80531"/>
                  <a:pt x="65860" y="71065"/>
                </a:cubicBezTo>
                <a:lnTo>
                  <a:pt x="56421" y="60302"/>
                </a:lnTo>
                <a:cubicBezTo>
                  <a:pt x="44201" y="65162"/>
                  <a:pt x="30354" y="59195"/>
                  <a:pt x="25494" y="46975"/>
                </a:cubicBezTo>
                <a:cubicBezTo>
                  <a:pt x="20634" y="34755"/>
                  <a:pt x="26601" y="20908"/>
                  <a:pt x="38821" y="16048"/>
                </a:cubicBezTo>
                <a:cubicBezTo>
                  <a:pt x="51041" y="11188"/>
                  <a:pt x="64888" y="17155"/>
                  <a:pt x="69748" y="29375"/>
                </a:cubicBezTo>
                <a:cubicBezTo>
                  <a:pt x="72622" y="36602"/>
                  <a:pt x="71786" y="44777"/>
                  <a:pt x="67508" y="51272"/>
                </a:cubicBezTo>
                <a:lnTo>
                  <a:pt x="76871" y="61940"/>
                </a:lnTo>
                <a:cubicBezTo>
                  <a:pt x="82498" y="58837"/>
                  <a:pt x="88820" y="57215"/>
                  <a:pt x="95245" y="57225"/>
                </a:cubicBezTo>
                <a:cubicBezTo>
                  <a:pt x="100055" y="57225"/>
                  <a:pt x="104675" y="58120"/>
                  <a:pt x="108904" y="59749"/>
                </a:cubicBezTo>
                <a:lnTo>
                  <a:pt x="120762" y="40128"/>
                </a:lnTo>
                <a:cubicBezTo>
                  <a:pt x="111752" y="30548"/>
                  <a:pt x="112213" y="15478"/>
                  <a:pt x="121792" y="6468"/>
                </a:cubicBezTo>
                <a:cubicBezTo>
                  <a:pt x="131372" y="-2543"/>
                  <a:pt x="146442" y="-2082"/>
                  <a:pt x="155453" y="7497"/>
                </a:cubicBezTo>
                <a:cubicBezTo>
                  <a:pt x="159607" y="11914"/>
                  <a:pt x="161920" y="17748"/>
                  <a:pt x="161920" y="2381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23" name="Straight Connector 22">
            <a:extLst>
              <a:ext uri="{FF2B5EF4-FFF2-40B4-BE49-F238E27FC236}">
                <a16:creationId xmlns:a16="http://schemas.microsoft.com/office/drawing/2014/main" id="{9B17C337-3B66-0A49-31A7-A3D115512F29}"/>
              </a:ext>
            </a:extLst>
          </p:cNvPr>
          <p:cNvCxnSpPr>
            <a:cxnSpLocks/>
            <a:stCxn id="4" idx="15"/>
            <a:endCxn id="13" idx="30"/>
          </p:cNvCxnSpPr>
          <p:nvPr/>
        </p:nvCxnSpPr>
        <p:spPr>
          <a:xfrm>
            <a:off x="5913168" y="1896166"/>
            <a:ext cx="23897" cy="144936"/>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cxnSp>
        <p:nvCxnSpPr>
          <p:cNvPr id="34" name="Straight Connector 33">
            <a:extLst>
              <a:ext uri="{FF2B5EF4-FFF2-40B4-BE49-F238E27FC236}">
                <a16:creationId xmlns:a16="http://schemas.microsoft.com/office/drawing/2014/main" id="{5ACDB9D3-0FB8-0A93-66F5-9662CBED8238}"/>
              </a:ext>
            </a:extLst>
          </p:cNvPr>
          <p:cNvCxnSpPr>
            <a:cxnSpLocks/>
            <a:stCxn id="4" idx="8"/>
            <a:endCxn id="21" idx="29"/>
          </p:cNvCxnSpPr>
          <p:nvPr/>
        </p:nvCxnSpPr>
        <p:spPr>
          <a:xfrm>
            <a:off x="5965131" y="1842883"/>
            <a:ext cx="287740" cy="120113"/>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cxnSp>
        <p:nvCxnSpPr>
          <p:cNvPr id="43" name="Straight Connector 42">
            <a:extLst>
              <a:ext uri="{FF2B5EF4-FFF2-40B4-BE49-F238E27FC236}">
                <a16:creationId xmlns:a16="http://schemas.microsoft.com/office/drawing/2014/main" id="{8131AF96-2D93-24C3-3E39-8A688D833A27}"/>
              </a:ext>
            </a:extLst>
          </p:cNvPr>
          <p:cNvCxnSpPr>
            <a:cxnSpLocks/>
            <a:stCxn id="4" idx="38"/>
            <a:endCxn id="12" idx="29"/>
          </p:cNvCxnSpPr>
          <p:nvPr/>
        </p:nvCxnSpPr>
        <p:spPr>
          <a:xfrm flipV="1">
            <a:off x="5927777" y="1704709"/>
            <a:ext cx="161001" cy="6741"/>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cxnSp>
        <p:nvCxnSpPr>
          <p:cNvPr id="46" name="Straight Connector 45">
            <a:extLst>
              <a:ext uri="{FF2B5EF4-FFF2-40B4-BE49-F238E27FC236}">
                <a16:creationId xmlns:a16="http://schemas.microsoft.com/office/drawing/2014/main" id="{74553303-6F42-5A4A-23BD-4312B5FB5844}"/>
              </a:ext>
            </a:extLst>
          </p:cNvPr>
          <p:cNvCxnSpPr>
            <a:cxnSpLocks/>
            <a:stCxn id="12" idx="22"/>
            <a:endCxn id="13" idx="37"/>
          </p:cNvCxnSpPr>
          <p:nvPr/>
        </p:nvCxnSpPr>
        <p:spPr>
          <a:xfrm flipH="1">
            <a:off x="6033267" y="1826860"/>
            <a:ext cx="56658" cy="203134"/>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cxnSp>
        <p:nvCxnSpPr>
          <p:cNvPr id="49" name="Straight Connector 48">
            <a:extLst>
              <a:ext uri="{FF2B5EF4-FFF2-40B4-BE49-F238E27FC236}">
                <a16:creationId xmlns:a16="http://schemas.microsoft.com/office/drawing/2014/main" id="{E2D876C2-8C7B-B0F6-AF0D-E832786BF1B7}"/>
              </a:ext>
            </a:extLst>
          </p:cNvPr>
          <p:cNvCxnSpPr>
            <a:cxnSpLocks/>
            <a:stCxn id="12" idx="8"/>
            <a:endCxn id="21" idx="37"/>
          </p:cNvCxnSpPr>
          <p:nvPr/>
        </p:nvCxnSpPr>
        <p:spPr>
          <a:xfrm>
            <a:off x="6276814" y="1790368"/>
            <a:ext cx="87711" cy="125661"/>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cxnSp>
        <p:nvCxnSpPr>
          <p:cNvPr id="52" name="Straight Connector 51">
            <a:extLst>
              <a:ext uri="{FF2B5EF4-FFF2-40B4-BE49-F238E27FC236}">
                <a16:creationId xmlns:a16="http://schemas.microsoft.com/office/drawing/2014/main" id="{766D8B1A-4142-D2EC-0FA9-7892D77E27C4}"/>
              </a:ext>
            </a:extLst>
          </p:cNvPr>
          <p:cNvCxnSpPr>
            <a:cxnSpLocks/>
            <a:stCxn id="13" idx="8"/>
            <a:endCxn id="21" idx="22"/>
          </p:cNvCxnSpPr>
          <p:nvPr/>
        </p:nvCxnSpPr>
        <p:spPr>
          <a:xfrm flipV="1">
            <a:off x="6109649" y="2085147"/>
            <a:ext cx="144369" cy="77473"/>
          </a:xfrm>
          <a:prstGeom prst="line">
            <a:avLst/>
          </a:prstGeom>
          <a:ln>
            <a:headEnd type="none" w="lg" len="med"/>
            <a:tailEnd type="none" w="lg" len="med"/>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2959522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E402B-DBB9-4DB3-E003-778D7D9E77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CF478A-917A-5A4A-F92B-FE578DCE04B9}"/>
              </a:ext>
            </a:extLst>
          </p:cNvPr>
          <p:cNvSpPr>
            <a:spLocks noGrp="1"/>
          </p:cNvSpPr>
          <p:nvPr>
            <p:ph type="title"/>
          </p:nvPr>
        </p:nvSpPr>
        <p:spPr/>
        <p:txBody>
          <a:bodyPr>
            <a:noAutofit/>
          </a:bodyPr>
          <a:lstStyle/>
          <a:p>
            <a:pPr algn="ctr"/>
            <a:r>
              <a:rPr lang="en-US" sz="3200">
                <a:solidFill>
                  <a:schemeClr val="tx1"/>
                </a:solidFill>
              </a:rPr>
              <a:t>Agents User Experience</a:t>
            </a:r>
            <a:endParaRPr lang="ru-UA" sz="3200">
              <a:solidFill>
                <a:schemeClr val="tx1"/>
              </a:solidFill>
            </a:endParaRPr>
          </a:p>
        </p:txBody>
      </p:sp>
      <p:sp>
        <p:nvSpPr>
          <p:cNvPr id="7" name="Rounded Rectangle 11">
            <a:extLst>
              <a:ext uri="{FF2B5EF4-FFF2-40B4-BE49-F238E27FC236}">
                <a16:creationId xmlns:a16="http://schemas.microsoft.com/office/drawing/2014/main" id="{D7F24073-289D-A094-0EEE-B6DE7EE75136}"/>
              </a:ext>
              <a:ext uri="{C183D7F6-B498-43B3-948B-1728B52AA6E4}">
                <adec:decorative xmlns:adec="http://schemas.microsoft.com/office/drawing/2017/decorative" val="1"/>
              </a:ext>
            </a:extLst>
          </p:cNvPr>
          <p:cNvSpPr/>
          <p:nvPr/>
        </p:nvSpPr>
        <p:spPr bwMode="auto">
          <a:xfrm>
            <a:off x="585218" y="1746588"/>
            <a:ext cx="5364500" cy="4230239"/>
          </a:xfrm>
          <a:prstGeom prst="roundRect">
            <a:avLst>
              <a:gd name="adj" fmla="val 4325"/>
            </a:avLst>
          </a:prstGeom>
          <a:ln w="12700" cap="rnd">
            <a:solidFill>
              <a:srgbClr val="454142"/>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9" name="Rounded Rectangle 11">
            <a:extLst>
              <a:ext uri="{FF2B5EF4-FFF2-40B4-BE49-F238E27FC236}">
                <a16:creationId xmlns:a16="http://schemas.microsoft.com/office/drawing/2014/main" id="{8A3C49B7-5CA2-ED82-1DAA-0E71E98E3EA2}"/>
              </a:ext>
              <a:ext uri="{C183D7F6-B498-43B3-948B-1728B52AA6E4}">
                <adec:decorative xmlns:adec="http://schemas.microsoft.com/office/drawing/2017/decorative" val="1"/>
              </a:ext>
            </a:extLst>
          </p:cNvPr>
          <p:cNvSpPr/>
          <p:nvPr/>
        </p:nvSpPr>
        <p:spPr bwMode="auto">
          <a:xfrm>
            <a:off x="6244888" y="1746588"/>
            <a:ext cx="5364500" cy="4230239"/>
          </a:xfrm>
          <a:prstGeom prst="roundRect">
            <a:avLst>
              <a:gd name="adj" fmla="val 4325"/>
            </a:avLst>
          </a:prstGeom>
          <a:ln w="12700" cap="rnd">
            <a:solidFill>
              <a:srgbClr val="454142"/>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BD4E9FAB-80ED-1872-9F11-6AAB1D7BDF06}"/>
              </a:ext>
            </a:extLst>
          </p:cNvPr>
          <p:cNvSpPr/>
          <p:nvPr/>
        </p:nvSpPr>
        <p:spPr bwMode="auto">
          <a:xfrm>
            <a:off x="2277468" y="1497431"/>
            <a:ext cx="1980000" cy="504000"/>
          </a:xfrm>
          <a:prstGeom prst="roundRect">
            <a:avLst>
              <a:gd name="adj" fmla="val 21583"/>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Immersive</a:t>
            </a:r>
            <a:endParaRPr lang="en-GB" sz="2000">
              <a:solidFill>
                <a:srgbClr val="FFFFFF"/>
              </a:solidFill>
              <a:latin typeface="Segoe UI Semibold"/>
            </a:endParaRPr>
          </a:p>
        </p:txBody>
      </p:sp>
      <p:sp>
        <p:nvSpPr>
          <p:cNvPr id="11" name="Rectangle: Rounded Corners 10">
            <a:extLst>
              <a:ext uri="{FF2B5EF4-FFF2-40B4-BE49-F238E27FC236}">
                <a16:creationId xmlns:a16="http://schemas.microsoft.com/office/drawing/2014/main" id="{5C26B2C4-4068-5432-7261-D54338B5649E}"/>
              </a:ext>
            </a:extLst>
          </p:cNvPr>
          <p:cNvSpPr/>
          <p:nvPr/>
        </p:nvSpPr>
        <p:spPr bwMode="auto">
          <a:xfrm>
            <a:off x="7937138" y="1497431"/>
            <a:ext cx="1980000" cy="504000"/>
          </a:xfrm>
          <a:prstGeom prst="roundRect">
            <a:avLst>
              <a:gd name="adj" fmla="val 21583"/>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2000">
                <a:solidFill>
                  <a:srgbClr val="FFFFFF"/>
                </a:solidFill>
                <a:latin typeface="Segoe UI Semibold"/>
              </a:rPr>
              <a:t>In-context</a:t>
            </a:r>
          </a:p>
        </p:txBody>
      </p:sp>
      <p:sp>
        <p:nvSpPr>
          <p:cNvPr id="4" name="TextBox 3">
            <a:extLst>
              <a:ext uri="{FF2B5EF4-FFF2-40B4-BE49-F238E27FC236}">
                <a16:creationId xmlns:a16="http://schemas.microsoft.com/office/drawing/2014/main" id="{22B59071-D809-EB3A-DAC5-276B0E9B2A52}"/>
              </a:ext>
            </a:extLst>
          </p:cNvPr>
          <p:cNvSpPr txBox="1">
            <a:spLocks/>
          </p:cNvSpPr>
          <p:nvPr/>
        </p:nvSpPr>
        <p:spPr>
          <a:xfrm>
            <a:off x="1296186" y="4516964"/>
            <a:ext cx="3942564" cy="107721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mmersive Experience​</a:t>
            </a:r>
            <a:endParaRPr kumimoji="0" lang="ru-RU"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full experience of the Copilot app</a:t>
            </a:r>
            <a:br>
              <a:rPr kumimoji="0" lang="ru-RU"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 Microsoft 365. Users chat directly with</a:t>
            </a:r>
            <a:br>
              <a:rPr kumimoji="0" lang="ru-RU"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he agent embedded in Copilot.​</a:t>
            </a:r>
          </a:p>
        </p:txBody>
      </p:sp>
      <p:sp>
        <p:nvSpPr>
          <p:cNvPr id="5" name="TextBox 4">
            <a:extLst>
              <a:ext uri="{FF2B5EF4-FFF2-40B4-BE49-F238E27FC236}">
                <a16:creationId xmlns:a16="http://schemas.microsoft.com/office/drawing/2014/main" id="{AF6506F4-0718-06D9-4C7B-73A7B4692984}"/>
              </a:ext>
            </a:extLst>
          </p:cNvPr>
          <p:cNvSpPr txBox="1">
            <a:spLocks/>
          </p:cNvSpPr>
          <p:nvPr/>
        </p:nvSpPr>
        <p:spPr>
          <a:xfrm>
            <a:off x="6955856" y="4516964"/>
            <a:ext cx="3942564" cy="1077218"/>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In-context Experience​​</a:t>
            </a:r>
            <a:endParaRPr kumimoji="0" lang="ru-RU"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sers interact in the context of an app, such as a Teams chat or a Word document. Users can @-mention the agent and interact with it directly within the app experience.​</a:t>
            </a:r>
          </a:p>
        </p:txBody>
      </p:sp>
      <p:pic>
        <p:nvPicPr>
          <p:cNvPr id="6" name="Picture 4">
            <a:extLst>
              <a:ext uri="{FF2B5EF4-FFF2-40B4-BE49-F238E27FC236}">
                <a16:creationId xmlns:a16="http://schemas.microsoft.com/office/drawing/2014/main" id="{80230849-DC4A-CFDA-2ABA-5164ED4F616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a:fillRect/>
          </a:stretch>
        </p:blipFill>
        <p:spPr bwMode="auto">
          <a:xfrm>
            <a:off x="1025703" y="2129175"/>
            <a:ext cx="4483529" cy="2353713"/>
          </a:xfrm>
          <a:prstGeom prst="roundRect">
            <a:avLst>
              <a:gd name="adj" fmla="val 7892"/>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BCB94C73-9B07-24BD-C1F2-C1B30CBC58F2}"/>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578" t="219" r="303" b="-1"/>
          <a:stretch>
            <a:fillRect/>
          </a:stretch>
        </p:blipFill>
        <p:spPr bwMode="auto">
          <a:xfrm>
            <a:off x="6472369" y="2124858"/>
            <a:ext cx="4821628" cy="2309638"/>
          </a:xfrm>
          <a:prstGeom prst="roundRect">
            <a:avLst>
              <a:gd name="adj" fmla="val 4655"/>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64203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6E85CE-8B1B-7575-A96B-F4C6416BEB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ED2171A-6DED-116F-7295-033B0DC7BA02}"/>
              </a:ext>
            </a:extLst>
          </p:cNvPr>
          <p:cNvSpPr>
            <a:spLocks noGrp="1"/>
          </p:cNvSpPr>
          <p:nvPr>
            <p:ph type="title"/>
          </p:nvPr>
        </p:nvSpPr>
        <p:spPr>
          <a:xfrm>
            <a:off x="767111" y="1012520"/>
            <a:ext cx="10657777" cy="1138773"/>
          </a:xfrm>
        </p:spPr>
        <p:txBody>
          <a:bodyPr/>
          <a:lstStyle/>
          <a:p>
            <a:r>
              <a:rPr lang="en-IN" sz="3700"/>
              <a:t>Elevate productivity of every employee with agents</a:t>
            </a:r>
          </a:p>
        </p:txBody>
      </p:sp>
      <p:sp useBgFill="1">
        <p:nvSpPr>
          <p:cNvPr id="9" name="Rectangle 8">
            <a:extLst>
              <a:ext uri="{FF2B5EF4-FFF2-40B4-BE49-F238E27FC236}">
                <a16:creationId xmlns:a16="http://schemas.microsoft.com/office/drawing/2014/main" id="{E500AE7A-EEDD-8C8F-5F3E-F37A3B757224}"/>
              </a:ext>
            </a:extLst>
          </p:cNvPr>
          <p:cNvSpPr/>
          <p:nvPr/>
        </p:nvSpPr>
        <p:spPr bwMode="auto">
          <a:xfrm>
            <a:off x="845414" y="3975356"/>
            <a:ext cx="3195076" cy="438912"/>
          </a:xfrm>
          <a:prstGeom prst="rect">
            <a:avLst/>
          </a:prstGeom>
          <a:ln w="15875" cap="rnd">
            <a:noFill/>
            <a:prstDash val="solid"/>
            <a:round/>
          </a:ln>
          <a:effectLst>
            <a:softEdge rad="177800"/>
          </a:effectLst>
        </p:spPr>
        <p:txBody>
          <a:bodyPr rot="0" spcFirstLastPara="0" vertOverflow="overflow" horzOverflow="overflow" vert="horz" wrap="square" lIns="0" tIns="87782" rIns="0" bIns="0" numCol="1" spcCol="0" rtlCol="0" fromWordArt="0" anchor="t" anchorCtr="0" forceAA="0" compatLnSpc="1">
            <a:prstTxWarp prst="textNoShape">
              <a:avLst/>
            </a:prstTxWarp>
            <a:noAutofit/>
          </a:bodyPr>
          <a:lstStyle/>
          <a:p>
            <a:pPr marL="0" marR="0" lvl="0" indent="0" algn="ctr" defTabSz="2145824" rtl="0" eaLnBrk="1" fontAlgn="base" latinLnBrk="0" hangingPunct="1">
              <a:lnSpc>
                <a:spcPct val="100000"/>
              </a:lnSpc>
              <a:spcBef>
                <a:spcPts val="751"/>
              </a:spcBef>
              <a:spcAft>
                <a:spcPct val="0"/>
              </a:spcAft>
              <a:buClrTx/>
              <a:buSzTx/>
              <a:buFontTx/>
              <a:buNone/>
              <a:tabLst>
                <a:tab pos="3526491" algn="l"/>
              </a:tabLst>
              <a:defRPr/>
            </a:pPr>
            <a:r>
              <a:rPr kumimoji="0" lang="en-CA" sz="2800" b="1" i="0" u="none" strike="noStrike" kern="1200" cap="none" spc="0" normalizeH="0" baseline="0" noProof="0">
                <a:ln w="3175">
                  <a:noFill/>
                </a:ln>
                <a:gradFill>
                  <a:gsLst>
                    <a:gs pos="88073">
                      <a:srgbClr val="000000"/>
                    </a:gs>
                    <a:gs pos="68807">
                      <a:srgbClr val="000000"/>
                    </a:gs>
                  </a:gsLst>
                  <a:lin ang="5400000" scaled="1"/>
                </a:gradFill>
                <a:effectLst/>
                <a:uLnTx/>
                <a:uFillTx/>
                <a:latin typeface="Segoe UI Variable Display Semib" pitchFamily="2" charset="0"/>
                <a:ea typeface="+mn-ea"/>
                <a:cs typeface="Segoe Sans Display Semibold" pitchFamily="2" charset="0"/>
              </a:rPr>
              <a:t>Use built-in agents in Microsoft 365</a:t>
            </a:r>
          </a:p>
        </p:txBody>
      </p:sp>
      <p:sp useBgFill="1">
        <p:nvSpPr>
          <p:cNvPr id="13" name="Rectangle 12">
            <a:extLst>
              <a:ext uri="{FF2B5EF4-FFF2-40B4-BE49-F238E27FC236}">
                <a16:creationId xmlns:a16="http://schemas.microsoft.com/office/drawing/2014/main" id="{20C88ED6-32AE-5DF2-36C0-F4EBF61430BA}"/>
              </a:ext>
            </a:extLst>
          </p:cNvPr>
          <p:cNvSpPr/>
          <p:nvPr/>
        </p:nvSpPr>
        <p:spPr bwMode="auto">
          <a:xfrm>
            <a:off x="4816707" y="3991641"/>
            <a:ext cx="3090389" cy="438912"/>
          </a:xfrm>
          <a:prstGeom prst="rect">
            <a:avLst/>
          </a:prstGeom>
          <a:ln w="15875" cap="rnd">
            <a:noFill/>
            <a:prstDash val="solid"/>
            <a:round/>
          </a:ln>
          <a:effectLst>
            <a:softEdge rad="177800"/>
          </a:effectLst>
        </p:spPr>
        <p:txBody>
          <a:bodyPr rot="0" spcFirstLastPara="0" vertOverflow="overflow" horzOverflow="overflow" vert="horz" wrap="square" lIns="0" tIns="87782" rIns="0" bIns="0" numCol="1" spcCol="0" rtlCol="0" fromWordArt="0" anchor="t" anchorCtr="0" forceAA="0" compatLnSpc="1">
            <a:prstTxWarp prst="textNoShape">
              <a:avLst/>
            </a:prstTxWarp>
            <a:noAutofit/>
          </a:bodyPr>
          <a:lstStyle/>
          <a:p>
            <a:pPr algn="ctr" defTabSz="2145824" fontAlgn="base">
              <a:spcBef>
                <a:spcPts val="751"/>
              </a:spcBef>
              <a:spcAft>
                <a:spcPct val="0"/>
              </a:spcAft>
              <a:tabLst>
                <a:tab pos="3526491" algn="l"/>
              </a:tabLst>
              <a:defRPr/>
            </a:pPr>
            <a:r>
              <a:rPr lang="en-CA" sz="2800" b="1">
                <a:ln w="3175">
                  <a:noFill/>
                </a:ln>
                <a:gradFill>
                  <a:gsLst>
                    <a:gs pos="88073">
                      <a:srgbClr val="000000"/>
                    </a:gs>
                    <a:gs pos="68807">
                      <a:srgbClr val="000000"/>
                    </a:gs>
                  </a:gsLst>
                  <a:lin ang="5400000" scaled="1"/>
                </a:gradFill>
                <a:latin typeface="Segoe UI Variable Display Semib" pitchFamily="2" charset="0"/>
                <a:cs typeface="Segoe Sans Display Semibold" pitchFamily="2" charset="0"/>
              </a:rPr>
              <a:t>Find agents in the store</a:t>
            </a:r>
          </a:p>
        </p:txBody>
      </p:sp>
      <p:sp useBgFill="1">
        <p:nvSpPr>
          <p:cNvPr id="3" name="Rectangle 2">
            <a:extLst>
              <a:ext uri="{FF2B5EF4-FFF2-40B4-BE49-F238E27FC236}">
                <a16:creationId xmlns:a16="http://schemas.microsoft.com/office/drawing/2014/main" id="{EC673A36-9526-8D0A-9A4C-10EB15BDBE88}"/>
              </a:ext>
            </a:extLst>
          </p:cNvPr>
          <p:cNvSpPr/>
          <p:nvPr/>
        </p:nvSpPr>
        <p:spPr bwMode="auto">
          <a:xfrm>
            <a:off x="8378513" y="3975356"/>
            <a:ext cx="3127174" cy="438912"/>
          </a:xfrm>
          <a:prstGeom prst="rect">
            <a:avLst/>
          </a:prstGeom>
          <a:ln w="15875" cap="rnd">
            <a:noFill/>
            <a:prstDash val="solid"/>
            <a:round/>
          </a:ln>
          <a:effectLst>
            <a:softEdge rad="177800"/>
          </a:effectLst>
        </p:spPr>
        <p:txBody>
          <a:bodyPr rot="0" spcFirstLastPara="0" vertOverflow="overflow" horzOverflow="overflow" vert="horz" wrap="square" lIns="0" tIns="87782" rIns="0" bIns="0" numCol="1" spcCol="0" rtlCol="0" fromWordArt="0" anchor="t" anchorCtr="0" forceAA="0" compatLnSpc="1">
            <a:prstTxWarp prst="textNoShape">
              <a:avLst/>
            </a:prstTxWarp>
            <a:noAutofit/>
          </a:bodyPr>
          <a:lstStyle/>
          <a:p>
            <a:pPr algn="ctr" defTabSz="2145824" fontAlgn="base">
              <a:spcBef>
                <a:spcPts val="751"/>
              </a:spcBef>
              <a:spcAft>
                <a:spcPct val="0"/>
              </a:spcAft>
              <a:tabLst>
                <a:tab pos="3526491" algn="l"/>
              </a:tabLst>
              <a:defRPr/>
            </a:pPr>
            <a:r>
              <a:rPr lang="en-CA" sz="2800" b="1">
                <a:ln w="3175">
                  <a:noFill/>
                </a:ln>
                <a:gradFill>
                  <a:gsLst>
                    <a:gs pos="88073">
                      <a:srgbClr val="000000"/>
                    </a:gs>
                    <a:gs pos="68807">
                      <a:srgbClr val="000000"/>
                    </a:gs>
                  </a:gsLst>
                  <a:lin ang="5400000" scaled="1"/>
                </a:gradFill>
                <a:latin typeface="Segoe UI Variable Display Semib" pitchFamily="2" charset="0"/>
                <a:cs typeface="Segoe Sans Display Semibold" pitchFamily="2" charset="0"/>
              </a:rPr>
              <a:t>Build your own agents</a:t>
            </a:r>
          </a:p>
        </p:txBody>
      </p:sp>
      <p:pic>
        <p:nvPicPr>
          <p:cNvPr id="4" name="Graphic 166">
            <a:extLst>
              <a:ext uri="{FF2B5EF4-FFF2-40B4-BE49-F238E27FC236}">
                <a16:creationId xmlns:a16="http://schemas.microsoft.com/office/drawing/2014/main" id="{41E0F7DD-295E-4171-EE02-6CABD2156920}"/>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4900" y="2766305"/>
            <a:ext cx="914400" cy="914400"/>
          </a:xfrm>
          <a:prstGeom prst="rect">
            <a:avLst/>
          </a:prstGeom>
          <a:effectLst>
            <a:outerShdw blurRad="50800" dist="38100" dir="5400000" algn="t" rotWithShape="0">
              <a:prstClr val="black">
                <a:alpha val="40000"/>
              </a:prstClr>
            </a:outerShdw>
          </a:effectLst>
        </p:spPr>
      </p:pic>
      <p:grpSp>
        <p:nvGrpSpPr>
          <p:cNvPr id="19" name="Group 18">
            <a:extLst>
              <a:ext uri="{FF2B5EF4-FFF2-40B4-BE49-F238E27FC236}">
                <a16:creationId xmlns:a16="http://schemas.microsoft.com/office/drawing/2014/main" id="{DA748396-FFBD-CFB6-B0AE-B2FF7F754F99}"/>
              </a:ext>
            </a:extLst>
          </p:cNvPr>
          <p:cNvGrpSpPr/>
          <p:nvPr/>
        </p:nvGrpSpPr>
        <p:grpSpPr>
          <a:xfrm>
            <a:off x="513198" y="2447270"/>
            <a:ext cx="1624098" cy="1624098"/>
            <a:chOff x="304479" y="2447270"/>
            <a:chExt cx="1624098" cy="1624098"/>
          </a:xfrm>
        </p:grpSpPr>
        <p:pic>
          <p:nvPicPr>
            <p:cNvPr id="5" name="Picture 2" descr="Teams">
              <a:extLst>
                <a:ext uri="{FF2B5EF4-FFF2-40B4-BE49-F238E27FC236}">
                  <a16:creationId xmlns:a16="http://schemas.microsoft.com/office/drawing/2014/main" id="{82D01659-EDBD-9949-313A-DD66924AF5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479" y="2447270"/>
              <a:ext cx="1624098" cy="1624098"/>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3B4180F7-3CAA-BD1A-0D96-B6A3A038E12F}"/>
                </a:ext>
              </a:extLst>
            </p:cNvPr>
            <p:cNvGrpSpPr>
              <a:grpSpLocks noChangeAspect="1"/>
            </p:cNvGrpSpPr>
            <p:nvPr/>
          </p:nvGrpSpPr>
          <p:grpSpPr>
            <a:xfrm>
              <a:off x="1194776" y="3359603"/>
              <a:ext cx="502189" cy="514350"/>
              <a:chOff x="6269064" y="627681"/>
              <a:chExt cx="580921" cy="594988"/>
            </a:xfrm>
          </p:grpSpPr>
          <p:sp>
            <p:nvSpPr>
              <p:cNvPr id="10" name="Oval 9">
                <a:extLst>
                  <a:ext uri="{FF2B5EF4-FFF2-40B4-BE49-F238E27FC236}">
                    <a16:creationId xmlns:a16="http://schemas.microsoft.com/office/drawing/2014/main" id="{1F172E0B-9820-8B63-849D-609DEE35DD73}"/>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4">
                <a:extLst>
                  <a:ext uri="{FF2B5EF4-FFF2-40B4-BE49-F238E27FC236}">
                    <a16:creationId xmlns:a16="http://schemas.microsoft.com/office/drawing/2014/main" id="{DD885BD4-3988-9A4E-7872-614BBDC051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a:extLst>
              <a:ext uri="{FF2B5EF4-FFF2-40B4-BE49-F238E27FC236}">
                <a16:creationId xmlns:a16="http://schemas.microsoft.com/office/drawing/2014/main" id="{C4393EA4-7DFB-394A-52AD-761C0272F095}"/>
              </a:ext>
            </a:extLst>
          </p:cNvPr>
          <p:cNvGrpSpPr/>
          <p:nvPr/>
        </p:nvGrpSpPr>
        <p:grpSpPr>
          <a:xfrm>
            <a:off x="1844596" y="2719938"/>
            <a:ext cx="1075768" cy="1164167"/>
            <a:chOff x="1635877" y="2719938"/>
            <a:chExt cx="1075768" cy="1164167"/>
          </a:xfrm>
        </p:grpSpPr>
        <p:pic>
          <p:nvPicPr>
            <p:cNvPr id="1034" name="Picture 10" descr="SharePoint">
              <a:extLst>
                <a:ext uri="{FF2B5EF4-FFF2-40B4-BE49-F238E27FC236}">
                  <a16:creationId xmlns:a16="http://schemas.microsoft.com/office/drawing/2014/main" id="{182F59CE-609C-F971-A062-5DB6DFE3EB1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695" t="23608" r="26963" b="27588"/>
            <a:stretch/>
          </p:blipFill>
          <p:spPr bwMode="auto">
            <a:xfrm>
              <a:off x="1635877" y="2719938"/>
              <a:ext cx="1019794" cy="107397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E1493B82-7FA2-77A9-9E90-A735BCF8DC38}"/>
                </a:ext>
              </a:extLst>
            </p:cNvPr>
            <p:cNvGrpSpPr>
              <a:grpSpLocks noChangeAspect="1"/>
            </p:cNvGrpSpPr>
            <p:nvPr/>
          </p:nvGrpSpPr>
          <p:grpSpPr>
            <a:xfrm>
              <a:off x="2209456" y="3369755"/>
              <a:ext cx="502189" cy="514350"/>
              <a:chOff x="6269064" y="627681"/>
              <a:chExt cx="580921" cy="594988"/>
            </a:xfrm>
          </p:grpSpPr>
          <p:sp>
            <p:nvSpPr>
              <p:cNvPr id="14" name="Oval 13">
                <a:extLst>
                  <a:ext uri="{FF2B5EF4-FFF2-40B4-BE49-F238E27FC236}">
                    <a16:creationId xmlns:a16="http://schemas.microsoft.com/office/drawing/2014/main" id="{DD61AA4B-1BE1-9EAF-A813-9A47E15A2E4F}"/>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5" name="Picture 4">
                <a:extLst>
                  <a:ext uri="{FF2B5EF4-FFF2-40B4-BE49-F238E27FC236}">
                    <a16:creationId xmlns:a16="http://schemas.microsoft.com/office/drawing/2014/main" id="{5F2BE9C5-1548-EDC8-1A47-20EB5F2CE6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 name="Group 20">
            <a:extLst>
              <a:ext uri="{FF2B5EF4-FFF2-40B4-BE49-F238E27FC236}">
                <a16:creationId xmlns:a16="http://schemas.microsoft.com/office/drawing/2014/main" id="{BB5028B2-5A32-F4C5-1A7B-F5A2E7135DF2}"/>
              </a:ext>
            </a:extLst>
          </p:cNvPr>
          <p:cNvGrpSpPr/>
          <p:nvPr/>
        </p:nvGrpSpPr>
        <p:grpSpPr>
          <a:xfrm>
            <a:off x="2773679" y="2719938"/>
            <a:ext cx="1019793" cy="1150694"/>
            <a:chOff x="2564960" y="2719938"/>
            <a:chExt cx="1019793" cy="1150694"/>
          </a:xfrm>
        </p:grpSpPr>
        <p:pic>
          <p:nvPicPr>
            <p:cNvPr id="1036" name="Picture 12" descr="Planner">
              <a:extLst>
                <a:ext uri="{FF2B5EF4-FFF2-40B4-BE49-F238E27FC236}">
                  <a16:creationId xmlns:a16="http://schemas.microsoft.com/office/drawing/2014/main" id="{EE4BC607-AA78-7889-8DF5-4945008832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64960" y="2719938"/>
              <a:ext cx="1019793" cy="1089324"/>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a:extLst>
                <a:ext uri="{FF2B5EF4-FFF2-40B4-BE49-F238E27FC236}">
                  <a16:creationId xmlns:a16="http://schemas.microsoft.com/office/drawing/2014/main" id="{1225A539-4251-A6A8-8E6F-7A55FCE61DEC}"/>
                </a:ext>
              </a:extLst>
            </p:cNvPr>
            <p:cNvGrpSpPr>
              <a:grpSpLocks noChangeAspect="1"/>
            </p:cNvGrpSpPr>
            <p:nvPr/>
          </p:nvGrpSpPr>
          <p:grpSpPr>
            <a:xfrm>
              <a:off x="3082564" y="3356282"/>
              <a:ext cx="502189" cy="514350"/>
              <a:chOff x="6269064" y="627681"/>
              <a:chExt cx="580921" cy="594988"/>
            </a:xfrm>
          </p:grpSpPr>
          <p:sp>
            <p:nvSpPr>
              <p:cNvPr id="17" name="Oval 16">
                <a:extLst>
                  <a:ext uri="{FF2B5EF4-FFF2-40B4-BE49-F238E27FC236}">
                    <a16:creationId xmlns:a16="http://schemas.microsoft.com/office/drawing/2014/main" id="{AF24D617-2CFD-3875-F2E8-21B291AD70FD}"/>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8" name="Picture 4">
                <a:extLst>
                  <a:ext uri="{FF2B5EF4-FFF2-40B4-BE49-F238E27FC236}">
                    <a16:creationId xmlns:a16="http://schemas.microsoft.com/office/drawing/2014/main" id="{D11AA7BA-7924-5419-1B25-DA0E09C474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038" name="Picture 14">
            <a:extLst>
              <a:ext uri="{FF2B5EF4-FFF2-40B4-BE49-F238E27FC236}">
                <a16:creationId xmlns:a16="http://schemas.microsoft.com/office/drawing/2014/main" id="{71F86762-C191-D67A-3492-B1FF120669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64267" y="2841883"/>
            <a:ext cx="914400" cy="926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837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600"/>
                                  </p:stCondLst>
                                  <p:childTnLst>
                                    <p:animMotion origin="layout" path="M -3.125E-6 -3.7037E-7 L -3.125E-6 0.03542 " pathEditMode="relative" rAng="0" ptsTypes="AA">
                                      <p:cBhvr>
                                        <p:cTn id="9" dur="700" spd="-100000" fill="hold"/>
                                        <p:tgtEl>
                                          <p:spTgt spid="9"/>
                                        </p:tgtEl>
                                        <p:attrNameLst>
                                          <p:attrName>ppt_x</p:attrName>
                                          <p:attrName>ppt_y</p:attrName>
                                        </p:attrNameLst>
                                      </p:cBhvr>
                                      <p:rCtr x="0" y="1759"/>
                                    </p:animMotion>
                                  </p:childTnLst>
                                </p:cTn>
                              </p:par>
                              <p:par>
                                <p:cTn id="10" presetID="10" presetClass="entr" presetSubtype="0" fill="hold" grpId="0" nodeType="withEffect">
                                  <p:stCondLst>
                                    <p:cond delay="6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600"/>
                                  </p:stCondLst>
                                  <p:childTnLst>
                                    <p:animMotion origin="layout" path="M 2.5E-6 4.81481E-6 L 2.5E-6 0.03541 " pathEditMode="relative" rAng="0" ptsTypes="AA">
                                      <p:cBhvr>
                                        <p:cTn id="14" dur="700" spd="-100000" fill="hold"/>
                                        <p:tgtEl>
                                          <p:spTgt spid="13"/>
                                        </p:tgtEl>
                                        <p:attrNameLst>
                                          <p:attrName>ppt_x</p:attrName>
                                          <p:attrName>ppt_y</p:attrName>
                                        </p:attrNameLst>
                                      </p:cBhvr>
                                      <p:rCtr x="0" y="1759"/>
                                    </p:animMotion>
                                  </p:childTnLst>
                                </p:cTn>
                              </p:par>
                              <p:par>
                                <p:cTn id="15" presetID="10" presetClass="entr" presetSubtype="0" fill="hold" grpId="0" nodeType="withEffect">
                                  <p:stCondLst>
                                    <p:cond delay="6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grpId="1" nodeType="withEffect">
                                  <p:stCondLst>
                                    <p:cond delay="600"/>
                                  </p:stCondLst>
                                  <p:childTnLst>
                                    <p:animMotion origin="layout" path="M 2.70833E-6 -3.7037E-7 L 2.70833E-6 0.03542 " pathEditMode="relative" rAng="0" ptsTypes="AA">
                                      <p:cBhvr>
                                        <p:cTn id="1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3" grpId="0" animBg="1"/>
      <p:bldP spid="13" grpId="1" animBg="1"/>
      <p:bldP spid="3" grpId="0" animBg="1"/>
      <p:bldP spid="3"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CD8E7-BF54-C284-1CFB-1A86C649BAEF}"/>
            </a:ext>
          </a:extLst>
        </p:cNvPr>
        <p:cNvGrpSpPr/>
        <p:nvPr/>
      </p:nvGrpSpPr>
      <p:grpSpPr>
        <a:xfrm>
          <a:off x="0" y="0"/>
          <a:ext cx="0" cy="0"/>
          <a:chOff x="0" y="0"/>
          <a:chExt cx="0" cy="0"/>
        </a:xfrm>
      </p:grpSpPr>
      <p:sp>
        <p:nvSpPr>
          <p:cNvPr id="43" name="Rectangle: Top Corners Rounded 42">
            <a:extLst>
              <a:ext uri="{FF2B5EF4-FFF2-40B4-BE49-F238E27FC236}">
                <a16:creationId xmlns:a16="http://schemas.microsoft.com/office/drawing/2014/main" id="{2746D9EA-D507-C1F5-4F0D-F73046B3FAA1}"/>
              </a:ext>
              <a:ext uri="{C183D7F6-B498-43B3-948B-1728B52AA6E4}">
                <adec:decorative xmlns:adec="http://schemas.microsoft.com/office/drawing/2017/decorative" val="1"/>
              </a:ext>
            </a:extLst>
          </p:cNvPr>
          <p:cNvSpPr>
            <a:spLocks/>
          </p:cNvSpPr>
          <p:nvPr/>
        </p:nvSpPr>
        <p:spPr bwMode="auto">
          <a:xfrm flipV="1">
            <a:off x="821672" y="5172075"/>
            <a:ext cx="1875874" cy="552116"/>
          </a:xfrm>
          <a:prstGeom prst="round2SameRect">
            <a:avLst>
              <a:gd name="adj1" fmla="val 18620"/>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w="3175">
                <a:noFill/>
              </a:ln>
              <a:solidFill>
                <a:srgbClr val="FFFFFF"/>
              </a:solidFill>
              <a:effectLst/>
              <a:uLnTx/>
              <a:uFillTx/>
              <a:latin typeface="Segoe UI Semibold"/>
              <a:ea typeface="+mn-ea"/>
              <a:cs typeface="Segoe UI"/>
            </a:endParaRPr>
          </a:p>
        </p:txBody>
      </p:sp>
      <p:sp>
        <p:nvSpPr>
          <p:cNvPr id="31" name="Rectangle: Top Corners Rounded 30">
            <a:extLst>
              <a:ext uri="{FF2B5EF4-FFF2-40B4-BE49-F238E27FC236}">
                <a16:creationId xmlns:a16="http://schemas.microsoft.com/office/drawing/2014/main" id="{5A478628-CC95-860B-FED5-485EF1C5AAEA}"/>
              </a:ext>
              <a:ext uri="{C183D7F6-B498-43B3-948B-1728B52AA6E4}">
                <adec:decorative xmlns:adec="http://schemas.microsoft.com/office/drawing/2017/decorative" val="1"/>
              </a:ext>
            </a:extLst>
          </p:cNvPr>
          <p:cNvSpPr>
            <a:spLocks/>
          </p:cNvSpPr>
          <p:nvPr/>
        </p:nvSpPr>
        <p:spPr bwMode="auto">
          <a:xfrm flipV="1">
            <a:off x="2989867" y="5172075"/>
            <a:ext cx="1875874" cy="552116"/>
          </a:xfrm>
          <a:prstGeom prst="round2SameRect">
            <a:avLst>
              <a:gd name="adj1" fmla="val 15952"/>
              <a:gd name="adj2" fmla="val 0"/>
            </a:avLst>
          </a:prstGeom>
          <a:solidFill>
            <a:schemeClr val="accent4">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w="3175">
                <a:noFill/>
              </a:ln>
              <a:solidFill>
                <a:srgbClr val="FFFFFF"/>
              </a:solidFill>
              <a:effectLst/>
              <a:uLnTx/>
              <a:uFillTx/>
              <a:latin typeface="Segoe UI Semibold"/>
              <a:ea typeface="+mn-ea"/>
              <a:cs typeface="Segoe UI"/>
            </a:endParaRPr>
          </a:p>
        </p:txBody>
      </p:sp>
      <p:pic>
        <p:nvPicPr>
          <p:cNvPr id="24" name="Picture 23">
            <a:extLst>
              <a:ext uri="{FF2B5EF4-FFF2-40B4-BE49-F238E27FC236}">
                <a16:creationId xmlns:a16="http://schemas.microsoft.com/office/drawing/2014/main" id="{13FA055E-D4A0-BDD3-8BC4-D74C6296FAF8}"/>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36236" t="31089" r="54196" b="48438"/>
          <a:stretch/>
        </p:blipFill>
        <p:spPr>
          <a:xfrm>
            <a:off x="2913617" y="1704812"/>
            <a:ext cx="2028374" cy="3553789"/>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pic>
        <p:nvPicPr>
          <p:cNvPr id="23" name="Picture 22">
            <a:extLst>
              <a:ext uri="{FF2B5EF4-FFF2-40B4-BE49-F238E27FC236}">
                <a16:creationId xmlns:a16="http://schemas.microsoft.com/office/drawing/2014/main" id="{C378860A-8F32-28DD-045A-E35C5E7FA8B9}"/>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26009" t="31089" r="64423" b="48437"/>
          <a:stretch/>
        </p:blipFill>
        <p:spPr>
          <a:xfrm>
            <a:off x="745423" y="1704812"/>
            <a:ext cx="2028373" cy="3553789"/>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4" name="Rectangle: Top Corners Rounded 43">
            <a:extLst>
              <a:ext uri="{FF2B5EF4-FFF2-40B4-BE49-F238E27FC236}">
                <a16:creationId xmlns:a16="http://schemas.microsoft.com/office/drawing/2014/main" id="{5933C068-619B-6573-7DDD-7DDE778A37A7}"/>
              </a:ext>
              <a:ext uri="{C183D7F6-B498-43B3-948B-1728B52AA6E4}">
                <adec:decorative xmlns:adec="http://schemas.microsoft.com/office/drawing/2017/decorative" val="1"/>
              </a:ext>
            </a:extLst>
          </p:cNvPr>
          <p:cNvSpPr>
            <a:spLocks/>
          </p:cNvSpPr>
          <p:nvPr/>
        </p:nvSpPr>
        <p:spPr bwMode="auto">
          <a:xfrm flipV="1">
            <a:off x="5158062" y="5172075"/>
            <a:ext cx="1875874" cy="552116"/>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w="3175">
                <a:noFill/>
              </a:ln>
              <a:solidFill>
                <a:srgbClr val="FFFFFF"/>
              </a:solidFill>
              <a:effectLst/>
              <a:uLnTx/>
              <a:uFillTx/>
              <a:latin typeface="Segoe UI Semibold"/>
              <a:ea typeface="+mn-ea"/>
              <a:cs typeface="Segoe UI"/>
            </a:endParaRPr>
          </a:p>
        </p:txBody>
      </p:sp>
      <p:pic>
        <p:nvPicPr>
          <p:cNvPr id="25" name="Picture 24">
            <a:extLst>
              <a:ext uri="{FF2B5EF4-FFF2-40B4-BE49-F238E27FC236}">
                <a16:creationId xmlns:a16="http://schemas.microsoft.com/office/drawing/2014/main" id="{098477DD-5BE5-222A-29D9-8F21EB743C8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46464" t="31089" r="43968" b="48438"/>
          <a:stretch/>
        </p:blipFill>
        <p:spPr>
          <a:xfrm>
            <a:off x="5081813" y="1704812"/>
            <a:ext cx="2028373" cy="3553789"/>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7" name="Rectangle: Top Corners Rounded 46">
            <a:extLst>
              <a:ext uri="{FF2B5EF4-FFF2-40B4-BE49-F238E27FC236}">
                <a16:creationId xmlns:a16="http://schemas.microsoft.com/office/drawing/2014/main" id="{7174DDB1-9ABC-4264-51D6-33A9E8A8B41A}"/>
              </a:ext>
              <a:ext uri="{C183D7F6-B498-43B3-948B-1728B52AA6E4}">
                <adec:decorative xmlns:adec="http://schemas.microsoft.com/office/drawing/2017/decorative" val="1"/>
              </a:ext>
            </a:extLst>
          </p:cNvPr>
          <p:cNvSpPr>
            <a:spLocks/>
          </p:cNvSpPr>
          <p:nvPr/>
        </p:nvSpPr>
        <p:spPr bwMode="auto">
          <a:xfrm flipV="1">
            <a:off x="7326257" y="5172075"/>
            <a:ext cx="1875874" cy="552116"/>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w="3175">
                <a:noFill/>
              </a:ln>
              <a:solidFill>
                <a:srgbClr val="FFFFFF"/>
              </a:solidFill>
              <a:effectLst/>
              <a:uLnTx/>
              <a:uFillTx/>
              <a:latin typeface="Segoe UI Semibold"/>
              <a:ea typeface="+mn-ea"/>
              <a:cs typeface="Segoe UI"/>
            </a:endParaRPr>
          </a:p>
        </p:txBody>
      </p:sp>
      <p:pic>
        <p:nvPicPr>
          <p:cNvPr id="26" name="Picture 25">
            <a:extLst>
              <a:ext uri="{FF2B5EF4-FFF2-40B4-BE49-F238E27FC236}">
                <a16:creationId xmlns:a16="http://schemas.microsoft.com/office/drawing/2014/main" id="{20F1034B-B9D6-B5D9-D12C-C60BE017F62A}"/>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56691" t="31089" r="33741" b="48438"/>
          <a:stretch/>
        </p:blipFill>
        <p:spPr>
          <a:xfrm>
            <a:off x="7250008" y="1704812"/>
            <a:ext cx="2028373" cy="3553789"/>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8" name="Rectangle: Top Corners Rounded 47">
            <a:extLst>
              <a:ext uri="{FF2B5EF4-FFF2-40B4-BE49-F238E27FC236}">
                <a16:creationId xmlns:a16="http://schemas.microsoft.com/office/drawing/2014/main" id="{06A76F2F-FD28-C688-8B94-8229CDE1E6BA}"/>
              </a:ext>
              <a:ext uri="{C183D7F6-B498-43B3-948B-1728B52AA6E4}">
                <adec:decorative xmlns:adec="http://schemas.microsoft.com/office/drawing/2017/decorative" val="1"/>
              </a:ext>
            </a:extLst>
          </p:cNvPr>
          <p:cNvSpPr>
            <a:spLocks/>
          </p:cNvSpPr>
          <p:nvPr/>
        </p:nvSpPr>
        <p:spPr bwMode="auto">
          <a:xfrm flipV="1">
            <a:off x="9494452" y="5172075"/>
            <a:ext cx="1875874" cy="552116"/>
          </a:xfrm>
          <a:prstGeom prst="round2SameRect">
            <a:avLst>
              <a:gd name="adj1" fmla="val 16647"/>
              <a:gd name="adj2" fmla="val 0"/>
            </a:avLst>
          </a:prstGeom>
          <a:solidFill>
            <a:schemeClr val="accent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w="3175">
                <a:noFill/>
              </a:ln>
              <a:solidFill>
                <a:srgbClr val="FFFFFF"/>
              </a:solidFill>
              <a:effectLst/>
              <a:uLnTx/>
              <a:uFillTx/>
              <a:latin typeface="Segoe UI Semibold"/>
              <a:ea typeface="+mn-ea"/>
              <a:cs typeface="Segoe UI"/>
            </a:endParaRPr>
          </a:p>
        </p:txBody>
      </p:sp>
      <p:pic>
        <p:nvPicPr>
          <p:cNvPr id="33" name="Picture 32">
            <a:extLst>
              <a:ext uri="{FF2B5EF4-FFF2-40B4-BE49-F238E27FC236}">
                <a16:creationId xmlns:a16="http://schemas.microsoft.com/office/drawing/2014/main" id="{8BA16CA8-8340-8461-39F8-E6A1F6D3A815}"/>
              </a:ext>
              <a:ext uri="{C183D7F6-B498-43B3-948B-1728B52AA6E4}">
                <adec:decorative xmlns:adec="http://schemas.microsoft.com/office/drawing/2017/decorative" val="1"/>
              </a:ext>
            </a:extLst>
          </p:cNvPr>
          <p:cNvPicPr>
            <a:picLocks noChangeAspect="1"/>
          </p:cNvPicPr>
          <p:nvPr/>
        </p:nvPicPr>
        <p:blipFill rotWithShape="1">
          <a:blip r:embed="rId3">
            <a:alphaModFix amt="50000"/>
            <a:extLst>
              <a:ext uri="{BEBA8EAE-BF5A-486C-A8C5-ECC9F3942E4B}">
                <a14:imgProps xmlns:a14="http://schemas.microsoft.com/office/drawing/2010/main">
                  <a14:imgLayer r:embed="rId4">
                    <a14:imgEffect>
                      <a14:sharpenSoften amount="-100000"/>
                    </a14:imgEffect>
                  </a14:imgLayer>
                </a14:imgProps>
              </a:ext>
            </a:extLst>
          </a:blip>
          <a:srcRect l="66919" t="31089" r="23514" b="48438"/>
          <a:stretch/>
        </p:blipFill>
        <p:spPr>
          <a:xfrm>
            <a:off x="9418203" y="1704812"/>
            <a:ext cx="2028373" cy="3553789"/>
          </a:xfrm>
          <a:prstGeom prst="roundRect">
            <a:avLst>
              <a:gd name="adj" fmla="val 5000"/>
            </a:avLst>
          </a:prstGeom>
          <a:solidFill>
            <a:schemeClr val="bg1"/>
          </a:solidFill>
          <a:ln w="9525">
            <a:solidFill>
              <a:schemeClr val="bg1"/>
            </a:solidFill>
          </a:ln>
          <a:effectLst>
            <a:outerShdw blurRad="254000" dist="38100" dir="2700000" algn="tl" rotWithShape="0">
              <a:schemeClr val="accent4">
                <a:lumMod val="50000"/>
                <a:alpha val="10000"/>
              </a:schemeClr>
            </a:outerShdw>
          </a:effectLst>
        </p:spPr>
      </p:pic>
      <p:sp>
        <p:nvSpPr>
          <p:cNvPr id="40" name="TextBox 39">
            <a:extLst>
              <a:ext uri="{FF2B5EF4-FFF2-40B4-BE49-F238E27FC236}">
                <a16:creationId xmlns:a16="http://schemas.microsoft.com/office/drawing/2014/main" id="{BB447E72-920A-B0C5-6598-800A99D48F7A}"/>
              </a:ext>
            </a:extLst>
          </p:cNvPr>
          <p:cNvSpPr txBox="1">
            <a:spLocks/>
          </p:cNvSpPr>
          <p:nvPr/>
        </p:nvSpPr>
        <p:spPr>
          <a:xfrm>
            <a:off x="1132675" y="2551476"/>
            <a:ext cx="1366401" cy="374398"/>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Facilitator</a:t>
            </a:r>
          </a:p>
        </p:txBody>
      </p:sp>
      <p:sp>
        <p:nvSpPr>
          <p:cNvPr id="34" name="TextBox 33">
            <a:extLst>
              <a:ext uri="{FF2B5EF4-FFF2-40B4-BE49-F238E27FC236}">
                <a16:creationId xmlns:a16="http://schemas.microsoft.com/office/drawing/2014/main" id="{90B2A5D5-4A50-9CE4-1736-6978C99F1073}"/>
              </a:ext>
            </a:extLst>
          </p:cNvPr>
          <p:cNvSpPr txBox="1">
            <a:spLocks/>
          </p:cNvSpPr>
          <p:nvPr/>
        </p:nvSpPr>
        <p:spPr>
          <a:xfrm>
            <a:off x="1030428" y="5403304"/>
            <a:ext cx="1458362"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lumMod val="75000"/>
                  </a:srgbClr>
                </a:solidFill>
                <a:effectLst/>
                <a:uLnTx/>
                <a:uFillTx/>
                <a:latin typeface="Segoe UI Semibold"/>
                <a:ea typeface="+mn-ea"/>
                <a:cs typeface="+mn-cs"/>
              </a:rPr>
              <a:t>Public preview</a:t>
            </a:r>
          </a:p>
        </p:txBody>
      </p:sp>
      <p:sp>
        <p:nvSpPr>
          <p:cNvPr id="38" name="TextBox 37">
            <a:extLst>
              <a:ext uri="{FF2B5EF4-FFF2-40B4-BE49-F238E27FC236}">
                <a16:creationId xmlns:a16="http://schemas.microsoft.com/office/drawing/2014/main" id="{63F4C7CF-CEE9-B780-614A-076234EEC898}"/>
              </a:ext>
            </a:extLst>
          </p:cNvPr>
          <p:cNvSpPr txBox="1">
            <a:spLocks/>
          </p:cNvSpPr>
          <p:nvPr/>
        </p:nvSpPr>
        <p:spPr>
          <a:xfrm>
            <a:off x="3176732" y="2551476"/>
            <a:ext cx="1502142" cy="374398"/>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Interpreter</a:t>
            </a:r>
          </a:p>
        </p:txBody>
      </p:sp>
      <p:sp>
        <p:nvSpPr>
          <p:cNvPr id="35" name="TextBox 34">
            <a:extLst>
              <a:ext uri="{FF2B5EF4-FFF2-40B4-BE49-F238E27FC236}">
                <a16:creationId xmlns:a16="http://schemas.microsoft.com/office/drawing/2014/main" id="{ED1FB727-D296-C54C-F7DC-98B7847100D3}"/>
              </a:ext>
            </a:extLst>
          </p:cNvPr>
          <p:cNvSpPr txBox="1"/>
          <p:nvPr/>
        </p:nvSpPr>
        <p:spPr>
          <a:xfrm>
            <a:off x="3092108" y="5318666"/>
            <a:ext cx="1671392" cy="338554"/>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D59DFF">
                    <a:lumMod val="25000"/>
                  </a:srgbClr>
                </a:solidFill>
                <a:effectLst/>
                <a:uLnTx/>
                <a:uFillTx/>
                <a:latin typeface="Segoe UI Semibold"/>
                <a:ea typeface="+mn-ea"/>
                <a:cs typeface="+mn-cs"/>
              </a:rPr>
              <a:t>Public preview </a:t>
            </a:r>
            <a:br>
              <a:rPr kumimoji="0" lang="en-US" sz="1100" b="0" i="0" u="none" strike="noStrike" kern="1200" cap="none" spc="0" normalizeH="0" baseline="0" noProof="0">
                <a:ln>
                  <a:noFill/>
                </a:ln>
                <a:solidFill>
                  <a:srgbClr val="D59DFF">
                    <a:lumMod val="25000"/>
                  </a:srgbClr>
                </a:solidFill>
                <a:effectLst/>
                <a:uLnTx/>
                <a:uFillTx/>
                <a:latin typeface="Segoe UI Semibold"/>
                <a:ea typeface="+mn-ea"/>
                <a:cs typeface="+mn-cs"/>
              </a:rPr>
            </a:br>
            <a:r>
              <a:rPr kumimoji="0" lang="en-US" sz="1100" b="0" i="0" u="none" strike="noStrike" kern="1200" cap="none" spc="0" normalizeH="0" baseline="0" noProof="0">
                <a:ln>
                  <a:noFill/>
                </a:ln>
                <a:solidFill>
                  <a:srgbClr val="D59DFF">
                    <a:lumMod val="25000"/>
                  </a:srgbClr>
                </a:solidFill>
                <a:effectLst/>
                <a:uLnTx/>
                <a:uFillTx/>
                <a:latin typeface="Segoe UI Semibold"/>
                <a:ea typeface="+mn-ea"/>
                <a:cs typeface="+mn-cs"/>
              </a:rPr>
              <a:t>coming soon</a:t>
            </a:r>
          </a:p>
        </p:txBody>
      </p:sp>
      <p:sp>
        <p:nvSpPr>
          <p:cNvPr id="39" name="TextBox 38">
            <a:extLst>
              <a:ext uri="{FF2B5EF4-FFF2-40B4-BE49-F238E27FC236}">
                <a16:creationId xmlns:a16="http://schemas.microsoft.com/office/drawing/2014/main" id="{C24474EE-E495-976A-89D8-81F30CBAFFC4}"/>
              </a:ext>
            </a:extLst>
          </p:cNvPr>
          <p:cNvSpPr txBox="1">
            <a:spLocks/>
          </p:cNvSpPr>
          <p:nvPr/>
        </p:nvSpPr>
        <p:spPr>
          <a:xfrm>
            <a:off x="5472431" y="2348344"/>
            <a:ext cx="1247137" cy="780663"/>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Project </a:t>
            </a:r>
            <a:br>
              <a:rPr kumimoji="0" lang="en-US" sz="2400" b="0" i="0" u="none" strike="noStrike" kern="1200" cap="none" spc="0" normalizeH="0" baseline="0" noProof="0">
                <a:ln>
                  <a:noFill/>
                </a:ln>
                <a:solidFill>
                  <a:srgbClr val="000000"/>
                </a:solidFill>
                <a:effectLst/>
                <a:uLnTx/>
                <a:uFillTx/>
                <a:latin typeface="Segoe UI Semibold"/>
                <a:ea typeface="+mn-ea"/>
                <a:cs typeface="+mn-cs"/>
              </a:rPr>
            </a:br>
            <a:r>
              <a:rPr kumimoji="0" lang="en-US" sz="2400" b="0" i="0" u="none" strike="noStrike" kern="1200" cap="none" spc="0" normalizeH="0" baseline="0" noProof="0">
                <a:ln>
                  <a:noFill/>
                </a:ln>
                <a:solidFill>
                  <a:srgbClr val="000000"/>
                </a:solidFill>
                <a:effectLst/>
                <a:uLnTx/>
                <a:uFillTx/>
                <a:latin typeface="Segoe UI Semibold"/>
                <a:ea typeface="+mn-ea"/>
                <a:cs typeface="+mn-cs"/>
              </a:rPr>
              <a:t>Manager</a:t>
            </a:r>
          </a:p>
        </p:txBody>
      </p:sp>
      <p:sp>
        <p:nvSpPr>
          <p:cNvPr id="46" name="TextBox 45">
            <a:extLst>
              <a:ext uri="{FF2B5EF4-FFF2-40B4-BE49-F238E27FC236}">
                <a16:creationId xmlns:a16="http://schemas.microsoft.com/office/drawing/2014/main" id="{86FB713D-07CF-5066-DF33-2794A5550020}"/>
              </a:ext>
            </a:extLst>
          </p:cNvPr>
          <p:cNvSpPr txBox="1">
            <a:spLocks/>
          </p:cNvSpPr>
          <p:nvPr/>
        </p:nvSpPr>
        <p:spPr>
          <a:xfrm>
            <a:off x="5366818" y="5403304"/>
            <a:ext cx="1458362"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78D4">
                    <a:lumMod val="75000"/>
                  </a:srgbClr>
                </a:solidFill>
                <a:effectLst/>
                <a:uLnTx/>
                <a:uFillTx/>
                <a:latin typeface="Segoe UI Semibold"/>
                <a:ea typeface="+mn-ea"/>
                <a:cs typeface="+mn-cs"/>
              </a:rPr>
              <a:t>Publi</a:t>
            </a:r>
            <a:r>
              <a:rPr kumimoji="0" lang="en-US" sz="1100" b="0" i="0" u="none" strike="noStrike" kern="1200" cap="none" spc="0" normalizeH="0" baseline="0" noProof="0">
                <a:ln>
                  <a:noFill/>
                </a:ln>
                <a:solidFill>
                  <a:srgbClr val="0078D4">
                    <a:lumMod val="75000"/>
                  </a:srgbClr>
                </a:solidFill>
                <a:effectLst/>
                <a:uLnTx/>
                <a:uFillTx/>
                <a:latin typeface="Segoe UI Semibold"/>
                <a:ea typeface="+mn-ea"/>
                <a:cs typeface="+mn-cs"/>
              </a:rPr>
              <a:t>c preview</a:t>
            </a:r>
          </a:p>
        </p:txBody>
      </p:sp>
      <p:sp>
        <p:nvSpPr>
          <p:cNvPr id="41" name="TextBox 40">
            <a:extLst>
              <a:ext uri="{FF2B5EF4-FFF2-40B4-BE49-F238E27FC236}">
                <a16:creationId xmlns:a16="http://schemas.microsoft.com/office/drawing/2014/main" id="{B11248DE-2523-C874-A22C-E4B70B546870}"/>
              </a:ext>
            </a:extLst>
          </p:cNvPr>
          <p:cNvSpPr txBox="1">
            <a:spLocks/>
          </p:cNvSpPr>
          <p:nvPr/>
        </p:nvSpPr>
        <p:spPr>
          <a:xfrm>
            <a:off x="7414485" y="2145212"/>
            <a:ext cx="1699418" cy="118692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Employee Self-Service Agent</a:t>
            </a:r>
          </a:p>
        </p:txBody>
      </p:sp>
      <p:sp>
        <p:nvSpPr>
          <p:cNvPr id="49" name="TextBox 48">
            <a:extLst>
              <a:ext uri="{FF2B5EF4-FFF2-40B4-BE49-F238E27FC236}">
                <a16:creationId xmlns:a16="http://schemas.microsoft.com/office/drawing/2014/main" id="{4E89E221-F23B-8FFE-DC04-36E580B3803C}"/>
              </a:ext>
            </a:extLst>
          </p:cNvPr>
          <p:cNvSpPr txBox="1">
            <a:spLocks/>
          </p:cNvSpPr>
          <p:nvPr/>
        </p:nvSpPr>
        <p:spPr>
          <a:xfrm>
            <a:off x="7436392" y="5403304"/>
            <a:ext cx="1655604"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lumMod val="75000"/>
                  </a:srgbClr>
                </a:solidFill>
                <a:effectLst/>
                <a:uLnTx/>
                <a:uFillTx/>
                <a:latin typeface="Segoe UI Semibold"/>
                <a:ea typeface="+mn-ea"/>
                <a:cs typeface="+mn-cs"/>
              </a:rPr>
              <a:t>Limited private preview</a:t>
            </a:r>
          </a:p>
        </p:txBody>
      </p:sp>
      <p:sp>
        <p:nvSpPr>
          <p:cNvPr id="42" name="TextBox 41">
            <a:extLst>
              <a:ext uri="{FF2B5EF4-FFF2-40B4-BE49-F238E27FC236}">
                <a16:creationId xmlns:a16="http://schemas.microsoft.com/office/drawing/2014/main" id="{D114C2B2-ADA4-FC88-621A-6C59333A15AE}"/>
              </a:ext>
            </a:extLst>
          </p:cNvPr>
          <p:cNvSpPr txBox="1">
            <a:spLocks/>
          </p:cNvSpPr>
          <p:nvPr/>
        </p:nvSpPr>
        <p:spPr>
          <a:xfrm>
            <a:off x="9582680" y="2348344"/>
            <a:ext cx="1699418" cy="78066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Agents in SharePoint</a:t>
            </a:r>
          </a:p>
        </p:txBody>
      </p:sp>
      <p:sp>
        <p:nvSpPr>
          <p:cNvPr id="50" name="TextBox 49">
            <a:extLst>
              <a:ext uri="{FF2B5EF4-FFF2-40B4-BE49-F238E27FC236}">
                <a16:creationId xmlns:a16="http://schemas.microsoft.com/office/drawing/2014/main" id="{CA8BC5FA-C66F-1776-9C56-14B7E0A31572}"/>
              </a:ext>
            </a:extLst>
          </p:cNvPr>
          <p:cNvSpPr txBox="1">
            <a:spLocks/>
          </p:cNvSpPr>
          <p:nvPr/>
        </p:nvSpPr>
        <p:spPr>
          <a:xfrm>
            <a:off x="9604587" y="5403304"/>
            <a:ext cx="1655604" cy="169277"/>
          </a:xfrm>
          <a:prstGeom prst="rect">
            <a:avLst/>
          </a:prstGeom>
          <a:noFill/>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8D4">
                    <a:lumMod val="75000"/>
                  </a:srgbClr>
                </a:solidFill>
                <a:effectLst/>
                <a:uLnTx/>
                <a:uFillTx/>
                <a:latin typeface="Segoe UI Semibold"/>
                <a:ea typeface="+mn-ea"/>
                <a:cs typeface="+mn-cs"/>
              </a:rPr>
              <a:t>Generally available</a:t>
            </a:r>
          </a:p>
        </p:txBody>
      </p:sp>
      <p:sp>
        <p:nvSpPr>
          <p:cNvPr id="15" name="Title 1">
            <a:extLst>
              <a:ext uri="{FF2B5EF4-FFF2-40B4-BE49-F238E27FC236}">
                <a16:creationId xmlns:a16="http://schemas.microsoft.com/office/drawing/2014/main" id="{8A0E0E0F-66FB-19C4-4E16-4A91D9F5E710}"/>
              </a:ext>
            </a:extLst>
          </p:cNvPr>
          <p:cNvSpPr txBox="1">
            <a:spLocks/>
          </p:cNvSpPr>
          <p:nvPr/>
        </p:nvSpPr>
        <p:spPr>
          <a:xfrm>
            <a:off x="586740" y="457200"/>
            <a:ext cx="11018520" cy="553998"/>
          </a:xfrm>
          <a:prstGeom prst="rect">
            <a:avLst/>
          </a:prstGeom>
        </p:spPr>
        <p:txBody>
          <a:bodyPr vert="horz" wrap="square" lIns="0" tIns="0" rIns="0" bIns="0" rtlCol="0" anchor="b">
            <a:normAutofit/>
          </a:bodyPr>
          <a:lstStyle>
            <a:lvl1pPr algn="ctr" defTabSz="932742" rtl="0" eaLnBrk="1" latinLnBrk="0" hangingPunct="1">
              <a:lnSpc>
                <a:spcPct val="100000"/>
              </a:lnSpc>
              <a:spcBef>
                <a:spcPct val="0"/>
              </a:spcBef>
              <a:buNone/>
              <a:defRPr lang="en-US" sz="6000" b="0" kern="1200" cap="none" spc="-50" baseline="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Sans Display Semibold"/>
                <a:ea typeface="+mn-ea"/>
                <a:cs typeface="Segoe Sans Display Semibold"/>
              </a:rPr>
              <a:t>Built-in agents in Microsoft 365</a:t>
            </a:r>
            <a:endPar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grpSp>
        <p:nvGrpSpPr>
          <p:cNvPr id="3" name="Group 2">
            <a:extLst>
              <a:ext uri="{FF2B5EF4-FFF2-40B4-BE49-F238E27FC236}">
                <a16:creationId xmlns:a16="http://schemas.microsoft.com/office/drawing/2014/main" id="{E26DC2C8-DEDA-1018-779D-FA2E0FF40E74}"/>
              </a:ext>
            </a:extLst>
          </p:cNvPr>
          <p:cNvGrpSpPr/>
          <p:nvPr/>
        </p:nvGrpSpPr>
        <p:grpSpPr>
          <a:xfrm>
            <a:off x="947560" y="3361480"/>
            <a:ext cx="1624098" cy="1624098"/>
            <a:chOff x="304479" y="2447270"/>
            <a:chExt cx="1624098" cy="1624098"/>
          </a:xfrm>
        </p:grpSpPr>
        <p:pic>
          <p:nvPicPr>
            <p:cNvPr id="4" name="Picture 2" descr="Teams">
              <a:extLst>
                <a:ext uri="{FF2B5EF4-FFF2-40B4-BE49-F238E27FC236}">
                  <a16:creationId xmlns:a16="http://schemas.microsoft.com/office/drawing/2014/main" id="{954C25AF-0B35-7377-9892-9B919EC5A1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479" y="2447270"/>
              <a:ext cx="1624098" cy="1624098"/>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FAACCB39-4FD1-E3C3-FABB-966AEE99C1A2}"/>
                </a:ext>
              </a:extLst>
            </p:cNvPr>
            <p:cNvGrpSpPr>
              <a:grpSpLocks noChangeAspect="1"/>
            </p:cNvGrpSpPr>
            <p:nvPr/>
          </p:nvGrpSpPr>
          <p:grpSpPr>
            <a:xfrm>
              <a:off x="1194776" y="3359603"/>
              <a:ext cx="502189" cy="514350"/>
              <a:chOff x="6269064" y="627681"/>
              <a:chExt cx="580921" cy="594988"/>
            </a:xfrm>
          </p:grpSpPr>
          <p:sp>
            <p:nvSpPr>
              <p:cNvPr id="9" name="Oval 8">
                <a:extLst>
                  <a:ext uri="{FF2B5EF4-FFF2-40B4-BE49-F238E27FC236}">
                    <a16:creationId xmlns:a16="http://schemas.microsoft.com/office/drawing/2014/main" id="{1B90EFE7-6E1C-2C63-B1A1-6101ABD0F018}"/>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Picture 4">
                <a:extLst>
                  <a:ext uri="{FF2B5EF4-FFF2-40B4-BE49-F238E27FC236}">
                    <a16:creationId xmlns:a16="http://schemas.microsoft.com/office/drawing/2014/main" id="{E2BA6676-F568-92FF-A4D1-1C7F311C08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oup 11">
            <a:extLst>
              <a:ext uri="{FF2B5EF4-FFF2-40B4-BE49-F238E27FC236}">
                <a16:creationId xmlns:a16="http://schemas.microsoft.com/office/drawing/2014/main" id="{74335A5B-EE70-0460-ABA5-F436AE217079}"/>
              </a:ext>
            </a:extLst>
          </p:cNvPr>
          <p:cNvGrpSpPr/>
          <p:nvPr/>
        </p:nvGrpSpPr>
        <p:grpSpPr>
          <a:xfrm>
            <a:off x="3054776" y="3361480"/>
            <a:ext cx="1624098" cy="1624098"/>
            <a:chOff x="304479" y="2447270"/>
            <a:chExt cx="1624098" cy="1624098"/>
          </a:xfrm>
        </p:grpSpPr>
        <p:pic>
          <p:nvPicPr>
            <p:cNvPr id="13" name="Picture 2" descr="Teams">
              <a:extLst>
                <a:ext uri="{FF2B5EF4-FFF2-40B4-BE49-F238E27FC236}">
                  <a16:creationId xmlns:a16="http://schemas.microsoft.com/office/drawing/2014/main" id="{AE04B591-8278-CB9C-0DEC-6F270177C6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479" y="2447270"/>
              <a:ext cx="1624098" cy="1624098"/>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00E72E1E-79DC-EB5B-5C0E-74C541A4F03E}"/>
                </a:ext>
              </a:extLst>
            </p:cNvPr>
            <p:cNvGrpSpPr>
              <a:grpSpLocks noChangeAspect="1"/>
            </p:cNvGrpSpPr>
            <p:nvPr/>
          </p:nvGrpSpPr>
          <p:grpSpPr>
            <a:xfrm>
              <a:off x="1194776" y="3359603"/>
              <a:ext cx="502189" cy="514350"/>
              <a:chOff x="6269064" y="627681"/>
              <a:chExt cx="580921" cy="594988"/>
            </a:xfrm>
          </p:grpSpPr>
          <p:sp>
            <p:nvSpPr>
              <p:cNvPr id="16" name="Oval 15">
                <a:extLst>
                  <a:ext uri="{FF2B5EF4-FFF2-40B4-BE49-F238E27FC236}">
                    <a16:creationId xmlns:a16="http://schemas.microsoft.com/office/drawing/2014/main" id="{84BFA2E2-BD3B-949D-721F-17AE41F87B0B}"/>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7" name="Picture 4">
                <a:extLst>
                  <a:ext uri="{FF2B5EF4-FFF2-40B4-BE49-F238E27FC236}">
                    <a16:creationId xmlns:a16="http://schemas.microsoft.com/office/drawing/2014/main" id="{75B1937B-C8B5-5ECE-780E-229BACCEF0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 name="Group 18">
            <a:extLst>
              <a:ext uri="{FF2B5EF4-FFF2-40B4-BE49-F238E27FC236}">
                <a16:creationId xmlns:a16="http://schemas.microsoft.com/office/drawing/2014/main" id="{E166656A-F777-9149-86E7-22DDFCA920B6}"/>
              </a:ext>
            </a:extLst>
          </p:cNvPr>
          <p:cNvGrpSpPr/>
          <p:nvPr/>
        </p:nvGrpSpPr>
        <p:grpSpPr>
          <a:xfrm>
            <a:off x="9894505" y="3593957"/>
            <a:ext cx="1075768" cy="1164167"/>
            <a:chOff x="1635877" y="2719938"/>
            <a:chExt cx="1075768" cy="1164167"/>
          </a:xfrm>
        </p:grpSpPr>
        <p:pic>
          <p:nvPicPr>
            <p:cNvPr id="20" name="Picture 10" descr="SharePoint">
              <a:extLst>
                <a:ext uri="{FF2B5EF4-FFF2-40B4-BE49-F238E27FC236}">
                  <a16:creationId xmlns:a16="http://schemas.microsoft.com/office/drawing/2014/main" id="{0EA36D65-6C17-A897-5F6B-691DC4EBDD9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695" t="23608" r="26963" b="27588"/>
            <a:stretch/>
          </p:blipFill>
          <p:spPr bwMode="auto">
            <a:xfrm>
              <a:off x="1635877" y="2719938"/>
              <a:ext cx="1019794" cy="1073972"/>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7E25E5B7-427C-E27A-E90A-AC244355DA44}"/>
                </a:ext>
              </a:extLst>
            </p:cNvPr>
            <p:cNvGrpSpPr>
              <a:grpSpLocks noChangeAspect="1"/>
            </p:cNvGrpSpPr>
            <p:nvPr/>
          </p:nvGrpSpPr>
          <p:grpSpPr>
            <a:xfrm>
              <a:off x="2209456" y="3369755"/>
              <a:ext cx="502189" cy="514350"/>
              <a:chOff x="6269064" y="627681"/>
              <a:chExt cx="580921" cy="594988"/>
            </a:xfrm>
          </p:grpSpPr>
          <p:sp>
            <p:nvSpPr>
              <p:cNvPr id="22" name="Oval 21">
                <a:extLst>
                  <a:ext uri="{FF2B5EF4-FFF2-40B4-BE49-F238E27FC236}">
                    <a16:creationId xmlns:a16="http://schemas.microsoft.com/office/drawing/2014/main" id="{3A51BC9A-BCE1-97A0-18D6-49CF57D0CD8A}"/>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7" name="Picture 4">
                <a:extLst>
                  <a:ext uri="{FF2B5EF4-FFF2-40B4-BE49-F238E27FC236}">
                    <a16:creationId xmlns:a16="http://schemas.microsoft.com/office/drawing/2014/main" id="{438D3025-5C54-550B-EACA-259306AB15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8" name="Group 27">
            <a:extLst>
              <a:ext uri="{FF2B5EF4-FFF2-40B4-BE49-F238E27FC236}">
                <a16:creationId xmlns:a16="http://schemas.microsoft.com/office/drawing/2014/main" id="{4898BC51-3319-C2AD-9B49-A1ED293B7E86}"/>
              </a:ext>
            </a:extLst>
          </p:cNvPr>
          <p:cNvGrpSpPr/>
          <p:nvPr/>
        </p:nvGrpSpPr>
        <p:grpSpPr>
          <a:xfrm>
            <a:off x="5515570" y="3637469"/>
            <a:ext cx="1019793" cy="1150694"/>
            <a:chOff x="2564960" y="2719938"/>
            <a:chExt cx="1019793" cy="1150694"/>
          </a:xfrm>
        </p:grpSpPr>
        <p:pic>
          <p:nvPicPr>
            <p:cNvPr id="29" name="Picture 12" descr="Planner">
              <a:extLst>
                <a:ext uri="{FF2B5EF4-FFF2-40B4-BE49-F238E27FC236}">
                  <a16:creationId xmlns:a16="http://schemas.microsoft.com/office/drawing/2014/main" id="{100FEF67-A36C-0BCA-52DA-A05E13545D6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4960" y="2719938"/>
              <a:ext cx="1019793" cy="1089324"/>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a:extLst>
                <a:ext uri="{FF2B5EF4-FFF2-40B4-BE49-F238E27FC236}">
                  <a16:creationId xmlns:a16="http://schemas.microsoft.com/office/drawing/2014/main" id="{CFBE3CA0-5DE3-2BAF-1649-3814562D420B}"/>
                </a:ext>
              </a:extLst>
            </p:cNvPr>
            <p:cNvGrpSpPr>
              <a:grpSpLocks noChangeAspect="1"/>
            </p:cNvGrpSpPr>
            <p:nvPr/>
          </p:nvGrpSpPr>
          <p:grpSpPr>
            <a:xfrm>
              <a:off x="3082564" y="3356282"/>
              <a:ext cx="502189" cy="514350"/>
              <a:chOff x="6269064" y="627681"/>
              <a:chExt cx="580921" cy="594988"/>
            </a:xfrm>
          </p:grpSpPr>
          <p:sp>
            <p:nvSpPr>
              <p:cNvPr id="32" name="Oval 31">
                <a:extLst>
                  <a:ext uri="{FF2B5EF4-FFF2-40B4-BE49-F238E27FC236}">
                    <a16:creationId xmlns:a16="http://schemas.microsoft.com/office/drawing/2014/main" id="{67C730FE-E13F-1C9F-FD0A-44F6D9D6799E}"/>
                  </a:ext>
                </a:extLst>
              </p:cNvPr>
              <p:cNvSpPr/>
              <p:nvPr/>
            </p:nvSpPr>
            <p:spPr bwMode="auto">
              <a:xfrm>
                <a:off x="6269064" y="627681"/>
                <a:ext cx="573438" cy="59498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6" name="Picture 4">
                <a:extLst>
                  <a:ext uri="{FF2B5EF4-FFF2-40B4-BE49-F238E27FC236}">
                    <a16:creationId xmlns:a16="http://schemas.microsoft.com/office/drawing/2014/main" id="{60B40D4E-069B-65B8-D7DE-274CB1AC59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485" y="651169"/>
                <a:ext cx="571500" cy="571500"/>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37" name="Picture 14">
            <a:extLst>
              <a:ext uri="{FF2B5EF4-FFF2-40B4-BE49-F238E27FC236}">
                <a16:creationId xmlns:a16="http://schemas.microsoft.com/office/drawing/2014/main" id="{5E828DE4-BD9E-3B3C-7738-0EB17FB0FC6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26234" y="3774047"/>
            <a:ext cx="914400" cy="926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7153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childTnLst>
                          </p:cTn>
                        </p:par>
                        <p:par>
                          <p:cTn id="35" fill="hold">
                            <p:stCondLst>
                              <p:cond delay="500"/>
                            </p:stCondLst>
                            <p:childTnLst>
                              <p:par>
                                <p:cTn id="36" presetID="10" presetClass="entr" presetSubtype="0" fill="hold" grpId="1" nodeType="after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1000"/>
                                        <p:tgtEl>
                                          <p:spTgt spid="43"/>
                                        </p:tgtEl>
                                      </p:cBhvr>
                                    </p:animEffect>
                                  </p:childTnLst>
                                </p:cTn>
                              </p:par>
                              <p:par>
                                <p:cTn id="39" presetID="42" presetClass="path" presetSubtype="0" accel="50000" decel="50000" fill="hold" grpId="0" nodeType="withEffect">
                                  <p:stCondLst>
                                    <p:cond delay="0"/>
                                  </p:stCondLst>
                                  <p:childTnLst>
                                    <p:animMotion origin="layout" path="M -8.33333E-7 -0.05695 L -8.33333E-7 -0.00046 " pathEditMode="relative" rAng="0" ptsTypes="AA">
                                      <p:cBhvr>
                                        <p:cTn id="40" dur="1000" fill="hold"/>
                                        <p:tgtEl>
                                          <p:spTgt spid="43"/>
                                        </p:tgtEl>
                                        <p:attrNameLst>
                                          <p:attrName>ppt_x</p:attrName>
                                          <p:attrName>ppt_y</p:attrName>
                                        </p:attrNameLst>
                                      </p:cBhvr>
                                      <p:rCtr x="0" y="2824"/>
                                    </p:animMotion>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31"/>
                                        </p:tgtEl>
                                        <p:attrNameLst>
                                          <p:attrName>style.visibility</p:attrName>
                                        </p:attrNameLst>
                                      </p:cBhvr>
                                      <p:to>
                                        <p:strVal val="visible"/>
                                      </p:to>
                                    </p:set>
                                    <p:animEffect transition="in" filter="fade">
                                      <p:cBhvr>
                                        <p:cTn id="48" dur="1000"/>
                                        <p:tgtEl>
                                          <p:spTgt spid="31"/>
                                        </p:tgtEl>
                                      </p:cBhvr>
                                    </p:animEffect>
                                  </p:childTnLst>
                                </p:cTn>
                              </p:par>
                              <p:par>
                                <p:cTn id="49" presetID="42" presetClass="path" presetSubtype="0" accel="50000" decel="50000" fill="hold" grpId="1" nodeType="withEffect">
                                  <p:stCondLst>
                                    <p:cond delay="0"/>
                                  </p:stCondLst>
                                  <p:childTnLst>
                                    <p:animMotion origin="layout" path="M 4.58333E-6 -0.05695 L 4.58333E-6 -0.00046 " pathEditMode="relative" rAng="0" ptsTypes="AA">
                                      <p:cBhvr>
                                        <p:cTn id="50" dur="1000" fill="hold"/>
                                        <p:tgtEl>
                                          <p:spTgt spid="31"/>
                                        </p:tgtEl>
                                        <p:attrNameLst>
                                          <p:attrName>ppt_x</p:attrName>
                                          <p:attrName>ppt_y</p:attrName>
                                        </p:attrNameLst>
                                      </p:cBhvr>
                                      <p:rCtr x="0" y="2824"/>
                                    </p:animMotion>
                                  </p:childTnLst>
                                </p:cTn>
                              </p:par>
                            </p:childTnLst>
                          </p:cTn>
                        </p:par>
                        <p:par>
                          <p:cTn id="51" fill="hold">
                            <p:stCondLst>
                              <p:cond delay="3000"/>
                            </p:stCondLst>
                            <p:childTnLst>
                              <p:par>
                                <p:cTn id="52" presetID="10" presetClass="entr" presetSubtype="0" fill="hold" grpId="0" nodeType="after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750"/>
                                        <p:tgtEl>
                                          <p:spTgt spid="44"/>
                                        </p:tgtEl>
                                      </p:cBhvr>
                                    </p:animEffect>
                                  </p:childTnLst>
                                </p:cTn>
                              </p:par>
                              <p:par>
                                <p:cTn id="58" presetID="42" presetClass="path" presetSubtype="0" accel="50000" decel="50000" fill="hold" grpId="1" nodeType="withEffect">
                                  <p:stCondLst>
                                    <p:cond delay="0"/>
                                  </p:stCondLst>
                                  <p:childTnLst>
                                    <p:animMotion origin="layout" path="M 0 -0.05695 L 0 -0.00046 " pathEditMode="relative" rAng="0" ptsTypes="AA">
                                      <p:cBhvr>
                                        <p:cTn id="59" dur="750" fill="hold"/>
                                        <p:tgtEl>
                                          <p:spTgt spid="44"/>
                                        </p:tgtEl>
                                        <p:attrNameLst>
                                          <p:attrName>ppt_x</p:attrName>
                                          <p:attrName>ppt_y</p:attrName>
                                        </p:attrNameLst>
                                      </p:cBhvr>
                                      <p:rCtr x="0" y="2824"/>
                                    </p:animMotion>
                                  </p:childTnLst>
                                </p:cTn>
                              </p:par>
                            </p:childTnLst>
                          </p:cTn>
                        </p:par>
                        <p:par>
                          <p:cTn id="60" fill="hold">
                            <p:stCondLst>
                              <p:cond delay="3750"/>
                            </p:stCondLst>
                            <p:childTnLst>
                              <p:par>
                                <p:cTn id="61" presetID="10" presetClass="entr" presetSubtype="0" fill="hold" grpId="0" nodeType="after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750"/>
                                        <p:tgtEl>
                                          <p:spTgt spid="47"/>
                                        </p:tgtEl>
                                      </p:cBhvr>
                                    </p:animEffect>
                                  </p:childTnLst>
                                </p:cTn>
                              </p:par>
                              <p:par>
                                <p:cTn id="67" presetID="42" presetClass="path" presetSubtype="0" accel="50000" decel="50000" fill="hold" grpId="1" nodeType="withEffect">
                                  <p:stCondLst>
                                    <p:cond delay="0"/>
                                  </p:stCondLst>
                                  <p:childTnLst>
                                    <p:animMotion origin="layout" path="M -4.58333E-6 -0.05695 L -4.58333E-6 -0.00046 " pathEditMode="relative" rAng="0" ptsTypes="AA">
                                      <p:cBhvr>
                                        <p:cTn id="68" dur="750" fill="hold"/>
                                        <p:tgtEl>
                                          <p:spTgt spid="47"/>
                                        </p:tgtEl>
                                        <p:attrNameLst>
                                          <p:attrName>ppt_x</p:attrName>
                                          <p:attrName>ppt_y</p:attrName>
                                        </p:attrNameLst>
                                      </p:cBhvr>
                                      <p:rCtr x="0" y="2824"/>
                                    </p:animMotion>
                                  </p:childTnLst>
                                </p:cTn>
                              </p:par>
                            </p:childTnLst>
                          </p:cTn>
                        </p:par>
                        <p:par>
                          <p:cTn id="69" fill="hold">
                            <p:stCondLst>
                              <p:cond delay="4500"/>
                            </p:stCondLst>
                            <p:childTnLst>
                              <p:par>
                                <p:cTn id="70" presetID="10" presetClass="entr" presetSubtype="0" fill="hold" grpId="0" nodeType="after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500"/>
                                        <p:tgtEl>
                                          <p:spTgt spid="4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fade">
                                      <p:cBhvr>
                                        <p:cTn id="75" dur="750"/>
                                        <p:tgtEl>
                                          <p:spTgt spid="48"/>
                                        </p:tgtEl>
                                      </p:cBhvr>
                                    </p:animEffect>
                                  </p:childTnLst>
                                </p:cTn>
                              </p:par>
                              <p:par>
                                <p:cTn id="76" presetID="42" presetClass="path" presetSubtype="0" accel="50000" decel="50000" fill="hold" grpId="1" nodeType="withEffect">
                                  <p:stCondLst>
                                    <p:cond delay="0"/>
                                  </p:stCondLst>
                                  <p:childTnLst>
                                    <p:animMotion origin="layout" path="M 1.04167E-6 -0.05695 L 1.04167E-6 -0.00046 " pathEditMode="relative" rAng="0" ptsTypes="AA">
                                      <p:cBhvr>
                                        <p:cTn id="77" dur="750" fill="hold"/>
                                        <p:tgtEl>
                                          <p:spTgt spid="48"/>
                                        </p:tgtEl>
                                        <p:attrNameLst>
                                          <p:attrName>ppt_x</p:attrName>
                                          <p:attrName>ppt_y</p:attrName>
                                        </p:attrNameLst>
                                      </p:cBhvr>
                                      <p:rCtr x="0" y="2824"/>
                                    </p:animMotion>
                                  </p:childTnLst>
                                </p:cTn>
                              </p:par>
                            </p:childTnLst>
                          </p:cTn>
                        </p:par>
                        <p:par>
                          <p:cTn id="78" fill="hold">
                            <p:stCondLst>
                              <p:cond delay="5250"/>
                            </p:stCondLst>
                            <p:childTnLst>
                              <p:par>
                                <p:cTn id="79" presetID="10" presetClass="entr" presetSubtype="0" fill="hold" grpId="0" nodeType="afterEffect">
                                  <p:stCondLst>
                                    <p:cond delay="0"/>
                                  </p:stCondLst>
                                  <p:childTnLst>
                                    <p:set>
                                      <p:cBhvr>
                                        <p:cTn id="80" dur="1" fill="hold">
                                          <p:stCondLst>
                                            <p:cond delay="0"/>
                                          </p:stCondLst>
                                        </p:cTn>
                                        <p:tgtEl>
                                          <p:spTgt spid="50"/>
                                        </p:tgtEl>
                                        <p:attrNameLst>
                                          <p:attrName>style.visibility</p:attrName>
                                        </p:attrNameLst>
                                      </p:cBhvr>
                                      <p:to>
                                        <p:strVal val="visible"/>
                                      </p:to>
                                    </p:set>
                                    <p:animEffect transition="in" filter="fade">
                                      <p:cBhvr>
                                        <p:cTn id="8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P spid="31" grpId="0" animBg="1"/>
      <p:bldP spid="31" grpId="1" animBg="1"/>
      <p:bldP spid="44" grpId="0" animBg="1"/>
      <p:bldP spid="44" grpId="1" animBg="1"/>
      <p:bldP spid="47" grpId="0" animBg="1"/>
      <p:bldP spid="47" grpId="1" animBg="1"/>
      <p:bldP spid="48" grpId="0" animBg="1"/>
      <p:bldP spid="48" grpId="1" animBg="1"/>
      <p:bldP spid="40" grpId="0"/>
      <p:bldP spid="34" grpId="0"/>
      <p:bldP spid="38" grpId="0"/>
      <p:bldP spid="35" grpId="0"/>
      <p:bldP spid="39" grpId="0"/>
      <p:bldP spid="46" grpId="0"/>
      <p:bldP spid="41" grpId="0"/>
      <p:bldP spid="49" grpId="0"/>
      <p:bldP spid="42" grpId="0"/>
      <p:bldP spid="5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DBE7A5D7-C5A6-8402-DA62-24E35A648134}"/>
              </a:ext>
              <a:ext uri="{C183D7F6-B498-43B3-948B-1728B52AA6E4}">
                <adec:decorative xmlns:adec="http://schemas.microsoft.com/office/drawing/2017/decorative" val="1"/>
              </a:ext>
            </a:extLst>
          </p:cNvPr>
          <p:cNvSpPr/>
          <p:nvPr/>
        </p:nvSpPr>
        <p:spPr bwMode="auto">
          <a:xfrm>
            <a:off x="7239776" y="1317136"/>
            <a:ext cx="1952171" cy="119062"/>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10" name="Title 1">
            <a:extLst>
              <a:ext uri="{FF2B5EF4-FFF2-40B4-BE49-F238E27FC236}">
                <a16:creationId xmlns:a16="http://schemas.microsoft.com/office/drawing/2014/main" id="{63529E7C-388F-FFDC-1B00-940D0CE9F220}"/>
              </a:ext>
            </a:extLst>
          </p:cNvPr>
          <p:cNvSpPr txBox="1">
            <a:spLocks/>
          </p:cNvSpPr>
          <p:nvPr/>
        </p:nvSpPr>
        <p:spPr>
          <a:xfrm>
            <a:off x="567055" y="2851539"/>
            <a:ext cx="4441827" cy="135421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44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Microsoft Copilot Customer Hub</a:t>
            </a:r>
            <a:endParaRPr kumimoji="0" lang="en-US" sz="44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endParaRPr>
          </a:p>
        </p:txBody>
      </p:sp>
      <p:pic>
        <p:nvPicPr>
          <p:cNvPr id="11"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C3D23391-BD89-72D9-FFC0-EB49E0DFD4ED}"/>
              </a:ext>
            </a:extLst>
          </p:cNvPr>
          <p:cNvPicPr>
            <a:picLocks noChangeAspect="1"/>
          </p:cNvPicPr>
          <p:nvPr/>
        </p:nvPicPr>
        <p:blipFill rotWithShape="1">
          <a:blip r:embed="rId3"/>
          <a:srcRect l="11451" t="32475" r="10216" b="33708"/>
          <a:stretch/>
        </p:blipFill>
        <p:spPr bwMode="black">
          <a:xfrm>
            <a:off x="567055" y="581977"/>
            <a:ext cx="1854200" cy="294217"/>
          </a:xfrm>
          <a:prstGeom prst="rect">
            <a:avLst/>
          </a:prstGeom>
        </p:spPr>
      </p:pic>
      <p:sp>
        <p:nvSpPr>
          <p:cNvPr id="12" name="Text Placeholder 4">
            <a:extLst>
              <a:ext uri="{FF2B5EF4-FFF2-40B4-BE49-F238E27FC236}">
                <a16:creationId xmlns:a16="http://schemas.microsoft.com/office/drawing/2014/main" id="{C051256E-7117-087A-09C3-DDF06768E421}"/>
              </a:ext>
            </a:extLst>
          </p:cNvPr>
          <p:cNvSpPr txBox="1">
            <a:spLocks/>
          </p:cNvSpPr>
          <p:nvPr/>
        </p:nvSpPr>
        <p:spPr>
          <a:xfrm>
            <a:off x="567055" y="2201058"/>
            <a:ext cx="4824095"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Hello and welcome to the </a:t>
            </a:r>
            <a:endParaRPr kumimoji="0" lang="en-GB" sz="2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13" name="Text Placeholder 4">
            <a:extLst>
              <a:ext uri="{FF2B5EF4-FFF2-40B4-BE49-F238E27FC236}">
                <a16:creationId xmlns:a16="http://schemas.microsoft.com/office/drawing/2014/main" id="{463A7DD0-8F46-6171-C53A-D5FFA57C41E8}"/>
              </a:ext>
            </a:extLst>
          </p:cNvPr>
          <p:cNvSpPr txBox="1">
            <a:spLocks/>
          </p:cNvSpPr>
          <p:nvPr/>
        </p:nvSpPr>
        <p:spPr>
          <a:xfrm>
            <a:off x="567055" y="4414651"/>
            <a:ext cx="3498852" cy="21544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e’ll get started at 2 minutes past the hour</a:t>
            </a:r>
          </a:p>
        </p:txBody>
      </p:sp>
      <p:sp>
        <p:nvSpPr>
          <p:cNvPr id="15" name="Rectangle: Top Corners Rounded 14">
            <a:extLst>
              <a:ext uri="{FF2B5EF4-FFF2-40B4-BE49-F238E27FC236}">
                <a16:creationId xmlns:a16="http://schemas.microsoft.com/office/drawing/2014/main" id="{3F99FE4D-BA96-E7E8-E097-F835E5D9C033}"/>
              </a:ext>
              <a:ext uri="{C183D7F6-B498-43B3-948B-1728B52AA6E4}">
                <adec:decorative xmlns:adec="http://schemas.microsoft.com/office/drawing/2017/decorative" val="1"/>
              </a:ext>
            </a:extLst>
          </p:cNvPr>
          <p:cNvSpPr/>
          <p:nvPr/>
        </p:nvSpPr>
        <p:spPr bwMode="auto">
          <a:xfrm rot="16200000">
            <a:off x="6087426" y="171451"/>
            <a:ext cx="5694048" cy="6515100"/>
          </a:xfrm>
          <a:prstGeom prst="round2SameRect">
            <a:avLst>
              <a:gd name="adj1" fmla="val 4221"/>
              <a:gd name="adj2" fmla="val 0"/>
            </a:avLst>
          </a:prstGeom>
          <a:solidFill>
            <a:srgbClr val="F4F3F5">
              <a:alpha val="90000"/>
            </a:srgbClr>
          </a:solidFill>
          <a:ln w="19050">
            <a:solidFill>
              <a:schemeClr val="bg1">
                <a:alpha val="50000"/>
              </a:schemeClr>
            </a:solidFill>
            <a:headEnd type="none" w="med" len="med"/>
            <a:tailEnd type="none" w="med" len="med"/>
          </a:ln>
          <a:effectLst>
            <a:outerShdw blurRad="190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err="1">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pic>
        <p:nvPicPr>
          <p:cNvPr id="16" name="Picture 15" descr="Two people having a discussion in an office">
            <a:extLst>
              <a:ext uri="{FF2B5EF4-FFF2-40B4-BE49-F238E27FC236}">
                <a16:creationId xmlns:a16="http://schemas.microsoft.com/office/drawing/2014/main" id="{196AD636-5286-64D7-E57C-BA99438562B5}"/>
              </a:ext>
              <a:ext uri="{C183D7F6-B498-43B3-948B-1728B52AA6E4}">
                <adec:decorative xmlns:adec="http://schemas.microsoft.com/office/drawing/2017/decorative" val="0"/>
              </a:ext>
            </a:extLst>
          </p:cNvPr>
          <p:cNvPicPr>
            <a:picLocks noChangeAspect="1"/>
          </p:cNvPicPr>
          <p:nvPr/>
        </p:nvPicPr>
        <p:blipFill>
          <a:blip r:embed="rId4"/>
          <a:srcRect l="10363" r="10363"/>
          <a:stretch>
            <a:fillRect/>
          </a:stretch>
        </p:blipFill>
        <p:spPr>
          <a:xfrm>
            <a:off x="5867401" y="769621"/>
            <a:ext cx="6324600" cy="5318762"/>
          </a:xfrm>
          <a:custGeom>
            <a:avLst/>
            <a:gdLst>
              <a:gd name="connsiteX0" fmla="*/ 149244 w 6324600"/>
              <a:gd name="connsiteY0" fmla="*/ 0 h 5318762"/>
              <a:gd name="connsiteX1" fmla="*/ 6324600 w 6324600"/>
              <a:gd name="connsiteY1" fmla="*/ 0 h 5318762"/>
              <a:gd name="connsiteX2" fmla="*/ 6324600 w 6324600"/>
              <a:gd name="connsiteY2" fmla="*/ 5318762 h 5318762"/>
              <a:gd name="connsiteX3" fmla="*/ 149244 w 6324600"/>
              <a:gd name="connsiteY3" fmla="*/ 5318762 h 5318762"/>
              <a:gd name="connsiteX4" fmla="*/ 0 w 6324600"/>
              <a:gd name="connsiteY4" fmla="*/ 5169518 h 5318762"/>
              <a:gd name="connsiteX5" fmla="*/ 0 w 6324600"/>
              <a:gd name="connsiteY5" fmla="*/ 149243 h 5318762"/>
              <a:gd name="connsiteX6" fmla="*/ 149244 w 6324600"/>
              <a:gd name="connsiteY6" fmla="*/ 0 h 531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600" h="5318762">
                <a:moveTo>
                  <a:pt x="149244" y="0"/>
                </a:moveTo>
                <a:lnTo>
                  <a:pt x="6324600" y="0"/>
                </a:lnTo>
                <a:lnTo>
                  <a:pt x="6324600" y="5318762"/>
                </a:lnTo>
                <a:lnTo>
                  <a:pt x="149244" y="5318762"/>
                </a:lnTo>
                <a:cubicBezTo>
                  <a:pt x="66819" y="5318762"/>
                  <a:pt x="0" y="5251943"/>
                  <a:pt x="0" y="5169518"/>
                </a:cubicBezTo>
                <a:lnTo>
                  <a:pt x="0" y="149243"/>
                </a:lnTo>
                <a:cubicBezTo>
                  <a:pt x="0" y="66818"/>
                  <a:pt x="66819" y="0"/>
                  <a:pt x="149244" y="0"/>
                </a:cubicBezTo>
                <a:close/>
              </a:path>
            </a:pathLst>
          </a:custGeom>
        </p:spPr>
      </p:pic>
    </p:spTree>
    <p:extLst>
      <p:ext uri="{BB962C8B-B14F-4D97-AF65-F5344CB8AC3E}">
        <p14:creationId xmlns:p14="http://schemas.microsoft.com/office/powerpoint/2010/main" val="3914042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500" fill="hold"/>
                                        <p:tgtEl>
                                          <p:spTgt spid="10"/>
                                        </p:tgtEl>
                                        <p:attrNameLst>
                                          <p:attrName>ppt_w</p:attrName>
                                        </p:attrNameLst>
                                      </p:cBhvr>
                                      <p:tavLst>
                                        <p:tav tm="0">
                                          <p:val>
                                            <p:fltVal val="0"/>
                                          </p:val>
                                        </p:tav>
                                        <p:tav tm="100000">
                                          <p:val>
                                            <p:strVal val="#ppt_w"/>
                                          </p:val>
                                        </p:tav>
                                      </p:tavLst>
                                    </p:anim>
                                    <p:anim calcmode="lin" valueType="num">
                                      <p:cBhvr>
                                        <p:cTn id="13" dur="500" fill="hold"/>
                                        <p:tgtEl>
                                          <p:spTgt spid="10"/>
                                        </p:tgtEl>
                                        <p:attrNameLst>
                                          <p:attrName>ppt_h</p:attrName>
                                        </p:attrNameLst>
                                      </p:cBhvr>
                                      <p:tavLst>
                                        <p:tav tm="0">
                                          <p:val>
                                            <p:fltVal val="0"/>
                                          </p:val>
                                        </p:tav>
                                        <p:tav tm="100000">
                                          <p:val>
                                            <p:strVal val="#ppt_h"/>
                                          </p:val>
                                        </p:tav>
                                      </p:tavLst>
                                    </p:anim>
                                    <p:animEffect transition="in" filter="fade">
                                      <p:cBhvr>
                                        <p:cTn id="14" dur="500"/>
                                        <p:tgtEl>
                                          <p:spTgt spid="1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500" fill="hold"/>
                                        <p:tgtEl>
                                          <p:spTgt spid="13"/>
                                        </p:tgtEl>
                                        <p:attrNameLst>
                                          <p:attrName>ppt_w</p:attrName>
                                        </p:attrNameLst>
                                      </p:cBhvr>
                                      <p:tavLst>
                                        <p:tav tm="0">
                                          <p:val>
                                            <p:fltVal val="0"/>
                                          </p:val>
                                        </p:tav>
                                        <p:tav tm="100000">
                                          <p:val>
                                            <p:strVal val="#ppt_w"/>
                                          </p:val>
                                        </p:tav>
                                      </p:tavLst>
                                    </p:anim>
                                    <p:anim calcmode="lin" valueType="num">
                                      <p:cBhvr>
                                        <p:cTn id="18" dur="500" fill="hold"/>
                                        <p:tgtEl>
                                          <p:spTgt spid="13"/>
                                        </p:tgtEl>
                                        <p:attrNameLst>
                                          <p:attrName>ppt_h</p:attrName>
                                        </p:attrNameLst>
                                      </p:cBhvr>
                                      <p:tavLst>
                                        <p:tav tm="0">
                                          <p:val>
                                            <p:fltVal val="0"/>
                                          </p:val>
                                        </p:tav>
                                        <p:tav tm="100000">
                                          <p:val>
                                            <p:strVal val="#ppt_h"/>
                                          </p:val>
                                        </p:tav>
                                      </p:tavLst>
                                    </p:anim>
                                    <p:animEffect transition="in" filter="fade">
                                      <p:cBhvr>
                                        <p:cTn id="19" dur="500"/>
                                        <p:tgtEl>
                                          <p:spTgt spid="13"/>
                                        </p:tgtEl>
                                      </p:cBhvr>
                                    </p:animEffect>
                                  </p:childTnLst>
                                </p:cTn>
                              </p:par>
                              <p:par>
                                <p:cTn id="20" presetID="53" presetClass="entr" presetSubtype="16" fill="hold" nodeType="with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p:cTn id="22" dur="500" fill="hold"/>
                                        <p:tgtEl>
                                          <p:spTgt spid="16"/>
                                        </p:tgtEl>
                                        <p:attrNameLst>
                                          <p:attrName>ppt_w</p:attrName>
                                        </p:attrNameLst>
                                      </p:cBhvr>
                                      <p:tavLst>
                                        <p:tav tm="0">
                                          <p:val>
                                            <p:fltVal val="0"/>
                                          </p:val>
                                        </p:tav>
                                        <p:tav tm="100000">
                                          <p:val>
                                            <p:strVal val="#ppt_w"/>
                                          </p:val>
                                        </p:tav>
                                      </p:tavLst>
                                    </p:anim>
                                    <p:anim calcmode="lin" valueType="num">
                                      <p:cBhvr>
                                        <p:cTn id="23" dur="500" fill="hold"/>
                                        <p:tgtEl>
                                          <p:spTgt spid="16"/>
                                        </p:tgtEl>
                                        <p:attrNameLst>
                                          <p:attrName>ppt_h</p:attrName>
                                        </p:attrNameLst>
                                      </p:cBhvr>
                                      <p:tavLst>
                                        <p:tav tm="0">
                                          <p:val>
                                            <p:fltVal val="0"/>
                                          </p:val>
                                        </p:tav>
                                        <p:tav tm="100000">
                                          <p:val>
                                            <p:strVal val="#ppt_h"/>
                                          </p:val>
                                        </p:tav>
                                      </p:tavLst>
                                    </p:anim>
                                    <p:animEffect transition="in" filter="fade">
                                      <p:cBhvr>
                                        <p:cTn id="24" dur="500"/>
                                        <p:tgtEl>
                                          <p:spTgt spid="1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p:cTn id="27" dur="500" fill="hold"/>
                                        <p:tgtEl>
                                          <p:spTgt spid="15"/>
                                        </p:tgtEl>
                                        <p:attrNameLst>
                                          <p:attrName>ppt_w</p:attrName>
                                        </p:attrNameLst>
                                      </p:cBhvr>
                                      <p:tavLst>
                                        <p:tav tm="0">
                                          <p:val>
                                            <p:fltVal val="0"/>
                                          </p:val>
                                        </p:tav>
                                        <p:tav tm="100000">
                                          <p:val>
                                            <p:strVal val="#ppt_w"/>
                                          </p:val>
                                        </p:tav>
                                      </p:tavLst>
                                    </p:anim>
                                    <p:anim calcmode="lin" valueType="num">
                                      <p:cBhvr>
                                        <p:cTn id="28" dur="500" fill="hold"/>
                                        <p:tgtEl>
                                          <p:spTgt spid="15"/>
                                        </p:tgtEl>
                                        <p:attrNameLst>
                                          <p:attrName>ppt_h</p:attrName>
                                        </p:attrNameLst>
                                      </p:cBhvr>
                                      <p:tavLst>
                                        <p:tav tm="0">
                                          <p:val>
                                            <p:fltVal val="0"/>
                                          </p:val>
                                        </p:tav>
                                        <p:tav tm="100000">
                                          <p:val>
                                            <p:strVal val="#ppt_h"/>
                                          </p:val>
                                        </p:tav>
                                      </p:tavLst>
                                    </p:anim>
                                    <p:animEffect transition="in" filter="fade">
                                      <p:cBhvr>
                                        <p:cTn id="2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4029F5-87C0-0193-11F5-CDAE289550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A96040-D468-A405-3253-28B8D1585C3A}"/>
              </a:ext>
            </a:extLst>
          </p:cNvPr>
          <p:cNvSpPr>
            <a:spLocks noGrp="1"/>
          </p:cNvSpPr>
          <p:nvPr>
            <p:ph type="title"/>
          </p:nvPr>
        </p:nvSpPr>
        <p:spPr>
          <a:xfrm>
            <a:off x="583911" y="1475307"/>
            <a:ext cx="3693160" cy="738664"/>
          </a:xfrm>
        </p:spPr>
        <p:txBody>
          <a:bodyPr>
            <a:normAutofit/>
          </a:bodyPr>
          <a:lstStyle/>
          <a:p>
            <a:r>
              <a:rPr lang="en-US">
                <a:solidFill>
                  <a:srgbClr val="000000"/>
                </a:solidFill>
                <a:latin typeface="Segoe Sans Display Semibold"/>
                <a:cs typeface="Segoe Sans Display Semibold"/>
              </a:rPr>
              <a:t>Analyst agent</a:t>
            </a:r>
            <a:endParaRPr lang="en-US"/>
          </a:p>
        </p:txBody>
      </p:sp>
      <p:sp>
        <p:nvSpPr>
          <p:cNvPr id="13" name="Rectangle 12">
            <a:extLst>
              <a:ext uri="{FF2B5EF4-FFF2-40B4-BE49-F238E27FC236}">
                <a16:creationId xmlns:a16="http://schemas.microsoft.com/office/drawing/2014/main" id="{29C4564E-698B-5337-1725-740D333C9BEC}"/>
              </a:ext>
            </a:extLst>
          </p:cNvPr>
          <p:cNvSpPr/>
          <p:nvPr/>
        </p:nvSpPr>
        <p:spPr>
          <a:xfrm>
            <a:off x="583187" y="2085124"/>
            <a:ext cx="3693884" cy="3297569"/>
          </a:xfrm>
          <a:prstGeom prst="rect">
            <a:avLst/>
          </a:prstGeom>
          <a:noFill/>
        </p:spPr>
        <p:txBody>
          <a:bodyPr wrap="square" lIns="0" tIns="0" rIns="0" bIns="0" anchor="t">
            <a:spAutoFit/>
          </a:bodyPr>
          <a:lstStyle/>
          <a:p>
            <a:pPr defTabSz="914367">
              <a:lnSpc>
                <a:spcPct val="113999"/>
              </a:lnSpc>
              <a:spcAft>
                <a:spcPts val="1000"/>
              </a:spcAft>
              <a:defRPr/>
            </a:pPr>
            <a:r>
              <a:rPr kumimoji="0" lang="en-US" sz="1400" b="0" i="0" u="none" strike="noStrike" kern="1200" cap="none" spc="0" normalizeH="0" baseline="0" noProof="0">
                <a:ln>
                  <a:noFill/>
                </a:ln>
                <a:solidFill>
                  <a:srgbClr val="000000"/>
                </a:solidFill>
                <a:effectLst/>
                <a:uLnTx/>
                <a:uFillTx/>
                <a:latin typeface="Segoe Sans Display"/>
                <a:ea typeface="+mj-lt"/>
                <a:cs typeface="Segoe Sans Display"/>
              </a:rPr>
              <a:t>Leveraging a state-of-the-art reasoning model Microsoft has optimized for advanced data analysis, </a:t>
            </a:r>
            <a:r>
              <a:rPr lang="en-US" sz="1400">
                <a:solidFill>
                  <a:srgbClr val="000000"/>
                </a:solidFill>
                <a:latin typeface="Segoe Sans Display"/>
                <a:ea typeface="+mj-lt"/>
                <a:cs typeface="Segoe Sans Display"/>
              </a:rPr>
              <a:t>organizations get the power of a highly-skilled, on-demand data analyst. Users are empowered to </a:t>
            </a:r>
            <a:r>
              <a:rPr kumimoji="0" lang="en-US" sz="1400" b="0" i="0" u="none" strike="noStrike" kern="1200" cap="none" spc="0" normalizeH="0" baseline="0" noProof="0">
                <a:ln>
                  <a:noFill/>
                </a:ln>
                <a:solidFill>
                  <a:srgbClr val="000000"/>
                </a:solidFill>
                <a:effectLst/>
                <a:uLnTx/>
                <a:uFillTx/>
                <a:latin typeface="Segoe Sans Display"/>
                <a:ea typeface="+mj-lt"/>
                <a:cs typeface="Segoe Sans Display"/>
              </a:rPr>
              <a:t>unlock powerful insights across their work</a:t>
            </a:r>
            <a:r>
              <a:rPr lang="en-US" sz="1400">
                <a:solidFill>
                  <a:srgbClr val="000000"/>
                </a:solidFill>
                <a:latin typeface="Segoe Sans Display"/>
                <a:ea typeface="+mj-lt"/>
                <a:cs typeface="Segoe Sans Display"/>
              </a:rPr>
              <a:t> data, giving both</a:t>
            </a:r>
            <a:r>
              <a:rPr kumimoji="0" lang="en-US" sz="1400" b="0" i="0" u="none" strike="noStrike" kern="1200" cap="none" spc="0" normalizeH="0" baseline="0" noProof="0">
                <a:ln>
                  <a:noFill/>
                </a:ln>
                <a:solidFill>
                  <a:srgbClr val="000000"/>
                </a:solidFill>
                <a:effectLst/>
                <a:uLnTx/>
                <a:uFillTx/>
                <a:latin typeface="Segoe Sans Display"/>
                <a:ea typeface="+mj-lt"/>
                <a:cs typeface="Segoe Sans Display"/>
              </a:rPr>
              <a:t> data</a:t>
            </a:r>
            <a:r>
              <a:rPr lang="en-US" sz="1400">
                <a:solidFill>
                  <a:srgbClr val="000000"/>
                </a:solidFill>
                <a:latin typeface="Segoe Sans Display"/>
                <a:ea typeface="+mj-lt"/>
                <a:cs typeface="Segoe Sans Display"/>
              </a:rPr>
              <a:t> novices and data professionals a powerful new tool </a:t>
            </a:r>
            <a:r>
              <a:rPr kumimoji="0" lang="en-US" sz="1400" b="0" i="0" u="none" strike="noStrike" kern="1200" cap="none" spc="0" normalizeH="0" baseline="0" noProof="0">
                <a:ln>
                  <a:noFill/>
                </a:ln>
                <a:solidFill>
                  <a:srgbClr val="000000"/>
                </a:solidFill>
                <a:effectLst/>
                <a:uLnTx/>
                <a:uFillTx/>
                <a:latin typeface="Segoe Sans Display"/>
                <a:ea typeface="+mj-lt"/>
                <a:cs typeface="Segoe Sans Display"/>
              </a:rPr>
              <a:t>.</a:t>
            </a:r>
          </a:p>
          <a:p>
            <a:pPr marL="0" marR="0" lvl="0" indent="0" algn="l" defTabSz="914367" rtl="0" eaLnBrk="1" fontAlgn="auto" latinLnBrk="0" hangingPunct="1">
              <a:lnSpc>
                <a:spcPct val="113999"/>
              </a:lnSpc>
              <a:spcBef>
                <a:spcPts val="0"/>
              </a:spcBef>
              <a:spcAft>
                <a:spcPts val="1000"/>
              </a:spcAft>
              <a:buClrTx/>
              <a:buSzTx/>
              <a:buFontTx/>
              <a:buNone/>
              <a:tabLst/>
              <a:defRPr/>
            </a:pPr>
            <a:r>
              <a:rPr lang="en-US" sz="1400">
                <a:solidFill>
                  <a:srgbClr val="000000"/>
                </a:solidFill>
                <a:latin typeface="Segoe Sans Display"/>
                <a:ea typeface="+mj-lt"/>
                <a:cs typeface="Segoe Sans Display"/>
              </a:rPr>
              <a:t>The Analyst agent uses a Python reasoning engine to help users make sense of complex data across documents and spreadsheets,  including the ability to generate advanced data visualizations.</a:t>
            </a: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7" name="Straight Connector 6">
            <a:extLst>
              <a:ext uri="{FF2B5EF4-FFF2-40B4-BE49-F238E27FC236}">
                <a16:creationId xmlns:a16="http://schemas.microsoft.com/office/drawing/2014/main" id="{3317ECBC-A1AF-ECBE-A730-0CF56DF9C670}"/>
              </a:ext>
              <a:ext uri="{C183D7F6-B498-43B3-948B-1728B52AA6E4}">
                <adec:decorative xmlns:adec="http://schemas.microsoft.com/office/drawing/2017/decorative" val="1"/>
              </a:ext>
            </a:extLst>
          </p:cNvPr>
          <p:cNvCxnSpPr>
            <a:cxnSpLocks/>
          </p:cNvCxnSpPr>
          <p:nvPr/>
        </p:nvCxnSpPr>
        <p:spPr>
          <a:xfrm>
            <a:off x="583187" y="5760512"/>
            <a:ext cx="3364992" cy="19050"/>
          </a:xfrm>
          <a:prstGeom prst="line">
            <a:avLst/>
          </a:prstGeom>
          <a:ln w="19050">
            <a:gradFill flip="none" rotWithShape="1">
              <a:gsLst>
                <a:gs pos="2000">
                  <a:srgbClr val="0078D4"/>
                </a:gs>
                <a:gs pos="32996">
                  <a:srgbClr val="2DB4FF"/>
                </a:gs>
                <a:gs pos="73000">
                  <a:srgbClr val="818EFF"/>
                </a:gs>
                <a:gs pos="97000">
                  <a:srgbClr val="D660FF"/>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 name="Picture 4" descr="A screenshot of a computer&#10;&#10;AI-generated content may be incorrect.">
            <a:extLst>
              <a:ext uri="{FF2B5EF4-FFF2-40B4-BE49-F238E27FC236}">
                <a16:creationId xmlns:a16="http://schemas.microsoft.com/office/drawing/2014/main" id="{28BC30F2-84B2-6A50-1BBD-B681E079A416}"/>
              </a:ext>
            </a:extLst>
          </p:cNvPr>
          <p:cNvPicPr>
            <a:picLocks noChangeAspect="1"/>
          </p:cNvPicPr>
          <p:nvPr/>
        </p:nvPicPr>
        <p:blipFill>
          <a:blip r:embed="rId3"/>
          <a:stretch>
            <a:fillRect/>
          </a:stretch>
        </p:blipFill>
        <p:spPr>
          <a:xfrm>
            <a:off x="4856214" y="1686326"/>
            <a:ext cx="6998608" cy="3936717"/>
          </a:xfrm>
          <a:prstGeom prst="rect">
            <a:avLst/>
          </a:prstGeom>
        </p:spPr>
      </p:pic>
      <p:sp>
        <p:nvSpPr>
          <p:cNvPr id="10" name="TextBox 9">
            <a:extLst>
              <a:ext uri="{FF2B5EF4-FFF2-40B4-BE49-F238E27FC236}">
                <a16:creationId xmlns:a16="http://schemas.microsoft.com/office/drawing/2014/main" id="{173BBC49-C451-BDB4-41A7-3B73B6C28D5C}"/>
              </a:ext>
              <a:ext uri="{C183D7F6-B498-43B3-948B-1728B52AA6E4}">
                <adec:decorative xmlns:adec="http://schemas.microsoft.com/office/drawing/2017/decorative" val="1"/>
              </a:ext>
            </a:extLst>
          </p:cNvPr>
          <p:cNvSpPr txBox="1"/>
          <p:nvPr/>
        </p:nvSpPr>
        <p:spPr>
          <a:xfrm>
            <a:off x="583187" y="536401"/>
            <a:ext cx="2743200" cy="246221"/>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gradFill>
                  <a:gsLst>
                    <a:gs pos="33000">
                      <a:srgbClr val="2DB4FF"/>
                    </a:gs>
                    <a:gs pos="71000">
                      <a:srgbClr val="818EFF"/>
                    </a:gs>
                    <a:gs pos="99000">
                      <a:srgbClr val="D660FF"/>
                    </a:gs>
                    <a:gs pos="971">
                      <a:srgbClr val="0078D4"/>
                    </a:gs>
                  </a:gsLst>
                  <a:lin ang="2700000" scaled="0"/>
                </a:gradFill>
                <a:effectLst/>
                <a:uLnTx/>
                <a:uFillTx/>
                <a:latin typeface="Segoe Sans Display"/>
                <a:ea typeface="+mn-ea"/>
                <a:cs typeface="Segoe Sans Display"/>
              </a:rPr>
              <a:t>Deep Reasoning</a:t>
            </a:r>
            <a:endParaRPr kumimoji="0" lang="en-US" sz="1600" b="1" i="0" u="none" strike="noStrike" kern="1200" cap="none" spc="0" normalizeH="0" baseline="0" noProof="0">
              <a:ln>
                <a:noFill/>
              </a:ln>
              <a:gradFill>
                <a:gsLst>
                  <a:gs pos="33000">
                    <a:srgbClr val="2DB4FF"/>
                  </a:gs>
                  <a:gs pos="71000">
                    <a:srgbClr val="818EFF"/>
                  </a:gs>
                  <a:gs pos="99000">
                    <a:srgbClr val="D660FF"/>
                  </a:gs>
                  <a:gs pos="971">
                    <a:srgbClr val="0078D4"/>
                  </a:gs>
                </a:gsLst>
                <a:lin ang="2700000" scaled="0"/>
              </a:gradFill>
              <a:effectLst/>
              <a:uLnTx/>
              <a:uFillTx/>
              <a:latin typeface="Segoe Sans Display" pitchFamily="2" charset="0"/>
              <a:ea typeface="+mn-ea"/>
              <a:cs typeface="Segoe Sans Display" pitchFamily="2" charset="0"/>
            </a:endParaRPr>
          </a:p>
        </p:txBody>
      </p:sp>
      <p:sp>
        <p:nvSpPr>
          <p:cNvPr id="4" name="TextBox 3">
            <a:extLst>
              <a:ext uri="{FF2B5EF4-FFF2-40B4-BE49-F238E27FC236}">
                <a16:creationId xmlns:a16="http://schemas.microsoft.com/office/drawing/2014/main" id="{73C6EB64-DA8A-362D-0080-E653EC80308D}"/>
              </a:ext>
            </a:extLst>
          </p:cNvPr>
          <p:cNvSpPr txBox="1"/>
          <p:nvPr/>
        </p:nvSpPr>
        <p:spPr>
          <a:xfrm>
            <a:off x="8251155" y="6468189"/>
            <a:ext cx="3940845" cy="246221"/>
          </a:xfrm>
          <a:prstGeom prst="rect">
            <a:avLst/>
          </a:prstGeom>
          <a:noFill/>
        </p:spPr>
        <p:txBody>
          <a:bodyPr wrap="square" lIns="0" tIns="0" rIns="0" bIns="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800" b="0" i="0" u="none" strike="noStrike" kern="1200" cap="all" spc="0" normalizeH="0" baseline="0" noProof="0">
                <a:ln>
                  <a:noFill/>
                </a:ln>
                <a:solidFill>
                  <a:srgbClr val="C00000"/>
                </a:solidFill>
                <a:effectLst/>
                <a:uLnTx/>
                <a:uFillTx/>
                <a:latin typeface="Segoe Sans Display Semibold" pitchFamily="2" charset="0"/>
                <a:ea typeface="+mn-ea"/>
                <a:cs typeface="Segoe Sans Display Semibold" pitchFamily="2" charset="0"/>
              </a:rPr>
            </a:br>
            <a:r>
              <a:rPr kumimoji="0" lang="en-US" sz="800" b="0" i="0" u="none" strike="noStrike" kern="1200" cap="none" spc="0" normalizeH="0" baseline="0" noProof="0">
                <a:ln>
                  <a:noFill/>
                </a:ln>
                <a:solidFill>
                  <a:srgbClr val="091F2C"/>
                </a:solidFill>
                <a:effectLst/>
                <a:uLnTx/>
                <a:uFillTx/>
                <a:latin typeface="Segoe Sans Display" pitchFamily="2" charset="0"/>
                <a:ea typeface="+mn-ea"/>
                <a:cs typeface="Segoe Sans Display" pitchFamily="2" charset="0"/>
              </a:rPr>
              <a:t>Screenshots are intended to be conceptual and not indicative of future product UI.</a:t>
            </a:r>
          </a:p>
        </p:txBody>
      </p:sp>
    </p:spTree>
    <p:extLst>
      <p:ext uri="{BB962C8B-B14F-4D97-AF65-F5344CB8AC3E}">
        <p14:creationId xmlns:p14="http://schemas.microsoft.com/office/powerpoint/2010/main" val="402994961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214520-8DC0-CD87-A9B9-66DF0BD5915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9F4542-D029-1259-2D56-CA5CDFF22077}"/>
              </a:ext>
            </a:extLst>
          </p:cNvPr>
          <p:cNvSpPr>
            <a:spLocks noGrp="1"/>
          </p:cNvSpPr>
          <p:nvPr>
            <p:ph type="title"/>
          </p:nvPr>
        </p:nvSpPr>
        <p:spPr>
          <a:xfrm>
            <a:off x="583186" y="1572424"/>
            <a:ext cx="3840508" cy="369332"/>
          </a:xfrm>
        </p:spPr>
        <p:txBody>
          <a:bodyPr/>
          <a:lstStyle/>
          <a:p>
            <a:r>
              <a:rPr kumimoji="0" lang="en-US" sz="2400" u="none" strike="noStrike" kern="1200" cap="none" spc="0" normalizeH="0" baseline="0" noProof="0">
                <a:ln w="3175">
                  <a:noFill/>
                </a:ln>
                <a:solidFill>
                  <a:srgbClr val="000000"/>
                </a:solidFill>
                <a:effectLst/>
                <a:uLnTx/>
                <a:uFillTx/>
                <a:latin typeface="Segoe Sans Display Semibold"/>
                <a:cs typeface="Segoe Sans Display Semibold"/>
              </a:rPr>
              <a:t>Researcher</a:t>
            </a:r>
            <a:r>
              <a:rPr lang="en-US" spc="0">
                <a:solidFill>
                  <a:srgbClr val="000000"/>
                </a:solidFill>
                <a:latin typeface="Segoe Sans Display Semibold"/>
                <a:cs typeface="Segoe Sans Display Semibold"/>
              </a:rPr>
              <a:t> agent</a:t>
            </a:r>
            <a:endParaRPr kumimoji="0" lang="en-US" sz="2400" u="none" strike="noStrike" kern="1200" cap="none" spc="0" normalizeH="0" baseline="0" noProof="0">
              <a:ln w="3175">
                <a:noFill/>
              </a:ln>
              <a:solidFill>
                <a:srgbClr val="000000"/>
              </a:solidFill>
              <a:effectLst/>
              <a:uLnTx/>
              <a:uFillTx/>
            </a:endParaRPr>
          </a:p>
        </p:txBody>
      </p:sp>
      <p:sp>
        <p:nvSpPr>
          <p:cNvPr id="13" name="Rectangle 12">
            <a:extLst>
              <a:ext uri="{FF2B5EF4-FFF2-40B4-BE49-F238E27FC236}">
                <a16:creationId xmlns:a16="http://schemas.microsoft.com/office/drawing/2014/main" id="{6573EEDA-01C3-6DDC-FBAB-96128747DDDC}"/>
              </a:ext>
            </a:extLst>
          </p:cNvPr>
          <p:cNvSpPr/>
          <p:nvPr/>
        </p:nvSpPr>
        <p:spPr>
          <a:xfrm>
            <a:off x="583186" y="2286000"/>
            <a:ext cx="3364991" cy="1723549"/>
          </a:xfrm>
          <a:prstGeom prst="rect">
            <a:avLst/>
          </a:prstGeom>
          <a:noFill/>
        </p:spPr>
        <p:txBody>
          <a:bodyPr wrap="square" lIns="0" tIns="0" rIns="0" bIns="0" anchor="t">
            <a:spAutoFit/>
          </a:bodyPr>
          <a:lstStyle/>
          <a:p>
            <a:pPr defTabSz="914367">
              <a:spcAft>
                <a:spcPts val="1000"/>
              </a:spcAft>
              <a:defRPr/>
            </a:pPr>
            <a:r>
              <a:rPr kumimoji="0" lang="en-US" sz="1400" b="0" i="0" u="none" strike="noStrike" kern="1200" cap="none" spc="0" normalizeH="0" baseline="0" noProof="0">
                <a:ln>
                  <a:noFill/>
                </a:ln>
                <a:solidFill>
                  <a:srgbClr val="000000"/>
                </a:solidFill>
                <a:effectLst/>
                <a:uLnTx/>
                <a:uFillTx/>
                <a:latin typeface="Segoe UI"/>
                <a:ea typeface="+mj-lt"/>
                <a:cs typeface="Segoe Sans Display"/>
              </a:rPr>
              <a:t>The Researcher agent empowers organizations with the strategic insights and deep reasoning capabilities of a highly paid </a:t>
            </a:r>
            <a:r>
              <a:rPr lang="en-US" sz="1400">
                <a:solidFill>
                  <a:srgbClr val="000000"/>
                </a:solidFill>
                <a:latin typeface="Segoe UI"/>
                <a:ea typeface="+mj-lt"/>
                <a:cs typeface="Segoe Sans Display"/>
              </a:rPr>
              <a:t>research analyst</a:t>
            </a:r>
            <a:r>
              <a:rPr kumimoji="0" lang="en-US" sz="1400" b="0" i="0" u="none" strike="noStrike" kern="1200" cap="none" spc="0" normalizeH="0" baseline="0" noProof="0">
                <a:ln>
                  <a:noFill/>
                </a:ln>
                <a:solidFill>
                  <a:srgbClr val="000000"/>
                </a:solidFill>
                <a:effectLst/>
                <a:uLnTx/>
                <a:uFillTx/>
                <a:latin typeface="Segoe UI"/>
                <a:ea typeface="+mj-lt"/>
                <a:cs typeface="Segoe Sans Display"/>
              </a:rPr>
              <a:t>, seamlessly integrating deep research models with work </a:t>
            </a:r>
            <a:r>
              <a:rPr lang="en-US" sz="1400">
                <a:solidFill>
                  <a:srgbClr val="000000"/>
                </a:solidFill>
                <a:latin typeface="Segoe UI"/>
                <a:ea typeface="+mj-lt"/>
                <a:cs typeface="Segoe Sans Display"/>
              </a:rPr>
              <a:t>data, the web, and other agents to  make informed decisions and develop strategic insights. </a:t>
            </a:r>
            <a:endParaRPr lang="en-US" sz="1400">
              <a:solidFill>
                <a:srgbClr val="000000"/>
              </a:solidFill>
              <a:latin typeface="Segoe UI"/>
              <a:ea typeface="+mj-lt"/>
              <a:cs typeface="Segoe UI"/>
            </a:endParaRPr>
          </a:p>
        </p:txBody>
      </p:sp>
      <p:cxnSp>
        <p:nvCxnSpPr>
          <p:cNvPr id="4" name="Straight Connector 3">
            <a:extLst>
              <a:ext uri="{FF2B5EF4-FFF2-40B4-BE49-F238E27FC236}">
                <a16:creationId xmlns:a16="http://schemas.microsoft.com/office/drawing/2014/main" id="{49AFF496-2D69-030B-B4C0-AC393881BC6D}"/>
              </a:ext>
              <a:ext uri="{C183D7F6-B498-43B3-948B-1728B52AA6E4}">
                <adec:decorative xmlns:adec="http://schemas.microsoft.com/office/drawing/2017/decorative" val="1"/>
              </a:ext>
            </a:extLst>
          </p:cNvPr>
          <p:cNvCxnSpPr>
            <a:cxnSpLocks/>
          </p:cNvCxnSpPr>
          <p:nvPr/>
        </p:nvCxnSpPr>
        <p:spPr>
          <a:xfrm>
            <a:off x="583186" y="5067370"/>
            <a:ext cx="3364992" cy="19050"/>
          </a:xfrm>
          <a:prstGeom prst="line">
            <a:avLst/>
          </a:prstGeom>
          <a:ln w="19050">
            <a:gradFill flip="none" rotWithShape="1">
              <a:gsLst>
                <a:gs pos="2000">
                  <a:srgbClr val="0078D4"/>
                </a:gs>
                <a:gs pos="32996">
                  <a:srgbClr val="2DB4FF"/>
                </a:gs>
                <a:gs pos="73000">
                  <a:srgbClr val="818EFF"/>
                </a:gs>
                <a:gs pos="97000">
                  <a:srgbClr val="D660FF"/>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558F426-B553-DE45-9E67-DCB0FFD3828B}"/>
              </a:ext>
              <a:ext uri="{C183D7F6-B498-43B3-948B-1728B52AA6E4}">
                <adec:decorative xmlns:adec="http://schemas.microsoft.com/office/drawing/2017/decorative" val="1"/>
              </a:ext>
            </a:extLst>
          </p:cNvPr>
          <p:cNvSpPr txBox="1"/>
          <p:nvPr/>
        </p:nvSpPr>
        <p:spPr>
          <a:xfrm>
            <a:off x="583187" y="536401"/>
            <a:ext cx="2743200" cy="246221"/>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gradFill>
                  <a:gsLst>
                    <a:gs pos="33000">
                      <a:srgbClr val="2DB4FF"/>
                    </a:gs>
                    <a:gs pos="71000">
                      <a:srgbClr val="818EFF"/>
                    </a:gs>
                    <a:gs pos="99000">
                      <a:srgbClr val="D660FF"/>
                    </a:gs>
                    <a:gs pos="971">
                      <a:srgbClr val="0078D4"/>
                    </a:gs>
                  </a:gsLst>
                  <a:lin ang="2700000" scaled="0"/>
                </a:gradFill>
                <a:effectLst/>
                <a:uLnTx/>
                <a:uFillTx/>
                <a:latin typeface="Segoe Sans Display"/>
                <a:ea typeface="+mn-ea"/>
                <a:cs typeface="Segoe Sans Display"/>
              </a:rPr>
              <a:t>Deep Reasoning</a:t>
            </a:r>
            <a:endParaRPr kumimoji="0" lang="en-US" sz="1600" b="1" i="0" u="none" strike="noStrike" kern="1200" cap="none" spc="0" normalizeH="0" baseline="0" noProof="0">
              <a:ln>
                <a:noFill/>
              </a:ln>
              <a:gradFill>
                <a:gsLst>
                  <a:gs pos="33000">
                    <a:srgbClr val="2DB4FF"/>
                  </a:gs>
                  <a:gs pos="71000">
                    <a:srgbClr val="818EFF"/>
                  </a:gs>
                  <a:gs pos="99000">
                    <a:srgbClr val="D660FF"/>
                  </a:gs>
                  <a:gs pos="971">
                    <a:srgbClr val="0078D4"/>
                  </a:gs>
                </a:gsLst>
                <a:lin ang="2700000" scaled="0"/>
              </a:gradFill>
              <a:effectLst/>
              <a:uLnTx/>
              <a:uFillTx/>
              <a:latin typeface="Segoe Sans Display" pitchFamily="2" charset="0"/>
              <a:ea typeface="+mn-ea"/>
              <a:cs typeface="Segoe Sans Display" pitchFamily="2" charset="0"/>
            </a:endParaRPr>
          </a:p>
        </p:txBody>
      </p:sp>
      <p:pic>
        <p:nvPicPr>
          <p:cNvPr id="7" name="Picture 6">
            <a:extLst>
              <a:ext uri="{FF2B5EF4-FFF2-40B4-BE49-F238E27FC236}">
                <a16:creationId xmlns:a16="http://schemas.microsoft.com/office/drawing/2014/main" id="{5362060D-2689-D886-3D5E-6A4CDA6DD588}"/>
              </a:ext>
            </a:extLst>
          </p:cNvPr>
          <p:cNvPicPr>
            <a:picLocks noChangeAspect="1"/>
          </p:cNvPicPr>
          <p:nvPr/>
        </p:nvPicPr>
        <p:blipFill>
          <a:blip r:embed="rId3"/>
          <a:srcRect l="15071" t="7713"/>
          <a:stretch/>
        </p:blipFill>
        <p:spPr>
          <a:xfrm>
            <a:off x="5436663" y="1344168"/>
            <a:ext cx="5939847" cy="3640605"/>
          </a:xfrm>
          <a:prstGeom prst="rect">
            <a:avLst/>
          </a:prstGeom>
          <a:effectLst>
            <a:outerShdw blurRad="50800" dist="38100" dir="5400000" algn="t" rotWithShape="0">
              <a:prstClr val="black">
                <a:alpha val="40000"/>
              </a:prstClr>
            </a:outerShdw>
          </a:effectLst>
        </p:spPr>
      </p:pic>
      <p:sp>
        <p:nvSpPr>
          <p:cNvPr id="8" name="TextBox 3">
            <a:extLst>
              <a:ext uri="{FF2B5EF4-FFF2-40B4-BE49-F238E27FC236}">
                <a16:creationId xmlns:a16="http://schemas.microsoft.com/office/drawing/2014/main" id="{E6416C95-2F34-441B-25C3-90DEC36ADD9C}"/>
              </a:ext>
            </a:extLst>
          </p:cNvPr>
          <p:cNvSpPr txBox="1"/>
          <p:nvPr/>
        </p:nvSpPr>
        <p:spPr>
          <a:xfrm>
            <a:off x="8251155" y="6468189"/>
            <a:ext cx="3940845" cy="246221"/>
          </a:xfrm>
          <a:prstGeom prst="rect">
            <a:avLst/>
          </a:prstGeom>
          <a:noFill/>
        </p:spPr>
        <p:txBody>
          <a:bodyPr wrap="square" lIns="0" tIns="0" rIns="0" bIns="0" rtlCol="0" anchor="b">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800" b="0" i="0" u="none" strike="noStrike" kern="1200" cap="all" spc="0" normalizeH="0" baseline="0" noProof="0">
                <a:ln>
                  <a:noFill/>
                </a:ln>
                <a:solidFill>
                  <a:srgbClr val="C00000"/>
                </a:solidFill>
                <a:effectLst/>
                <a:uLnTx/>
                <a:uFillTx/>
                <a:latin typeface="Segoe Sans Display Semibold" pitchFamily="2" charset="0"/>
                <a:ea typeface="+mn-ea"/>
                <a:cs typeface="Segoe Sans Display Semibold" pitchFamily="2" charset="0"/>
              </a:rPr>
            </a:br>
            <a:r>
              <a:rPr kumimoji="0" lang="en-US" sz="800" b="0" i="0" u="none" strike="noStrike" kern="1200" cap="none" spc="0" normalizeH="0" baseline="0" noProof="0">
                <a:ln>
                  <a:noFill/>
                </a:ln>
                <a:solidFill>
                  <a:srgbClr val="091F2C"/>
                </a:solidFill>
                <a:effectLst/>
                <a:uLnTx/>
                <a:uFillTx/>
                <a:latin typeface="Segoe Sans Display" pitchFamily="2" charset="0"/>
                <a:ea typeface="+mn-ea"/>
                <a:cs typeface="Segoe Sans Display" pitchFamily="2" charset="0"/>
              </a:rPr>
              <a:t>Screenshots are intended to be conceptual and not indicative of future product UI.</a:t>
            </a:r>
          </a:p>
        </p:txBody>
      </p:sp>
    </p:spTree>
    <p:extLst>
      <p:ext uri="{BB962C8B-B14F-4D97-AF65-F5344CB8AC3E}">
        <p14:creationId xmlns:p14="http://schemas.microsoft.com/office/powerpoint/2010/main" val="4206875425"/>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669A9-1E6D-A6E6-951B-81C8C977F6BB}"/>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AC066D0D-8300-E043-63DF-C4504AD64854}"/>
              </a:ext>
            </a:extLst>
          </p:cNvPr>
          <p:cNvSpPr>
            <a:spLocks noGrp="1"/>
          </p:cNvSpPr>
          <p:nvPr>
            <p:ph type="title"/>
          </p:nvPr>
        </p:nvSpPr>
        <p:spPr/>
        <p:txBody>
          <a:bodyPr/>
          <a:lstStyle/>
          <a:p>
            <a:pPr algn="ctr"/>
            <a:r>
              <a:rPr lang="en-US"/>
              <a:t>Examples of agent templates</a:t>
            </a:r>
            <a:endParaRPr lang="ru-UA"/>
          </a:p>
        </p:txBody>
      </p:sp>
      <p:sp>
        <p:nvSpPr>
          <p:cNvPr id="8" name="TextBox 7">
            <a:extLst>
              <a:ext uri="{FF2B5EF4-FFF2-40B4-BE49-F238E27FC236}">
                <a16:creationId xmlns:a16="http://schemas.microsoft.com/office/drawing/2014/main" id="{C9334BBE-BB90-E3D7-D6AF-48D8B29CD316}"/>
              </a:ext>
            </a:extLst>
          </p:cNvPr>
          <p:cNvSpPr txBox="1"/>
          <p:nvPr/>
        </p:nvSpPr>
        <p:spPr>
          <a:xfrm>
            <a:off x="1932742" y="1064075"/>
            <a:ext cx="8505904" cy="563552"/>
          </a:xfrm>
          <a:prstGeom prst="rect">
            <a:avLst/>
          </a:prstGeom>
          <a:noFill/>
        </p:spPr>
        <p:txBody>
          <a:bodyPr wrap="square" lIns="0" tIns="0" rIns="0" bIns="0" rtlCol="0">
            <a:spAutoFit/>
          </a:bodyPr>
          <a:lstStyle/>
          <a:p>
            <a:pPr marL="0" marR="0" lvl="0" indent="0" algn="ctr" defTabSz="914367"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he simplest way to get started with agents. Once enabled by an admin, users can @mention the agent in Copilot Chat or open it directly by selecting it from the right-side pane.</a:t>
            </a:r>
          </a:p>
        </p:txBody>
      </p:sp>
      <p:sp>
        <p:nvSpPr>
          <p:cNvPr id="3" name="Rectangle: Rounded Corners 16">
            <a:extLst>
              <a:ext uri="{FF2B5EF4-FFF2-40B4-BE49-F238E27FC236}">
                <a16:creationId xmlns:a16="http://schemas.microsoft.com/office/drawing/2014/main" id="{0604E816-A4A3-4E2B-EBD7-F435A14886DE}"/>
              </a:ext>
              <a:ext uri="{C183D7F6-B498-43B3-948B-1728B52AA6E4}">
                <adec:decorative xmlns:adec="http://schemas.microsoft.com/office/drawing/2017/decorative" val="1"/>
              </a:ext>
            </a:extLst>
          </p:cNvPr>
          <p:cNvSpPr/>
          <p:nvPr/>
        </p:nvSpPr>
        <p:spPr bwMode="auto">
          <a:xfrm>
            <a:off x="584200" y="1797310"/>
            <a:ext cx="11023082" cy="736340"/>
          </a:xfrm>
          <a:prstGeom prst="roundRect">
            <a:avLst>
              <a:gd name="adj" fmla="val 22846"/>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p:spPr>
        <p:txBody>
          <a:bodyPr wrap="square" lIns="183696" tIns="36739" rIns="183696" bIns="73479" rtlCol="0" anchor="t">
            <a:norm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6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 name="Rounded Rectangle 11">
            <a:extLst>
              <a:ext uri="{FF2B5EF4-FFF2-40B4-BE49-F238E27FC236}">
                <a16:creationId xmlns:a16="http://schemas.microsoft.com/office/drawing/2014/main" id="{035BA2D4-F9D1-3975-3284-F4A0D6E9DC26}"/>
              </a:ext>
              <a:ext uri="{C183D7F6-B498-43B3-948B-1728B52AA6E4}">
                <adec:decorative xmlns:adec="http://schemas.microsoft.com/office/drawing/2017/decorative" val="1"/>
              </a:ext>
            </a:extLst>
          </p:cNvPr>
          <p:cNvSpPr/>
          <p:nvPr/>
        </p:nvSpPr>
        <p:spPr bwMode="auto">
          <a:xfrm>
            <a:off x="585218" y="2273750"/>
            <a:ext cx="11017502" cy="3823838"/>
          </a:xfrm>
          <a:prstGeom prst="roundRect">
            <a:avLst>
              <a:gd name="adj" fmla="val 4325"/>
            </a:avLst>
          </a:prstGeom>
          <a:solidFill>
            <a:schemeClr val="bg1"/>
          </a:solidFill>
          <a:ln w="12700" cap="rnd">
            <a:solidFill>
              <a:srgbClr val="454142"/>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AADA70D4-B004-9895-7F0B-CD8DDE2DA4BE}"/>
              </a:ext>
            </a:extLst>
          </p:cNvPr>
          <p:cNvGraphicFramePr>
            <a:graphicFrameLocks noGrp="1"/>
          </p:cNvGraphicFramePr>
          <p:nvPr>
            <p:extLst>
              <p:ext uri="{D42A27DB-BD31-4B8C-83A1-F6EECF244321}">
                <p14:modId xmlns:p14="http://schemas.microsoft.com/office/powerpoint/2010/main" val="2791002746"/>
              </p:ext>
            </p:extLst>
          </p:nvPr>
        </p:nvGraphicFramePr>
        <p:xfrm>
          <a:off x="588263" y="2273750"/>
          <a:ext cx="11007765" cy="4436771"/>
        </p:xfrm>
        <a:graphic>
          <a:graphicData uri="http://schemas.openxmlformats.org/drawingml/2006/table">
            <a:tbl>
              <a:tblPr firstRow="1" firstCol="1">
                <a:tableStyleId>{5C22544A-7EE6-4342-B048-85BDC9FD1C3A}</a:tableStyleId>
              </a:tblPr>
              <a:tblGrid>
                <a:gridCol w="747765">
                  <a:extLst>
                    <a:ext uri="{9D8B030D-6E8A-4147-A177-3AD203B41FA5}">
                      <a16:colId xmlns:a16="http://schemas.microsoft.com/office/drawing/2014/main" val="4118558838"/>
                    </a:ext>
                  </a:extLst>
                </a:gridCol>
                <a:gridCol w="2124000">
                  <a:extLst>
                    <a:ext uri="{9D8B030D-6E8A-4147-A177-3AD203B41FA5}">
                      <a16:colId xmlns:a16="http://schemas.microsoft.com/office/drawing/2014/main" val="937084765"/>
                    </a:ext>
                  </a:extLst>
                </a:gridCol>
                <a:gridCol w="8136000">
                  <a:extLst>
                    <a:ext uri="{9D8B030D-6E8A-4147-A177-3AD203B41FA5}">
                      <a16:colId xmlns:a16="http://schemas.microsoft.com/office/drawing/2014/main" val="893455128"/>
                    </a:ext>
                  </a:extLst>
                </a:gridCol>
              </a:tblGrid>
              <a:tr h="644141">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kern="1200">
                          <a:ln w="3175">
                            <a:noFill/>
                          </a:ln>
                          <a:solidFill>
                            <a:schemeClr val="tx1"/>
                          </a:solidFill>
                          <a:latin typeface="+mj-lt"/>
                          <a:ea typeface="+mn-ea"/>
                          <a:cs typeface="Segoe UI" pitchFamily="34" charset="0"/>
                          <a:hlinkClick r:id="rId3" action="ppaction://hlinksldjump">
                            <a:extLst>
                              <a:ext uri="{A12FA001-AC4F-418D-AE19-62706E023703}">
                                <ahyp:hlinkClr xmlns:ahyp="http://schemas.microsoft.com/office/drawing/2018/hyperlinkcolor" val="tx"/>
                              </a:ext>
                            </a:extLst>
                          </a:hlinkClick>
                        </a:rPr>
                        <a:t>Writing Coach</a:t>
                      </a:r>
                      <a:endParaRPr lang="en-US" sz="1400" b="0" kern="1200">
                        <a:ln w="3175">
                          <a:noFill/>
                        </a:ln>
                        <a:solidFill>
                          <a:schemeClr val="tx1"/>
                        </a:solidFill>
                        <a:latin typeface="+mj-lt"/>
                        <a:ea typeface="+mn-ea"/>
                        <a:cs typeface="Segoe UI"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tx1"/>
                          </a:solidFill>
                          <a:latin typeface="+mn-lt"/>
                          <a:ea typeface="+mn-ea"/>
                          <a:cs typeface="+mn-cs"/>
                        </a:rPr>
                        <a:t>Provides detailed feedback on writing. Helps change the tone of messages, translates text,</a:t>
                      </a:r>
                      <a:br>
                        <a:rPr lang="ru-RU" sz="1400" b="0">
                          <a:solidFill>
                            <a:schemeClr val="tx1"/>
                          </a:solidFill>
                          <a:latin typeface="+mn-lt"/>
                          <a:ea typeface="+mn-ea"/>
                          <a:cs typeface="+mn-cs"/>
                        </a:rPr>
                      </a:br>
                      <a:r>
                        <a:rPr lang="en-US" sz="1400" b="0">
                          <a:solidFill>
                            <a:schemeClr val="tx1"/>
                          </a:solidFill>
                          <a:latin typeface="+mn-lt"/>
                          <a:ea typeface="+mn-ea"/>
                          <a:cs typeface="+mn-cs"/>
                        </a:rPr>
                        <a:t>and assists in writing task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538630"/>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kern="1200">
                          <a:ln w="3175">
                            <a:noFill/>
                          </a:ln>
                          <a:solidFill>
                            <a:schemeClr val="tx1"/>
                          </a:solidFill>
                          <a:latin typeface="+mj-lt"/>
                          <a:ea typeface="+mn-ea"/>
                          <a:cs typeface="Segoe UI" pitchFamily="34" charset="0"/>
                          <a:hlinkClick r:id="rId4" action="ppaction://hlinksldjump">
                            <a:extLst>
                              <a:ext uri="{A12FA001-AC4F-418D-AE19-62706E023703}">
                                <ahyp:hlinkClr xmlns:ahyp="http://schemas.microsoft.com/office/drawing/2018/hyperlinkcolor" val="tx"/>
                              </a:ext>
                            </a:extLst>
                          </a:hlinkClick>
                        </a:rPr>
                        <a:t>Idea Coach</a:t>
                      </a:r>
                      <a:endParaRPr lang="en-US" sz="1400" b="0" kern="1200">
                        <a:ln w="3175">
                          <a:noFill/>
                        </a:ln>
                        <a:solidFill>
                          <a:schemeClr val="tx1"/>
                        </a:solidFill>
                        <a:latin typeface="+mj-lt"/>
                        <a:ea typeface="+mn-ea"/>
                        <a:cs typeface="Segoe UI"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Helps users brainstorm and organize idea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2867581"/>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Prompt Coa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Assists users in creating effective well-structured prompts for Copilot</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913059"/>
                  </a:ext>
                </a:extLst>
              </a:tr>
              <a:tr h="644141">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Career Coa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Provides personalized career development suggestions including role understanding,</a:t>
                      </a:r>
                      <a:br>
                        <a:rPr lang="en-US" sz="1400">
                          <a:solidFill>
                            <a:schemeClr val="tx1"/>
                          </a:solidFill>
                          <a:latin typeface="+mn-lt"/>
                          <a:ea typeface="+mn-ea"/>
                          <a:cs typeface="+mn-cs"/>
                        </a:rPr>
                      </a:br>
                      <a:r>
                        <a:rPr lang="en-US" sz="1400">
                          <a:solidFill>
                            <a:schemeClr val="tx1"/>
                          </a:solidFill>
                          <a:latin typeface="+mn-lt"/>
                          <a:ea typeface="+mn-ea"/>
                          <a:cs typeface="+mn-cs"/>
                        </a:rPr>
                        <a:t>skill gap analysis, learning opportunities, and career transition plan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250462"/>
                  </a:ext>
                </a:extLst>
              </a:tr>
              <a:tr h="644141">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Learning Coa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Helps users understand complex topics by breaking them down into simple, intermediate,</a:t>
                      </a:r>
                      <a:br>
                        <a:rPr lang="en-US" sz="1400">
                          <a:solidFill>
                            <a:schemeClr val="tx1"/>
                          </a:solidFill>
                          <a:latin typeface="+mn-lt"/>
                          <a:ea typeface="+mn-ea"/>
                          <a:cs typeface="+mn-cs"/>
                        </a:rPr>
                      </a:br>
                      <a:r>
                        <a:rPr lang="en-US" sz="1400">
                          <a:solidFill>
                            <a:schemeClr val="tx1"/>
                          </a:solidFill>
                          <a:latin typeface="+mn-lt"/>
                          <a:ea typeface="+mn-ea"/>
                          <a:cs typeface="+mn-cs"/>
                        </a:rPr>
                        <a:t>and advanced summaries. Provides guided practice and learning plan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8898372"/>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kern="1200">
                          <a:ln w="3175">
                            <a:noFill/>
                          </a:ln>
                          <a:solidFill>
                            <a:schemeClr val="tx1"/>
                          </a:solidFill>
                          <a:latin typeface="+mj-lt"/>
                          <a:ea typeface="+mn-ea"/>
                          <a:cs typeface="Segoe UI" pitchFamily="34" charset="0"/>
                          <a:hlinkClick r:id="rId5" action="ppaction://hlinksldjump">
                            <a:extLst>
                              <a:ext uri="{A12FA001-AC4F-418D-AE19-62706E023703}">
                                <ahyp:hlinkClr xmlns:ahyp="http://schemas.microsoft.com/office/drawing/2018/hyperlinkcolor" val="tx"/>
                              </a:ext>
                            </a:extLst>
                          </a:hlinkClick>
                        </a:rPr>
                        <a:t>Visual Creator</a:t>
                      </a:r>
                      <a:endParaRPr lang="en-US" sz="1400" b="0" kern="1200">
                        <a:ln w="3175">
                          <a:noFill/>
                        </a:ln>
                        <a:solidFill>
                          <a:schemeClr val="tx1"/>
                        </a:solidFill>
                        <a:latin typeface="+mj-lt"/>
                        <a:ea typeface="+mn-ea"/>
                        <a:cs typeface="Segoe UI"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Assists users with creating images and video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4898632"/>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endParaRPr lang="en-US" sz="1400" b="0" kern="1200">
                        <a:ln w="3175">
                          <a:noFill/>
                        </a:ln>
                        <a:solidFill>
                          <a:schemeClr val="tx1"/>
                        </a:solidFill>
                        <a:latin typeface="+mj-lt"/>
                        <a:ea typeface="+mn-ea"/>
                        <a:cs typeface="Segoe UI"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1"/>
                        </a:solidFill>
                        <a:latin typeface="+mn-lt"/>
                        <a:ea typeface="+mn-ea"/>
                        <a:cs typeface="+mn-cs"/>
                      </a:endParaRP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144153"/>
                  </a:ext>
                </a:extLst>
              </a:tr>
            </a:tbl>
          </a:graphicData>
        </a:graphic>
      </p:graphicFrame>
      <p:sp>
        <p:nvSpPr>
          <p:cNvPr id="16" name="Oval 15">
            <a:extLst>
              <a:ext uri="{FF2B5EF4-FFF2-40B4-BE49-F238E27FC236}">
                <a16:creationId xmlns:a16="http://schemas.microsoft.com/office/drawing/2014/main" id="{2C4160D5-8FD2-BBFB-37B2-F0E5C404A1A9}"/>
              </a:ext>
              <a:ext uri="{C183D7F6-B498-43B3-948B-1728B52AA6E4}">
                <adec:decorative xmlns:adec="http://schemas.microsoft.com/office/drawing/2017/decorative" val="1"/>
              </a:ext>
            </a:extLst>
          </p:cNvPr>
          <p:cNvSpPr/>
          <p:nvPr/>
        </p:nvSpPr>
        <p:spPr bwMode="auto">
          <a:xfrm>
            <a:off x="828676" y="2437776"/>
            <a:ext cx="347662" cy="347662"/>
          </a:xfrm>
          <a:prstGeom prst="ellipse">
            <a:avLst/>
          </a:pr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7" name="Oval 16">
            <a:extLst>
              <a:ext uri="{FF2B5EF4-FFF2-40B4-BE49-F238E27FC236}">
                <a16:creationId xmlns:a16="http://schemas.microsoft.com/office/drawing/2014/main" id="{C90227EA-57A2-DF1E-5250-CD044AA23201}"/>
              </a:ext>
              <a:ext uri="{C183D7F6-B498-43B3-948B-1728B52AA6E4}">
                <adec:decorative xmlns:adec="http://schemas.microsoft.com/office/drawing/2017/decorative" val="1"/>
              </a:ext>
            </a:extLst>
          </p:cNvPr>
          <p:cNvSpPr/>
          <p:nvPr/>
        </p:nvSpPr>
        <p:spPr bwMode="auto">
          <a:xfrm>
            <a:off x="828676" y="3049761"/>
            <a:ext cx="347662" cy="347662"/>
          </a:xfrm>
          <a:prstGeom prst="ellipse">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8" name="Oval 17">
            <a:extLst>
              <a:ext uri="{FF2B5EF4-FFF2-40B4-BE49-F238E27FC236}">
                <a16:creationId xmlns:a16="http://schemas.microsoft.com/office/drawing/2014/main" id="{0A8DBF49-76B8-645A-2C3F-CCE89E2FE5B0}"/>
              </a:ext>
              <a:ext uri="{C183D7F6-B498-43B3-948B-1728B52AA6E4}">
                <adec:decorative xmlns:adec="http://schemas.microsoft.com/office/drawing/2017/decorative" val="1"/>
              </a:ext>
            </a:extLst>
          </p:cNvPr>
          <p:cNvSpPr/>
          <p:nvPr/>
        </p:nvSpPr>
        <p:spPr bwMode="auto">
          <a:xfrm>
            <a:off x="828676" y="3702221"/>
            <a:ext cx="347662" cy="347662"/>
          </a:xfrm>
          <a:prstGeom prst="ellipse">
            <a:avLst/>
          </a:pr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19" name="Oval 18">
            <a:extLst>
              <a:ext uri="{FF2B5EF4-FFF2-40B4-BE49-F238E27FC236}">
                <a16:creationId xmlns:a16="http://schemas.microsoft.com/office/drawing/2014/main" id="{79885E4E-79C2-9DB8-8126-554ABAF702FB}"/>
              </a:ext>
              <a:ext uri="{C183D7F6-B498-43B3-948B-1728B52AA6E4}">
                <adec:decorative xmlns:adec="http://schemas.microsoft.com/office/drawing/2017/decorative" val="1"/>
              </a:ext>
            </a:extLst>
          </p:cNvPr>
          <p:cNvSpPr/>
          <p:nvPr/>
        </p:nvSpPr>
        <p:spPr bwMode="auto">
          <a:xfrm>
            <a:off x="828676" y="4330060"/>
            <a:ext cx="347662" cy="347662"/>
          </a:xfrm>
          <a:prstGeom prst="ellipse">
            <a:avLst/>
          </a:pr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22" name="Oval 21">
            <a:extLst>
              <a:ext uri="{FF2B5EF4-FFF2-40B4-BE49-F238E27FC236}">
                <a16:creationId xmlns:a16="http://schemas.microsoft.com/office/drawing/2014/main" id="{B9FC04D6-9CC2-1D7E-6FEC-40D72853B3EC}"/>
              </a:ext>
              <a:ext uri="{C183D7F6-B498-43B3-948B-1728B52AA6E4}">
                <adec:decorative xmlns:adec="http://schemas.microsoft.com/office/drawing/2017/decorative" val="1"/>
              </a:ext>
            </a:extLst>
          </p:cNvPr>
          <p:cNvSpPr/>
          <p:nvPr/>
        </p:nvSpPr>
        <p:spPr bwMode="auto">
          <a:xfrm>
            <a:off x="828676" y="4983336"/>
            <a:ext cx="347662" cy="347662"/>
          </a:xfrm>
          <a:prstGeom prst="ellipse">
            <a:avLst/>
          </a:pr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sp>
        <p:nvSpPr>
          <p:cNvPr id="23" name="Oval 22">
            <a:extLst>
              <a:ext uri="{FF2B5EF4-FFF2-40B4-BE49-F238E27FC236}">
                <a16:creationId xmlns:a16="http://schemas.microsoft.com/office/drawing/2014/main" id="{9FCE0223-6F32-66A6-7337-D9D5000C2F09}"/>
              </a:ext>
              <a:ext uri="{C183D7F6-B498-43B3-948B-1728B52AA6E4}">
                <adec:decorative xmlns:adec="http://schemas.microsoft.com/office/drawing/2017/decorative" val="1"/>
              </a:ext>
            </a:extLst>
          </p:cNvPr>
          <p:cNvSpPr/>
          <p:nvPr/>
        </p:nvSpPr>
        <p:spPr bwMode="auto">
          <a:xfrm>
            <a:off x="828676" y="5615471"/>
            <a:ext cx="347662" cy="347662"/>
          </a:xfrm>
          <a:prstGeom prst="ellipse">
            <a:avLst/>
          </a:pr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err="1">
              <a:ln>
                <a:noFill/>
              </a:ln>
              <a:solidFill>
                <a:srgbClr val="FFFFFF"/>
              </a:solidFill>
              <a:effectLst/>
              <a:uLnTx/>
              <a:uFillTx/>
              <a:latin typeface="Segoe UI Semibold"/>
              <a:ea typeface="+mn-ea"/>
              <a:cs typeface="+mn-cs"/>
            </a:endParaRPr>
          </a:p>
        </p:txBody>
      </p:sp>
      <p:grpSp>
        <p:nvGrpSpPr>
          <p:cNvPr id="43" name="Group 42">
            <a:extLst>
              <a:ext uri="{FF2B5EF4-FFF2-40B4-BE49-F238E27FC236}">
                <a16:creationId xmlns:a16="http://schemas.microsoft.com/office/drawing/2014/main" id="{11669C61-3A4A-5A2A-DDA6-957E20A6A311}"/>
              </a:ext>
              <a:ext uri="{C183D7F6-B498-43B3-948B-1728B52AA6E4}">
                <adec:decorative xmlns:adec="http://schemas.microsoft.com/office/drawing/2017/decorative" val="1"/>
              </a:ext>
            </a:extLst>
          </p:cNvPr>
          <p:cNvGrpSpPr/>
          <p:nvPr/>
        </p:nvGrpSpPr>
        <p:grpSpPr>
          <a:xfrm>
            <a:off x="956224" y="2541659"/>
            <a:ext cx="125904" cy="139896"/>
            <a:chOff x="360363" y="2687807"/>
            <a:chExt cx="171452" cy="190505"/>
          </a:xfrm>
        </p:grpSpPr>
        <p:sp>
          <p:nvSpPr>
            <p:cNvPr id="29" name="Freeform: Shape 28">
              <a:extLst>
                <a:ext uri="{FF2B5EF4-FFF2-40B4-BE49-F238E27FC236}">
                  <a16:creationId xmlns:a16="http://schemas.microsoft.com/office/drawing/2014/main" id="{ADD651E8-57B2-0387-0337-0882D8679B92}"/>
                </a:ext>
              </a:extLst>
            </p:cNvPr>
            <p:cNvSpPr/>
            <p:nvPr/>
          </p:nvSpPr>
          <p:spPr>
            <a:xfrm>
              <a:off x="360363" y="2687807"/>
              <a:ext cx="142113" cy="190500"/>
            </a:xfrm>
            <a:custGeom>
              <a:avLst/>
              <a:gdLst>
                <a:gd name="connsiteX0" fmla="*/ 76200 w 142113"/>
                <a:gd name="connsiteY0" fmla="*/ 0 h 190500"/>
                <a:gd name="connsiteX1" fmla="*/ 76200 w 142113"/>
                <a:gd name="connsiteY1" fmla="*/ 57150 h 190500"/>
                <a:gd name="connsiteX2" fmla="*/ 95250 w 142113"/>
                <a:gd name="connsiteY2" fmla="*/ 76200 h 190500"/>
                <a:gd name="connsiteX3" fmla="*/ 142113 w 142113"/>
                <a:gd name="connsiteY3" fmla="*/ 76200 h 190500"/>
                <a:gd name="connsiteX4" fmla="*/ 127273 w 142113"/>
                <a:gd name="connsiteY4" fmla="*/ 85439 h 190500"/>
                <a:gd name="connsiteX5" fmla="*/ 69647 w 142113"/>
                <a:gd name="connsiteY5" fmla="*/ 143466 h 190500"/>
                <a:gd name="connsiteX6" fmla="*/ 62713 w 142113"/>
                <a:gd name="connsiteY6" fmla="*/ 155648 h 190500"/>
                <a:gd name="connsiteX7" fmla="*/ 57712 w 142113"/>
                <a:gd name="connsiteY7" fmla="*/ 174984 h 190500"/>
                <a:gd name="connsiteX8" fmla="*/ 60008 w 142113"/>
                <a:gd name="connsiteY8" fmla="*/ 190500 h 190500"/>
                <a:gd name="connsiteX9" fmla="*/ 14288 w 142113"/>
                <a:gd name="connsiteY9" fmla="*/ 190500 h 190500"/>
                <a:gd name="connsiteX10" fmla="*/ 0 w 142113"/>
                <a:gd name="connsiteY10" fmla="*/ 176213 h 190500"/>
                <a:gd name="connsiteX11" fmla="*/ 0 w 142113"/>
                <a:gd name="connsiteY11" fmla="*/ 14288 h 190500"/>
                <a:gd name="connsiteX12" fmla="*/ 14288 w 142113"/>
                <a:gd name="connsiteY12" fmla="*/ 0 h 190500"/>
                <a:gd name="connsiteX13" fmla="*/ 76200 w 142113"/>
                <a:gd name="connsiteY13"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113" h="190500">
                  <a:moveTo>
                    <a:pt x="76200" y="0"/>
                  </a:moveTo>
                  <a:lnTo>
                    <a:pt x="76200" y="57150"/>
                  </a:lnTo>
                  <a:cubicBezTo>
                    <a:pt x="76200" y="67671"/>
                    <a:pt x="84729" y="76200"/>
                    <a:pt x="95250" y="76200"/>
                  </a:cubicBezTo>
                  <a:lnTo>
                    <a:pt x="142113" y="76200"/>
                  </a:lnTo>
                  <a:cubicBezTo>
                    <a:pt x="136436" y="78296"/>
                    <a:pt x="131216" y="81477"/>
                    <a:pt x="127273" y="85439"/>
                  </a:cubicBezTo>
                  <a:lnTo>
                    <a:pt x="69647" y="143466"/>
                  </a:lnTo>
                  <a:cubicBezTo>
                    <a:pt x="66296" y="146839"/>
                    <a:pt x="63903" y="151045"/>
                    <a:pt x="62713" y="155648"/>
                  </a:cubicBezTo>
                  <a:lnTo>
                    <a:pt x="57712" y="174984"/>
                  </a:lnTo>
                  <a:cubicBezTo>
                    <a:pt x="56312" y="180251"/>
                    <a:pt x="57143" y="185863"/>
                    <a:pt x="60008" y="190500"/>
                  </a:cubicBezTo>
                  <a:lnTo>
                    <a:pt x="14288" y="190500"/>
                  </a:lnTo>
                  <a:cubicBezTo>
                    <a:pt x="6397" y="190500"/>
                    <a:pt x="0" y="184103"/>
                    <a:pt x="0" y="176213"/>
                  </a:cubicBezTo>
                  <a:lnTo>
                    <a:pt x="0" y="14288"/>
                  </a:lnTo>
                  <a:cubicBezTo>
                    <a:pt x="0" y="6397"/>
                    <a:pt x="6397" y="0"/>
                    <a:pt x="14288" y="0"/>
                  </a:cubicBezTo>
                  <a:lnTo>
                    <a:pt x="76200"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B90BC6F6-E94C-38D0-3C95-DB698CEE30C6}"/>
                </a:ext>
              </a:extLst>
            </p:cNvPr>
            <p:cNvSpPr/>
            <p:nvPr/>
          </p:nvSpPr>
          <p:spPr>
            <a:xfrm>
              <a:off x="427034" y="2692569"/>
              <a:ext cx="104781" cy="185743"/>
            </a:xfrm>
            <a:custGeom>
              <a:avLst/>
              <a:gdLst>
                <a:gd name="connsiteX0" fmla="*/ 23816 w 104781"/>
                <a:gd name="connsiteY0" fmla="*/ 0 h 185743"/>
                <a:gd name="connsiteX1" fmla="*/ 23816 w 104781"/>
                <a:gd name="connsiteY1" fmla="*/ 52388 h 185743"/>
                <a:gd name="connsiteX2" fmla="*/ 28579 w 104781"/>
                <a:gd name="connsiteY2" fmla="*/ 57150 h 185743"/>
                <a:gd name="connsiteX3" fmla="*/ 80966 w 104781"/>
                <a:gd name="connsiteY3" fmla="*/ 57150 h 185743"/>
                <a:gd name="connsiteX4" fmla="*/ 23816 w 104781"/>
                <a:gd name="connsiteY4" fmla="*/ 0 h 185743"/>
                <a:gd name="connsiteX5" fmla="*/ 11396 w 104781"/>
                <a:gd name="connsiteY5" fmla="*/ 143561 h 185743"/>
                <a:gd name="connsiteX6" fmla="*/ 67612 w 104781"/>
                <a:gd name="connsiteY6" fmla="*/ 87344 h 185743"/>
                <a:gd name="connsiteX7" fmla="*/ 98402 w 104781"/>
                <a:gd name="connsiteY7" fmla="*/ 87339 h 185743"/>
                <a:gd name="connsiteX8" fmla="*/ 98407 w 104781"/>
                <a:gd name="connsiteY8" fmla="*/ 118129 h 185743"/>
                <a:gd name="connsiteX9" fmla="*/ 42181 w 104781"/>
                <a:gd name="connsiteY9" fmla="*/ 174346 h 185743"/>
                <a:gd name="connsiteX10" fmla="*/ 30303 w 104781"/>
                <a:gd name="connsiteY10" fmla="*/ 181080 h 185743"/>
                <a:gd name="connsiteX11" fmla="*/ 12863 w 104781"/>
                <a:gd name="connsiteY11" fmla="*/ 185433 h 185743"/>
                <a:gd name="connsiteX12" fmla="*/ 309 w 104781"/>
                <a:gd name="connsiteY12" fmla="*/ 177897 h 185743"/>
                <a:gd name="connsiteX13" fmla="*/ 309 w 104781"/>
                <a:gd name="connsiteY13" fmla="*/ 172879 h 185743"/>
                <a:gd name="connsiteX14" fmla="*/ 4662 w 104781"/>
                <a:gd name="connsiteY14" fmla="*/ 155448 h 185743"/>
                <a:gd name="connsiteX15" fmla="*/ 11396 w 104781"/>
                <a:gd name="connsiteY15" fmla="*/ 143561 h 1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81" h="185743">
                  <a:moveTo>
                    <a:pt x="23816" y="0"/>
                  </a:moveTo>
                  <a:lnTo>
                    <a:pt x="23816" y="52388"/>
                  </a:lnTo>
                  <a:cubicBezTo>
                    <a:pt x="23816" y="55018"/>
                    <a:pt x="25949" y="57150"/>
                    <a:pt x="28579" y="57150"/>
                  </a:cubicBezTo>
                  <a:lnTo>
                    <a:pt x="80966" y="57150"/>
                  </a:lnTo>
                  <a:lnTo>
                    <a:pt x="23816" y="0"/>
                  </a:lnTo>
                  <a:close/>
                  <a:moveTo>
                    <a:pt x="11396" y="143561"/>
                  </a:moveTo>
                  <a:lnTo>
                    <a:pt x="67612" y="87344"/>
                  </a:lnTo>
                  <a:cubicBezTo>
                    <a:pt x="76113" y="78840"/>
                    <a:pt x="89898" y="78838"/>
                    <a:pt x="98402" y="87339"/>
                  </a:cubicBezTo>
                  <a:cubicBezTo>
                    <a:pt x="106906" y="95841"/>
                    <a:pt x="106908" y="109625"/>
                    <a:pt x="98407" y="118129"/>
                  </a:cubicBezTo>
                  <a:lnTo>
                    <a:pt x="42181" y="174346"/>
                  </a:lnTo>
                  <a:cubicBezTo>
                    <a:pt x="38905" y="177626"/>
                    <a:pt x="34800" y="179953"/>
                    <a:pt x="30303" y="181080"/>
                  </a:cubicBezTo>
                  <a:lnTo>
                    <a:pt x="12863" y="185433"/>
                  </a:lnTo>
                  <a:cubicBezTo>
                    <a:pt x="7315" y="186819"/>
                    <a:pt x="1694" y="183444"/>
                    <a:pt x="309" y="177897"/>
                  </a:cubicBezTo>
                  <a:cubicBezTo>
                    <a:pt x="-103" y="176249"/>
                    <a:pt x="-103" y="174526"/>
                    <a:pt x="309" y="172879"/>
                  </a:cubicBezTo>
                  <a:lnTo>
                    <a:pt x="4662" y="155448"/>
                  </a:lnTo>
                  <a:cubicBezTo>
                    <a:pt x="5785" y="150943"/>
                    <a:pt x="8110" y="146837"/>
                    <a:pt x="11396" y="143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45" name="Graphic 43">
            <a:extLst>
              <a:ext uri="{FF2B5EF4-FFF2-40B4-BE49-F238E27FC236}">
                <a16:creationId xmlns:a16="http://schemas.microsoft.com/office/drawing/2014/main" id="{390DAC1E-10DA-AC0A-2BD7-FA4DA445378A}"/>
              </a:ext>
              <a:ext uri="{C183D7F6-B498-43B3-948B-1728B52AA6E4}">
                <adec:decorative xmlns:adec="http://schemas.microsoft.com/office/drawing/2017/decorative" val="1"/>
              </a:ext>
            </a:extLst>
          </p:cNvPr>
          <p:cNvSpPr/>
          <p:nvPr/>
        </p:nvSpPr>
        <p:spPr>
          <a:xfrm>
            <a:off x="927871" y="4433402"/>
            <a:ext cx="149272" cy="140980"/>
          </a:xfrm>
          <a:custGeom>
            <a:avLst/>
            <a:gdLst>
              <a:gd name="connsiteX0" fmla="*/ 116681 w 171450"/>
              <a:gd name="connsiteY0" fmla="*/ 0 h 161925"/>
              <a:gd name="connsiteX1" fmla="*/ 123825 w 171450"/>
              <a:gd name="connsiteY1" fmla="*/ 7144 h 161925"/>
              <a:gd name="connsiteX2" fmla="*/ 123825 w 171450"/>
              <a:gd name="connsiteY2" fmla="*/ 38100 h 161925"/>
              <a:gd name="connsiteX3" fmla="*/ 140494 w 171450"/>
              <a:gd name="connsiteY3" fmla="*/ 38100 h 161925"/>
              <a:gd name="connsiteX4" fmla="*/ 171450 w 171450"/>
              <a:gd name="connsiteY4" fmla="*/ 69056 h 161925"/>
              <a:gd name="connsiteX5" fmla="*/ 171450 w 171450"/>
              <a:gd name="connsiteY5" fmla="*/ 130969 h 161925"/>
              <a:gd name="connsiteX6" fmla="*/ 140494 w 171450"/>
              <a:gd name="connsiteY6" fmla="*/ 161925 h 161925"/>
              <a:gd name="connsiteX7" fmla="*/ 30956 w 171450"/>
              <a:gd name="connsiteY7" fmla="*/ 161925 h 161925"/>
              <a:gd name="connsiteX8" fmla="*/ 0 w 171450"/>
              <a:gd name="connsiteY8" fmla="*/ 130969 h 161925"/>
              <a:gd name="connsiteX9" fmla="*/ 0 w 171450"/>
              <a:gd name="connsiteY9" fmla="*/ 69056 h 161925"/>
              <a:gd name="connsiteX10" fmla="*/ 30956 w 171450"/>
              <a:gd name="connsiteY10" fmla="*/ 38100 h 161925"/>
              <a:gd name="connsiteX11" fmla="*/ 47625 w 171450"/>
              <a:gd name="connsiteY11" fmla="*/ 38100 h 161925"/>
              <a:gd name="connsiteX12" fmla="*/ 47625 w 171450"/>
              <a:gd name="connsiteY12" fmla="*/ 7144 h 161925"/>
              <a:gd name="connsiteX13" fmla="*/ 53797 w 171450"/>
              <a:gd name="connsiteY13" fmla="*/ 67 h 161925"/>
              <a:gd name="connsiteX14" fmla="*/ 54769 w 171450"/>
              <a:gd name="connsiteY14" fmla="*/ 0 h 161925"/>
              <a:gd name="connsiteX15" fmla="*/ 116681 w 171450"/>
              <a:gd name="connsiteY15" fmla="*/ 0 h 161925"/>
              <a:gd name="connsiteX16" fmla="*/ 109538 w 171450"/>
              <a:gd name="connsiteY16" fmla="*/ 14288 h 161925"/>
              <a:gd name="connsiteX17" fmla="*/ 61913 w 171450"/>
              <a:gd name="connsiteY17" fmla="*/ 14288 h 161925"/>
              <a:gd name="connsiteX18" fmla="*/ 61913 w 171450"/>
              <a:gd name="connsiteY18" fmla="*/ 38100 h 161925"/>
              <a:gd name="connsiteX19" fmla="*/ 109538 w 171450"/>
              <a:gd name="connsiteY19" fmla="*/ 38100 h 161925"/>
              <a:gd name="connsiteX20" fmla="*/ 109538 w 171450"/>
              <a:gd name="connsiteY20" fmla="*/ 1428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1450" h="161925">
                <a:moveTo>
                  <a:pt x="116681" y="0"/>
                </a:moveTo>
                <a:cubicBezTo>
                  <a:pt x="120627" y="0"/>
                  <a:pt x="123825" y="3198"/>
                  <a:pt x="123825" y="7144"/>
                </a:cubicBezTo>
                <a:lnTo>
                  <a:pt x="123825" y="38100"/>
                </a:lnTo>
                <a:lnTo>
                  <a:pt x="140494" y="38100"/>
                </a:lnTo>
                <a:cubicBezTo>
                  <a:pt x="157590" y="38100"/>
                  <a:pt x="171450" y="51960"/>
                  <a:pt x="171450" y="69056"/>
                </a:cubicBezTo>
                <a:lnTo>
                  <a:pt x="171450" y="130969"/>
                </a:lnTo>
                <a:cubicBezTo>
                  <a:pt x="171450" y="148065"/>
                  <a:pt x="157590" y="161925"/>
                  <a:pt x="140494" y="161925"/>
                </a:cubicBezTo>
                <a:lnTo>
                  <a:pt x="30956" y="161925"/>
                </a:lnTo>
                <a:cubicBezTo>
                  <a:pt x="13860" y="161925"/>
                  <a:pt x="0" y="148065"/>
                  <a:pt x="0" y="130969"/>
                </a:cubicBezTo>
                <a:lnTo>
                  <a:pt x="0" y="69056"/>
                </a:lnTo>
                <a:cubicBezTo>
                  <a:pt x="0" y="51960"/>
                  <a:pt x="13860" y="38100"/>
                  <a:pt x="30956" y="38100"/>
                </a:cubicBezTo>
                <a:lnTo>
                  <a:pt x="47625" y="38100"/>
                </a:lnTo>
                <a:lnTo>
                  <a:pt x="47625" y="7144"/>
                </a:lnTo>
                <a:cubicBezTo>
                  <a:pt x="47625" y="3574"/>
                  <a:pt x="50261" y="552"/>
                  <a:pt x="53797" y="67"/>
                </a:cubicBezTo>
                <a:lnTo>
                  <a:pt x="54769" y="0"/>
                </a:lnTo>
                <a:lnTo>
                  <a:pt x="116681" y="0"/>
                </a:lnTo>
                <a:close/>
                <a:moveTo>
                  <a:pt x="109538" y="14288"/>
                </a:moveTo>
                <a:lnTo>
                  <a:pt x="61913" y="14288"/>
                </a:lnTo>
                <a:lnTo>
                  <a:pt x="61913" y="38100"/>
                </a:lnTo>
                <a:lnTo>
                  <a:pt x="109538" y="38100"/>
                </a:lnTo>
                <a:lnTo>
                  <a:pt x="109538" y="14288"/>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sp>
        <p:nvSpPr>
          <p:cNvPr id="6" name="Graphic 4">
            <a:extLst>
              <a:ext uri="{FF2B5EF4-FFF2-40B4-BE49-F238E27FC236}">
                <a16:creationId xmlns:a16="http://schemas.microsoft.com/office/drawing/2014/main" id="{0840E25A-B528-26A8-E126-E640E61CFE31}"/>
              </a:ext>
              <a:ext uri="{C183D7F6-B498-43B3-948B-1728B52AA6E4}">
                <adec:decorative xmlns:adec="http://schemas.microsoft.com/office/drawing/2017/decorative" val="1"/>
              </a:ext>
            </a:extLst>
          </p:cNvPr>
          <p:cNvSpPr/>
          <p:nvPr/>
        </p:nvSpPr>
        <p:spPr>
          <a:xfrm>
            <a:off x="940804" y="3138488"/>
            <a:ext cx="123406" cy="170208"/>
          </a:xfrm>
          <a:custGeom>
            <a:avLst/>
            <a:gdLst>
              <a:gd name="connsiteX0" fmla="*/ 102756 w 138112"/>
              <a:gd name="connsiteY0" fmla="*/ 161906 h 190490"/>
              <a:gd name="connsiteX1" fmla="*/ 99993 w 138112"/>
              <a:gd name="connsiteY1" fmla="*/ 173898 h 190490"/>
              <a:gd name="connsiteX2" fmla="*/ 80753 w 138112"/>
              <a:gd name="connsiteY2" fmla="*/ 190424 h 190490"/>
              <a:gd name="connsiteX3" fmla="*/ 79105 w 138112"/>
              <a:gd name="connsiteY3" fmla="*/ 190490 h 190490"/>
              <a:gd name="connsiteX4" fmla="*/ 58998 w 138112"/>
              <a:gd name="connsiteY4" fmla="*/ 190490 h 190490"/>
              <a:gd name="connsiteX5" fmla="*/ 38548 w 138112"/>
              <a:gd name="connsiteY5" fmla="*/ 175470 h 190490"/>
              <a:gd name="connsiteX6" fmla="*/ 38110 w 138112"/>
              <a:gd name="connsiteY6" fmla="*/ 173879 h 190490"/>
              <a:gd name="connsiteX7" fmla="*/ 35347 w 138112"/>
              <a:gd name="connsiteY7" fmla="*/ 161906 h 190490"/>
              <a:gd name="connsiteX8" fmla="*/ 102756 w 138112"/>
              <a:gd name="connsiteY8" fmla="*/ 161906 h 190490"/>
              <a:gd name="connsiteX9" fmla="*/ 69056 w 138112"/>
              <a:gd name="connsiteY9" fmla="*/ 0 h 190490"/>
              <a:gd name="connsiteX10" fmla="*/ 138113 w 138112"/>
              <a:gd name="connsiteY10" fmla="*/ 69056 h 190490"/>
              <a:gd name="connsiteX11" fmla="*/ 111776 w 138112"/>
              <a:gd name="connsiteY11" fmla="*/ 124682 h 190490"/>
              <a:gd name="connsiteX12" fmla="*/ 111100 w 138112"/>
              <a:gd name="connsiteY12" fmla="*/ 125873 h 190490"/>
              <a:gd name="connsiteX13" fmla="*/ 106070 w 138112"/>
              <a:gd name="connsiteY13" fmla="*/ 147618 h 190490"/>
              <a:gd name="connsiteX14" fmla="*/ 32042 w 138112"/>
              <a:gd name="connsiteY14" fmla="*/ 147618 h 190490"/>
              <a:gd name="connsiteX15" fmla="*/ 27032 w 138112"/>
              <a:gd name="connsiteY15" fmla="*/ 125873 h 190490"/>
              <a:gd name="connsiteX16" fmla="*/ 26356 w 138112"/>
              <a:gd name="connsiteY16" fmla="*/ 124692 h 190490"/>
              <a:gd name="connsiteX17" fmla="*/ 0 w 138112"/>
              <a:gd name="connsiteY17" fmla="*/ 69047 h 190490"/>
              <a:gd name="connsiteX18" fmla="*/ 69056 w 138112"/>
              <a:gd name="connsiteY18" fmla="*/ 0 h 19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8112" h="190490">
                <a:moveTo>
                  <a:pt x="102756" y="161906"/>
                </a:moveTo>
                <a:lnTo>
                  <a:pt x="99993" y="173898"/>
                </a:lnTo>
                <a:cubicBezTo>
                  <a:pt x="97878" y="183018"/>
                  <a:pt x="90087" y="189708"/>
                  <a:pt x="80753" y="190424"/>
                </a:cubicBezTo>
                <a:lnTo>
                  <a:pt x="79105" y="190490"/>
                </a:lnTo>
                <a:lnTo>
                  <a:pt x="58998" y="190490"/>
                </a:lnTo>
                <a:cubicBezTo>
                  <a:pt x="49631" y="190490"/>
                  <a:pt x="41349" y="184408"/>
                  <a:pt x="38548" y="175470"/>
                </a:cubicBezTo>
                <a:lnTo>
                  <a:pt x="38110" y="173879"/>
                </a:lnTo>
                <a:lnTo>
                  <a:pt x="35347" y="161906"/>
                </a:lnTo>
                <a:lnTo>
                  <a:pt x="102756" y="161906"/>
                </a:lnTo>
                <a:close/>
                <a:moveTo>
                  <a:pt x="69056" y="0"/>
                </a:moveTo>
                <a:cubicBezTo>
                  <a:pt x="107195" y="0"/>
                  <a:pt x="138113" y="30918"/>
                  <a:pt x="138113" y="69056"/>
                </a:cubicBezTo>
                <a:cubicBezTo>
                  <a:pt x="138113" y="89402"/>
                  <a:pt x="129197" y="108042"/>
                  <a:pt x="111776" y="124682"/>
                </a:cubicBezTo>
                <a:cubicBezTo>
                  <a:pt x="111439" y="125004"/>
                  <a:pt x="111203" y="125419"/>
                  <a:pt x="111100" y="125873"/>
                </a:cubicBezTo>
                <a:lnTo>
                  <a:pt x="106070" y="147618"/>
                </a:lnTo>
                <a:lnTo>
                  <a:pt x="32042" y="147618"/>
                </a:lnTo>
                <a:lnTo>
                  <a:pt x="27032" y="125873"/>
                </a:lnTo>
                <a:cubicBezTo>
                  <a:pt x="26926" y="125421"/>
                  <a:pt x="26691" y="125011"/>
                  <a:pt x="26356" y="124692"/>
                </a:cubicBezTo>
                <a:cubicBezTo>
                  <a:pt x="8925" y="108042"/>
                  <a:pt x="0" y="89402"/>
                  <a:pt x="0" y="69047"/>
                </a:cubicBezTo>
                <a:cubicBezTo>
                  <a:pt x="5" y="30912"/>
                  <a:pt x="30921" y="0"/>
                  <a:pt x="69056" y="0"/>
                </a:cubicBezTo>
                <a:close/>
              </a:path>
            </a:pathLst>
          </a:custGeom>
          <a:solidFill>
            <a:srgbClr val="FFFFFF"/>
          </a:soli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09" rtl="0" eaLnBrk="1" fontAlgn="base" latinLnBrk="0" hangingPunct="1">
              <a:lnSpc>
                <a:spcPct val="100000"/>
              </a:lnSpc>
              <a:spcBef>
                <a:spcPct val="0"/>
              </a:spcBef>
              <a:spcAft>
                <a:spcPct val="0"/>
              </a:spcAft>
              <a:buClrTx/>
              <a:buSzTx/>
              <a:buFontTx/>
              <a:buNone/>
              <a:tabLst/>
              <a:defRPr/>
            </a:pPr>
            <a:endParaRPr kumimoji="0" lang="ru-UA" sz="2000" b="1"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0" name="Graphic 8">
            <a:extLst>
              <a:ext uri="{FF2B5EF4-FFF2-40B4-BE49-F238E27FC236}">
                <a16:creationId xmlns:a16="http://schemas.microsoft.com/office/drawing/2014/main" id="{428D67DD-F802-F547-662A-C7461A5A8A2B}"/>
              </a:ext>
              <a:ext uri="{C183D7F6-B498-43B3-948B-1728B52AA6E4}">
                <adec:decorative xmlns:adec="http://schemas.microsoft.com/office/drawing/2017/decorative" val="1"/>
              </a:ext>
            </a:extLst>
          </p:cNvPr>
          <p:cNvSpPr/>
          <p:nvPr/>
        </p:nvSpPr>
        <p:spPr>
          <a:xfrm>
            <a:off x="929879" y="3803424"/>
            <a:ext cx="145257" cy="145257"/>
          </a:xfrm>
          <a:custGeom>
            <a:avLst/>
            <a:gdLst>
              <a:gd name="connsiteX0" fmla="*/ 171450 w 171450"/>
              <a:gd name="connsiteY0" fmla="*/ 140494 h 171450"/>
              <a:gd name="connsiteX1" fmla="*/ 140494 w 171450"/>
              <a:gd name="connsiteY1" fmla="*/ 171450 h 171450"/>
              <a:gd name="connsiteX2" fmla="*/ 30956 w 171450"/>
              <a:gd name="connsiteY2" fmla="*/ 171450 h 171450"/>
              <a:gd name="connsiteX3" fmla="*/ 0 w 171450"/>
              <a:gd name="connsiteY3" fmla="*/ 140494 h 171450"/>
              <a:gd name="connsiteX4" fmla="*/ 0 w 171450"/>
              <a:gd name="connsiteY4" fmla="*/ 30956 h 171450"/>
              <a:gd name="connsiteX5" fmla="*/ 30956 w 171450"/>
              <a:gd name="connsiteY5" fmla="*/ 0 h 171450"/>
              <a:gd name="connsiteX6" fmla="*/ 140494 w 171450"/>
              <a:gd name="connsiteY6" fmla="*/ 0 h 171450"/>
              <a:gd name="connsiteX7" fmla="*/ 171450 w 171450"/>
              <a:gd name="connsiteY7" fmla="*/ 30956 h 171450"/>
              <a:gd name="connsiteX8" fmla="*/ 171450 w 171450"/>
              <a:gd name="connsiteY8" fmla="*/ 140494 h 171450"/>
              <a:gd name="connsiteX9" fmla="*/ 133350 w 171450"/>
              <a:gd name="connsiteY9" fmla="*/ 45244 h 171450"/>
              <a:gd name="connsiteX10" fmla="*/ 127178 w 171450"/>
              <a:gd name="connsiteY10" fmla="*/ 38167 h 171450"/>
              <a:gd name="connsiteX11" fmla="*/ 126206 w 171450"/>
              <a:gd name="connsiteY11" fmla="*/ 38100 h 171450"/>
              <a:gd name="connsiteX12" fmla="*/ 45244 w 171450"/>
              <a:gd name="connsiteY12" fmla="*/ 38100 h 171450"/>
              <a:gd name="connsiteX13" fmla="*/ 44272 w 171450"/>
              <a:gd name="connsiteY13" fmla="*/ 38167 h 171450"/>
              <a:gd name="connsiteX14" fmla="*/ 38169 w 171450"/>
              <a:gd name="connsiteY14" fmla="*/ 46217 h 171450"/>
              <a:gd name="connsiteX15" fmla="*/ 44272 w 171450"/>
              <a:gd name="connsiteY15" fmla="*/ 52321 h 171450"/>
              <a:gd name="connsiteX16" fmla="*/ 45244 w 171450"/>
              <a:gd name="connsiteY16" fmla="*/ 52388 h 171450"/>
              <a:gd name="connsiteX17" fmla="*/ 126206 w 171450"/>
              <a:gd name="connsiteY17" fmla="*/ 52388 h 171450"/>
              <a:gd name="connsiteX18" fmla="*/ 127178 w 171450"/>
              <a:gd name="connsiteY18" fmla="*/ 52321 h 171450"/>
              <a:gd name="connsiteX19" fmla="*/ 133350 w 171450"/>
              <a:gd name="connsiteY19" fmla="*/ 45244 h 171450"/>
              <a:gd name="connsiteX20" fmla="*/ 133350 w 171450"/>
              <a:gd name="connsiteY20" fmla="*/ 126206 h 171450"/>
              <a:gd name="connsiteX21" fmla="*/ 127178 w 171450"/>
              <a:gd name="connsiteY21" fmla="*/ 119129 h 171450"/>
              <a:gd name="connsiteX22" fmla="*/ 126206 w 171450"/>
              <a:gd name="connsiteY22" fmla="*/ 119063 h 171450"/>
              <a:gd name="connsiteX23" fmla="*/ 45244 w 171450"/>
              <a:gd name="connsiteY23" fmla="*/ 119063 h 171450"/>
              <a:gd name="connsiteX24" fmla="*/ 44272 w 171450"/>
              <a:gd name="connsiteY24" fmla="*/ 119129 h 171450"/>
              <a:gd name="connsiteX25" fmla="*/ 38169 w 171450"/>
              <a:gd name="connsiteY25" fmla="*/ 127180 h 171450"/>
              <a:gd name="connsiteX26" fmla="*/ 44272 w 171450"/>
              <a:gd name="connsiteY26" fmla="*/ 133283 h 171450"/>
              <a:gd name="connsiteX27" fmla="*/ 45244 w 171450"/>
              <a:gd name="connsiteY27" fmla="*/ 133350 h 171450"/>
              <a:gd name="connsiteX28" fmla="*/ 126206 w 171450"/>
              <a:gd name="connsiteY28" fmla="*/ 133350 h 171450"/>
              <a:gd name="connsiteX29" fmla="*/ 127178 w 171450"/>
              <a:gd name="connsiteY29" fmla="*/ 133283 h 171450"/>
              <a:gd name="connsiteX30" fmla="*/ 133350 w 171450"/>
              <a:gd name="connsiteY30" fmla="*/ 126206 h 171450"/>
              <a:gd name="connsiteX31" fmla="*/ 133350 w 171450"/>
              <a:gd name="connsiteY31" fmla="*/ 85725 h 171450"/>
              <a:gd name="connsiteX32" fmla="*/ 127178 w 171450"/>
              <a:gd name="connsiteY32" fmla="*/ 78648 h 171450"/>
              <a:gd name="connsiteX33" fmla="*/ 126206 w 171450"/>
              <a:gd name="connsiteY33" fmla="*/ 78581 h 171450"/>
              <a:gd name="connsiteX34" fmla="*/ 45244 w 171450"/>
              <a:gd name="connsiteY34" fmla="*/ 78581 h 171450"/>
              <a:gd name="connsiteX35" fmla="*/ 44272 w 171450"/>
              <a:gd name="connsiteY35" fmla="*/ 78648 h 171450"/>
              <a:gd name="connsiteX36" fmla="*/ 38169 w 171450"/>
              <a:gd name="connsiteY36" fmla="*/ 86698 h 171450"/>
              <a:gd name="connsiteX37" fmla="*/ 44272 w 171450"/>
              <a:gd name="connsiteY37" fmla="*/ 92802 h 171450"/>
              <a:gd name="connsiteX38" fmla="*/ 45244 w 171450"/>
              <a:gd name="connsiteY38" fmla="*/ 92869 h 171450"/>
              <a:gd name="connsiteX39" fmla="*/ 126206 w 171450"/>
              <a:gd name="connsiteY39" fmla="*/ 92869 h 171450"/>
              <a:gd name="connsiteX40" fmla="*/ 127178 w 171450"/>
              <a:gd name="connsiteY40" fmla="*/ 92802 h 171450"/>
              <a:gd name="connsiteX41" fmla="*/ 133350 w 171450"/>
              <a:gd name="connsiteY41" fmla="*/ 857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1450" h="171450">
                <a:moveTo>
                  <a:pt x="171450" y="140494"/>
                </a:moveTo>
                <a:cubicBezTo>
                  <a:pt x="171450" y="157590"/>
                  <a:pt x="157590" y="171450"/>
                  <a:pt x="140494" y="171450"/>
                </a:cubicBezTo>
                <a:lnTo>
                  <a:pt x="30956" y="171450"/>
                </a:lnTo>
                <a:cubicBezTo>
                  <a:pt x="13860" y="171450"/>
                  <a:pt x="0" y="157590"/>
                  <a:pt x="0" y="140494"/>
                </a:cubicBezTo>
                <a:lnTo>
                  <a:pt x="0" y="30956"/>
                </a:lnTo>
                <a:cubicBezTo>
                  <a:pt x="0" y="13860"/>
                  <a:pt x="13860" y="0"/>
                  <a:pt x="30956" y="0"/>
                </a:cubicBezTo>
                <a:lnTo>
                  <a:pt x="140494" y="0"/>
                </a:lnTo>
                <a:cubicBezTo>
                  <a:pt x="157590" y="0"/>
                  <a:pt x="171450" y="13860"/>
                  <a:pt x="171450" y="30956"/>
                </a:cubicBezTo>
                <a:lnTo>
                  <a:pt x="171450" y="140494"/>
                </a:lnTo>
                <a:close/>
                <a:moveTo>
                  <a:pt x="133350" y="45244"/>
                </a:moveTo>
                <a:cubicBezTo>
                  <a:pt x="133350" y="41674"/>
                  <a:pt x="130714" y="38652"/>
                  <a:pt x="127178" y="38167"/>
                </a:cubicBezTo>
                <a:lnTo>
                  <a:pt x="126206" y="38100"/>
                </a:lnTo>
                <a:lnTo>
                  <a:pt x="45244" y="38100"/>
                </a:lnTo>
                <a:lnTo>
                  <a:pt x="44272" y="38167"/>
                </a:lnTo>
                <a:cubicBezTo>
                  <a:pt x="40364" y="38704"/>
                  <a:pt x="37631" y="42309"/>
                  <a:pt x="38169" y="46217"/>
                </a:cubicBezTo>
                <a:cubicBezTo>
                  <a:pt x="38605" y="49390"/>
                  <a:pt x="41100" y="51884"/>
                  <a:pt x="44272" y="52321"/>
                </a:cubicBezTo>
                <a:lnTo>
                  <a:pt x="45244" y="52388"/>
                </a:lnTo>
                <a:lnTo>
                  <a:pt x="126206" y="52388"/>
                </a:lnTo>
                <a:lnTo>
                  <a:pt x="127178" y="52321"/>
                </a:lnTo>
                <a:cubicBezTo>
                  <a:pt x="130714" y="51835"/>
                  <a:pt x="133350" y="48814"/>
                  <a:pt x="133350" y="45244"/>
                </a:cubicBezTo>
                <a:close/>
                <a:moveTo>
                  <a:pt x="133350" y="126206"/>
                </a:moveTo>
                <a:cubicBezTo>
                  <a:pt x="133350" y="122636"/>
                  <a:pt x="130714" y="119615"/>
                  <a:pt x="127178" y="119129"/>
                </a:cubicBezTo>
                <a:lnTo>
                  <a:pt x="126206" y="119063"/>
                </a:lnTo>
                <a:lnTo>
                  <a:pt x="45244" y="119063"/>
                </a:lnTo>
                <a:lnTo>
                  <a:pt x="44272" y="119129"/>
                </a:lnTo>
                <a:cubicBezTo>
                  <a:pt x="40364" y="119667"/>
                  <a:pt x="37631" y="123272"/>
                  <a:pt x="38169" y="127180"/>
                </a:cubicBezTo>
                <a:cubicBezTo>
                  <a:pt x="38605" y="130352"/>
                  <a:pt x="41100" y="132847"/>
                  <a:pt x="44272" y="133283"/>
                </a:cubicBezTo>
                <a:lnTo>
                  <a:pt x="45244" y="133350"/>
                </a:lnTo>
                <a:lnTo>
                  <a:pt x="126206" y="133350"/>
                </a:lnTo>
                <a:lnTo>
                  <a:pt x="127178" y="133283"/>
                </a:lnTo>
                <a:cubicBezTo>
                  <a:pt x="130714" y="132798"/>
                  <a:pt x="133350" y="129776"/>
                  <a:pt x="133350" y="126206"/>
                </a:cubicBezTo>
                <a:close/>
                <a:moveTo>
                  <a:pt x="133350" y="85725"/>
                </a:moveTo>
                <a:cubicBezTo>
                  <a:pt x="133350" y="82155"/>
                  <a:pt x="130714" y="79134"/>
                  <a:pt x="127178" y="78648"/>
                </a:cubicBezTo>
                <a:lnTo>
                  <a:pt x="126206" y="78581"/>
                </a:lnTo>
                <a:lnTo>
                  <a:pt x="45244" y="78581"/>
                </a:lnTo>
                <a:lnTo>
                  <a:pt x="44272" y="78648"/>
                </a:lnTo>
                <a:cubicBezTo>
                  <a:pt x="40364" y="79186"/>
                  <a:pt x="37631" y="82790"/>
                  <a:pt x="38169" y="86698"/>
                </a:cubicBezTo>
                <a:cubicBezTo>
                  <a:pt x="38605" y="89871"/>
                  <a:pt x="41100" y="92366"/>
                  <a:pt x="44272" y="92802"/>
                </a:cubicBezTo>
                <a:lnTo>
                  <a:pt x="45244" y="92869"/>
                </a:lnTo>
                <a:lnTo>
                  <a:pt x="126206" y="92869"/>
                </a:lnTo>
                <a:lnTo>
                  <a:pt x="127178" y="92802"/>
                </a:lnTo>
                <a:cubicBezTo>
                  <a:pt x="130714" y="92316"/>
                  <a:pt x="133350" y="89295"/>
                  <a:pt x="133350" y="85725"/>
                </a:cubicBezTo>
                <a:close/>
              </a:path>
            </a:pathLst>
          </a:custGeom>
          <a:solidFill>
            <a:srgbClr val="FFFFFF"/>
          </a:soli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509" rtl="0" eaLnBrk="1" fontAlgn="base" latinLnBrk="0" hangingPunct="1">
              <a:lnSpc>
                <a:spcPct val="100000"/>
              </a:lnSpc>
              <a:spcBef>
                <a:spcPct val="0"/>
              </a:spcBef>
              <a:spcAft>
                <a:spcPct val="0"/>
              </a:spcAft>
              <a:buClrTx/>
              <a:buSzTx/>
              <a:buFontTx/>
              <a:buNone/>
              <a:tabLst/>
              <a:defRPr/>
            </a:pPr>
            <a:endParaRPr kumimoji="0" lang="ru-UA" sz="2000" b="1"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2" name="Graphic 10">
            <a:extLst>
              <a:ext uri="{FF2B5EF4-FFF2-40B4-BE49-F238E27FC236}">
                <a16:creationId xmlns:a16="http://schemas.microsoft.com/office/drawing/2014/main" id="{609B9A65-653B-3E87-444A-43A9FBC5B1BF}"/>
              </a:ext>
              <a:ext uri="{C183D7F6-B498-43B3-948B-1728B52AA6E4}">
                <adec:decorative xmlns:adec="http://schemas.microsoft.com/office/drawing/2017/decorative" val="1"/>
              </a:ext>
            </a:extLst>
          </p:cNvPr>
          <p:cNvSpPr/>
          <p:nvPr/>
        </p:nvSpPr>
        <p:spPr>
          <a:xfrm>
            <a:off x="943003" y="5085041"/>
            <a:ext cx="119008" cy="144253"/>
          </a:xfrm>
          <a:custGeom>
            <a:avLst/>
            <a:gdLst>
              <a:gd name="connsiteX0" fmla="*/ 23813 w 157162"/>
              <a:gd name="connsiteY0" fmla="*/ 0 h 190500"/>
              <a:gd name="connsiteX1" fmla="*/ 0 w 157162"/>
              <a:gd name="connsiteY1" fmla="*/ 23813 h 190500"/>
              <a:gd name="connsiteX2" fmla="*/ 0 w 157162"/>
              <a:gd name="connsiteY2" fmla="*/ 166688 h 190500"/>
              <a:gd name="connsiteX3" fmla="*/ 23813 w 157162"/>
              <a:gd name="connsiteY3" fmla="*/ 190500 h 190500"/>
              <a:gd name="connsiteX4" fmla="*/ 150019 w 157162"/>
              <a:gd name="connsiteY4" fmla="*/ 190500 h 190500"/>
              <a:gd name="connsiteX5" fmla="*/ 157163 w 157162"/>
              <a:gd name="connsiteY5" fmla="*/ 183356 h 190500"/>
              <a:gd name="connsiteX6" fmla="*/ 150019 w 157162"/>
              <a:gd name="connsiteY6" fmla="*/ 176213 h 190500"/>
              <a:gd name="connsiteX7" fmla="*/ 23813 w 157162"/>
              <a:gd name="connsiteY7" fmla="*/ 176213 h 190500"/>
              <a:gd name="connsiteX8" fmla="*/ 14288 w 157162"/>
              <a:gd name="connsiteY8" fmla="*/ 166688 h 190500"/>
              <a:gd name="connsiteX9" fmla="*/ 150019 w 157162"/>
              <a:gd name="connsiteY9" fmla="*/ 166688 h 190500"/>
              <a:gd name="connsiteX10" fmla="*/ 157163 w 157162"/>
              <a:gd name="connsiteY10" fmla="*/ 159544 h 190500"/>
              <a:gd name="connsiteX11" fmla="*/ 157163 w 157162"/>
              <a:gd name="connsiteY11" fmla="*/ 23813 h 190500"/>
              <a:gd name="connsiteX12" fmla="*/ 133350 w 157162"/>
              <a:gd name="connsiteY12" fmla="*/ 0 h 190500"/>
              <a:gd name="connsiteX13" fmla="*/ 23813 w 157162"/>
              <a:gd name="connsiteY13" fmla="*/ 0 h 190500"/>
              <a:gd name="connsiteX14" fmla="*/ 38100 w 157162"/>
              <a:gd name="connsiteY14" fmla="*/ 28575 h 190500"/>
              <a:gd name="connsiteX15" fmla="*/ 114300 w 157162"/>
              <a:gd name="connsiteY15" fmla="*/ 28575 h 190500"/>
              <a:gd name="connsiteX16" fmla="*/ 123825 w 157162"/>
              <a:gd name="connsiteY16" fmla="*/ 38100 h 190500"/>
              <a:gd name="connsiteX17" fmla="*/ 123825 w 157162"/>
              <a:gd name="connsiteY17" fmla="*/ 47625 h 190500"/>
              <a:gd name="connsiteX18" fmla="*/ 114300 w 157162"/>
              <a:gd name="connsiteY18" fmla="*/ 57150 h 190500"/>
              <a:gd name="connsiteX19" fmla="*/ 38100 w 157162"/>
              <a:gd name="connsiteY19" fmla="*/ 57150 h 190500"/>
              <a:gd name="connsiteX20" fmla="*/ 28575 w 157162"/>
              <a:gd name="connsiteY20" fmla="*/ 47625 h 190500"/>
              <a:gd name="connsiteX21" fmla="*/ 28575 w 157162"/>
              <a:gd name="connsiteY21" fmla="*/ 38100 h 190500"/>
              <a:gd name="connsiteX22" fmla="*/ 38100 w 157162"/>
              <a:gd name="connsiteY22" fmla="*/ 2857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162" h="190500">
                <a:moveTo>
                  <a:pt x="23813" y="0"/>
                </a:moveTo>
                <a:cubicBezTo>
                  <a:pt x="10661" y="0"/>
                  <a:pt x="0" y="10661"/>
                  <a:pt x="0" y="23813"/>
                </a:cubicBezTo>
                <a:lnTo>
                  <a:pt x="0" y="166688"/>
                </a:lnTo>
                <a:cubicBezTo>
                  <a:pt x="0" y="179839"/>
                  <a:pt x="10661" y="190500"/>
                  <a:pt x="23813" y="190500"/>
                </a:cubicBezTo>
                <a:lnTo>
                  <a:pt x="150019" y="190500"/>
                </a:lnTo>
                <a:cubicBezTo>
                  <a:pt x="153964" y="190500"/>
                  <a:pt x="157163" y="187302"/>
                  <a:pt x="157163" y="183356"/>
                </a:cubicBezTo>
                <a:cubicBezTo>
                  <a:pt x="157163" y="179411"/>
                  <a:pt x="153964" y="176213"/>
                  <a:pt x="150019" y="176213"/>
                </a:cubicBezTo>
                <a:lnTo>
                  <a:pt x="23813" y="176213"/>
                </a:lnTo>
                <a:cubicBezTo>
                  <a:pt x="18552" y="176213"/>
                  <a:pt x="14288" y="171948"/>
                  <a:pt x="14288" y="166688"/>
                </a:cubicBezTo>
                <a:lnTo>
                  <a:pt x="150019" y="166688"/>
                </a:lnTo>
                <a:cubicBezTo>
                  <a:pt x="153964" y="166688"/>
                  <a:pt x="157163" y="163489"/>
                  <a:pt x="157163" y="159544"/>
                </a:cubicBezTo>
                <a:lnTo>
                  <a:pt x="157163" y="23813"/>
                </a:lnTo>
                <a:cubicBezTo>
                  <a:pt x="157163" y="10661"/>
                  <a:pt x="146501" y="0"/>
                  <a:pt x="133350" y="0"/>
                </a:cubicBezTo>
                <a:lnTo>
                  <a:pt x="23813" y="0"/>
                </a:lnTo>
                <a:close/>
                <a:moveTo>
                  <a:pt x="38100" y="28575"/>
                </a:moveTo>
                <a:lnTo>
                  <a:pt x="114300" y="28575"/>
                </a:lnTo>
                <a:cubicBezTo>
                  <a:pt x="119561" y="28575"/>
                  <a:pt x="123825" y="32840"/>
                  <a:pt x="123825" y="38100"/>
                </a:cubicBezTo>
                <a:lnTo>
                  <a:pt x="123825" y="47625"/>
                </a:lnTo>
                <a:cubicBezTo>
                  <a:pt x="123825" y="52885"/>
                  <a:pt x="119561" y="57150"/>
                  <a:pt x="114300" y="57150"/>
                </a:cubicBezTo>
                <a:lnTo>
                  <a:pt x="38100" y="57150"/>
                </a:lnTo>
                <a:cubicBezTo>
                  <a:pt x="32840" y="57150"/>
                  <a:pt x="28575" y="52885"/>
                  <a:pt x="28575" y="47625"/>
                </a:cubicBezTo>
                <a:lnTo>
                  <a:pt x="28575" y="38100"/>
                </a:lnTo>
                <a:cubicBezTo>
                  <a:pt x="28575" y="32840"/>
                  <a:pt x="32840" y="28575"/>
                  <a:pt x="38100" y="28575"/>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13" name="Graphic 12">
            <a:extLst>
              <a:ext uri="{FF2B5EF4-FFF2-40B4-BE49-F238E27FC236}">
                <a16:creationId xmlns:a16="http://schemas.microsoft.com/office/drawing/2014/main" id="{C5D90E07-324C-2AAF-26E0-BD08C7B4742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6622" y="5693417"/>
            <a:ext cx="191771" cy="191771"/>
          </a:xfrm>
          <a:prstGeom prst="rect">
            <a:avLst/>
          </a:prstGeom>
        </p:spPr>
      </p:pic>
      <p:graphicFrame>
        <p:nvGraphicFramePr>
          <p:cNvPr id="14" name="Table 13">
            <a:extLst>
              <a:ext uri="{FF2B5EF4-FFF2-40B4-BE49-F238E27FC236}">
                <a16:creationId xmlns:a16="http://schemas.microsoft.com/office/drawing/2014/main" id="{C27FE09D-1ED7-BFB7-CADD-E66D020CB988}"/>
              </a:ext>
            </a:extLst>
          </p:cNvPr>
          <p:cNvGraphicFramePr>
            <a:graphicFrameLocks noGrp="1"/>
          </p:cNvGraphicFramePr>
          <p:nvPr/>
        </p:nvGraphicFramePr>
        <p:xfrm>
          <a:off x="588263" y="1814046"/>
          <a:ext cx="11006236" cy="440641"/>
        </p:xfrm>
        <a:graphic>
          <a:graphicData uri="http://schemas.openxmlformats.org/drawingml/2006/table">
            <a:tbl>
              <a:tblPr firstRow="1" firstCol="1">
                <a:tableStyleId>{5C22544A-7EE6-4342-B048-85BDC9FD1C3A}</a:tableStyleId>
              </a:tblPr>
              <a:tblGrid>
                <a:gridCol w="746236">
                  <a:extLst>
                    <a:ext uri="{9D8B030D-6E8A-4147-A177-3AD203B41FA5}">
                      <a16:colId xmlns:a16="http://schemas.microsoft.com/office/drawing/2014/main" val="4118558838"/>
                    </a:ext>
                  </a:extLst>
                </a:gridCol>
                <a:gridCol w="2124000">
                  <a:extLst>
                    <a:ext uri="{9D8B030D-6E8A-4147-A177-3AD203B41FA5}">
                      <a16:colId xmlns:a16="http://schemas.microsoft.com/office/drawing/2014/main" val="937084765"/>
                    </a:ext>
                  </a:extLst>
                </a:gridCol>
                <a:gridCol w="8136000">
                  <a:extLst>
                    <a:ext uri="{9D8B030D-6E8A-4147-A177-3AD203B41FA5}">
                      <a16:colId xmlns:a16="http://schemas.microsoft.com/office/drawing/2014/main" val="893455128"/>
                    </a:ext>
                  </a:extLst>
                </a:gridCol>
              </a:tblGrid>
              <a:tr h="440641">
                <a:tc>
                  <a:txBody>
                    <a:bodyPr/>
                    <a:lstStyle/>
                    <a:p>
                      <a:endParaRPr lang="en-US" sz="1600">
                        <a:solidFill>
                          <a:schemeClr val="bg1"/>
                        </a:solidFill>
                        <a:latin typeface="+mj-lt"/>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a:solidFill>
                            <a:schemeClr val="bg1"/>
                          </a:solidFill>
                          <a:latin typeface="+mj-lt"/>
                          <a:ea typeface="+mj-ea"/>
                          <a:cs typeface="+mj-cs"/>
                        </a:rPr>
                        <a:t>Agent Nam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dirty="0">
                          <a:solidFill>
                            <a:schemeClr val="bg1"/>
                          </a:solidFill>
                          <a:latin typeface="+mj-lt"/>
                          <a:ea typeface="+mj-ea"/>
                          <a:cs typeface="+mj-cs"/>
                        </a:rPr>
                        <a:t>Description</a:t>
                      </a:r>
                    </a:p>
                  </a:txBody>
                  <a:tcPr marL="180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5343342"/>
                  </a:ext>
                </a:extLst>
              </a:tr>
            </a:tbl>
          </a:graphicData>
        </a:graphic>
      </p:graphicFrame>
    </p:spTree>
    <p:extLst>
      <p:ext uri="{BB962C8B-B14F-4D97-AF65-F5344CB8AC3E}">
        <p14:creationId xmlns:p14="http://schemas.microsoft.com/office/powerpoint/2010/main" val="1563784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200"/>
                                  </p:stCondLst>
                                  <p:childTnLst>
                                    <p:animMotion origin="layout" path="M 2.08333E-7 4.81481E-6 L 2.08333E-7 0.03541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200"/>
                                  </p:stCondLst>
                                  <p:childTnLst>
                                    <p:animMotion origin="layout" path="M -1.45833E-6 2.96296E-6 L -1.45833E-6 0.03541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42" presetClass="path" presetSubtype="0" decel="100000" fill="hold" grpId="1" nodeType="withEffect">
                                  <p:stCondLst>
                                    <p:cond delay="200"/>
                                  </p:stCondLst>
                                  <p:childTnLst>
                                    <p:animMotion origin="layout" path="M -1.45833E-6 2.59259E-6 L -1.45833E-6 0.03541 " pathEditMode="relative" rAng="0" ptsTypes="AA">
                                      <p:cBhvr>
                                        <p:cTn id="19" dur="700" spd="-100000" fill="hold"/>
                                        <p:tgtEl>
                                          <p:spTgt spid="17"/>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42" presetClass="path" presetSubtype="0" decel="100000" fill="hold" grpId="1" nodeType="withEffect">
                                  <p:stCondLst>
                                    <p:cond delay="200"/>
                                  </p:stCondLst>
                                  <p:childTnLst>
                                    <p:animMotion origin="layout" path="M -1.45833E-6 -2.96296E-6 L -1.45833E-6 0.03542 " pathEditMode="relative" rAng="0" ptsTypes="AA">
                                      <p:cBhvr>
                                        <p:cTn id="24" dur="700" spd="-100000" fill="hold"/>
                                        <p:tgtEl>
                                          <p:spTgt spid="19"/>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grpId="1" nodeType="withEffect">
                                  <p:stCondLst>
                                    <p:cond delay="200"/>
                                  </p:stCondLst>
                                  <p:childTnLst>
                                    <p:animMotion origin="layout" path="M -1.45833E-6 -1.85185E-6 L -1.45833E-6 0.03542 " pathEditMode="relative" rAng="0" ptsTypes="AA">
                                      <p:cBhvr>
                                        <p:cTn id="29" dur="700" spd="-100000" fill="hold"/>
                                        <p:tgtEl>
                                          <p:spTgt spid="22"/>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42" presetClass="path" presetSubtype="0" decel="100000" fill="hold" grpId="1" nodeType="withEffect">
                                  <p:stCondLst>
                                    <p:cond delay="200"/>
                                  </p:stCondLst>
                                  <p:childTnLst>
                                    <p:animMotion origin="layout" path="M -1.45833E-6 -1.48148E-6 L -1.45833E-6 0.03542 " pathEditMode="relative" rAng="0" ptsTypes="AA">
                                      <p:cBhvr>
                                        <p:cTn id="34" dur="700" spd="-100000" fill="hold"/>
                                        <p:tgtEl>
                                          <p:spTgt spid="23"/>
                                        </p:tgtEl>
                                        <p:attrNameLst>
                                          <p:attrName>ppt_x</p:attrName>
                                          <p:attrName>ppt_y</p:attrName>
                                        </p:attrNameLst>
                                      </p:cBhvr>
                                      <p:rCtr x="0" y="1759"/>
                                    </p:animMotion>
                                  </p:childTnLst>
                                </p:cTn>
                              </p:par>
                              <p:par>
                                <p:cTn id="35" presetID="10" presetClass="entr" presetSubtype="0" fill="hold" nodeType="withEffect">
                                  <p:stCondLst>
                                    <p:cond delay="20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par>
                                <p:cTn id="38" presetID="42" presetClass="path" presetSubtype="0" decel="100000" fill="hold" nodeType="withEffect">
                                  <p:stCondLst>
                                    <p:cond delay="200"/>
                                  </p:stCondLst>
                                  <p:childTnLst>
                                    <p:animMotion origin="layout" path="M 4.16667E-7 7.40741E-7 L 4.16667E-7 0.03542 " pathEditMode="relative" rAng="0" ptsTypes="AA">
                                      <p:cBhvr>
                                        <p:cTn id="39" dur="700" spd="-100000" fill="hold"/>
                                        <p:tgtEl>
                                          <p:spTgt spid="2"/>
                                        </p:tgtEl>
                                        <p:attrNameLst>
                                          <p:attrName>ppt_x</p:attrName>
                                          <p:attrName>ppt_y</p:attrName>
                                        </p:attrNameLst>
                                      </p:cBhvr>
                                      <p:rCtr x="0" y="1759"/>
                                    </p:animMotion>
                                  </p:childTnLst>
                                </p:cTn>
                              </p:par>
                              <p:par>
                                <p:cTn id="40" presetID="10" presetClass="entr" presetSubtype="0" fill="hold" nodeType="withEffect">
                                  <p:stCondLst>
                                    <p:cond delay="20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42" presetClass="path" presetSubtype="0" decel="100000" fill="hold" nodeType="withEffect">
                                  <p:stCondLst>
                                    <p:cond delay="200"/>
                                  </p:stCondLst>
                                  <p:childTnLst>
                                    <p:animMotion origin="layout" path="M 6.25E-7 2.22222E-6 L 6.25E-7 0.03541 " pathEditMode="relative" rAng="0" ptsTypes="AA">
                                      <p:cBhvr>
                                        <p:cTn id="44" dur="700" spd="-100000" fill="hold"/>
                                        <p:tgtEl>
                                          <p:spTgt spid="14"/>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42" presetClass="path" presetSubtype="0" decel="100000" fill="hold" grpId="1" nodeType="withEffect">
                                  <p:stCondLst>
                                    <p:cond delay="200"/>
                                  </p:stCondLst>
                                  <p:childTnLst>
                                    <p:animMotion origin="layout" path="M 0 -7.40741E-7 L 0 0.03542 " pathEditMode="relative" rAng="0" ptsTypes="AA">
                                      <p:cBhvr>
                                        <p:cTn id="49" dur="700" spd="-100000" fill="hold"/>
                                        <p:tgtEl>
                                          <p:spTgt spid="3"/>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42" presetClass="path" presetSubtype="0" decel="100000" fill="hold" grpId="1" nodeType="withEffect">
                                  <p:stCondLst>
                                    <p:cond delay="200"/>
                                  </p:stCondLst>
                                  <p:childTnLst>
                                    <p:animMotion origin="layout" path="M -1.45833E-6 2.59259E-6 L -1.45833E-6 0.03541 " pathEditMode="relative" rAng="0" ptsTypes="AA">
                                      <p:cBhvr>
                                        <p:cTn id="54" dur="700" spd="-100000" fill="hold"/>
                                        <p:tgtEl>
                                          <p:spTgt spid="6"/>
                                        </p:tgtEl>
                                        <p:attrNameLst>
                                          <p:attrName>ppt_x</p:attrName>
                                          <p:attrName>ppt_y</p:attrName>
                                        </p:attrNameLst>
                                      </p:cBhvr>
                                      <p:rCtr x="0" y="1759"/>
                                    </p:animMotion>
                                  </p:childTnLst>
                                </p:cTn>
                              </p:par>
                              <p:par>
                                <p:cTn id="55" presetID="10" presetClass="entr" presetSubtype="0" fill="hold" nodeType="withEffect">
                                  <p:stCondLst>
                                    <p:cond delay="200"/>
                                  </p:stCondLst>
                                  <p:childTnLst>
                                    <p:set>
                                      <p:cBhvr>
                                        <p:cTn id="56" dur="1" fill="hold">
                                          <p:stCondLst>
                                            <p:cond delay="0"/>
                                          </p:stCondLst>
                                        </p:cTn>
                                        <p:tgtEl>
                                          <p:spTgt spid="43"/>
                                        </p:tgtEl>
                                        <p:attrNameLst>
                                          <p:attrName>style.visibility</p:attrName>
                                        </p:attrNameLst>
                                      </p:cBhvr>
                                      <p:to>
                                        <p:strVal val="visible"/>
                                      </p:to>
                                    </p:set>
                                    <p:animEffect transition="in" filter="fade">
                                      <p:cBhvr>
                                        <p:cTn id="57" dur="500"/>
                                        <p:tgtEl>
                                          <p:spTgt spid="43"/>
                                        </p:tgtEl>
                                      </p:cBhvr>
                                    </p:animEffect>
                                  </p:childTnLst>
                                </p:cTn>
                              </p:par>
                              <p:par>
                                <p:cTn id="58" presetID="42" presetClass="path" presetSubtype="0" decel="100000" fill="hold" nodeType="withEffect">
                                  <p:stCondLst>
                                    <p:cond delay="200"/>
                                  </p:stCondLst>
                                  <p:childTnLst>
                                    <p:animMotion origin="layout" path="M -3.75E-6 2.96296E-6 L -3.75E-6 0.03541 " pathEditMode="relative" rAng="0" ptsTypes="AA">
                                      <p:cBhvr>
                                        <p:cTn id="59" dur="700" spd="-100000" fill="hold"/>
                                        <p:tgtEl>
                                          <p:spTgt spid="43"/>
                                        </p:tgtEl>
                                        <p:attrNameLst>
                                          <p:attrName>ppt_x</p:attrName>
                                          <p:attrName>ppt_y</p:attrName>
                                        </p:attrNameLst>
                                      </p:cBhvr>
                                      <p:rCtr x="0" y="1759"/>
                                    </p:animMotion>
                                  </p:childTnLst>
                                </p:cTn>
                              </p:par>
                              <p:par>
                                <p:cTn id="60" presetID="10" presetClass="entr" presetSubtype="0" fill="hold" grpId="0" nodeType="withEffect">
                                  <p:stCondLst>
                                    <p:cond delay="200"/>
                                  </p:stCondLst>
                                  <p:childTnLst>
                                    <p:set>
                                      <p:cBhvr>
                                        <p:cTn id="61" dur="1" fill="hold">
                                          <p:stCondLst>
                                            <p:cond delay="0"/>
                                          </p:stCondLst>
                                        </p:cTn>
                                        <p:tgtEl>
                                          <p:spTgt spid="45"/>
                                        </p:tgtEl>
                                        <p:attrNameLst>
                                          <p:attrName>style.visibility</p:attrName>
                                        </p:attrNameLst>
                                      </p:cBhvr>
                                      <p:to>
                                        <p:strVal val="visible"/>
                                      </p:to>
                                    </p:set>
                                    <p:animEffect transition="in" filter="fade">
                                      <p:cBhvr>
                                        <p:cTn id="62" dur="500"/>
                                        <p:tgtEl>
                                          <p:spTgt spid="45"/>
                                        </p:tgtEl>
                                      </p:cBhvr>
                                    </p:animEffect>
                                  </p:childTnLst>
                                </p:cTn>
                              </p:par>
                              <p:par>
                                <p:cTn id="63" presetID="42" presetClass="path" presetSubtype="0" decel="100000" fill="hold" grpId="1" nodeType="withEffect">
                                  <p:stCondLst>
                                    <p:cond delay="200"/>
                                  </p:stCondLst>
                                  <p:childTnLst>
                                    <p:animMotion origin="layout" path="M -1.45833E-6 -2.96296E-6 L -1.45833E-6 0.03542 " pathEditMode="relative" rAng="0" ptsTypes="AA">
                                      <p:cBhvr>
                                        <p:cTn id="64" dur="700" spd="-100000" fill="hold"/>
                                        <p:tgtEl>
                                          <p:spTgt spid="45"/>
                                        </p:tgtEl>
                                        <p:attrNameLst>
                                          <p:attrName>ppt_x</p:attrName>
                                          <p:attrName>ppt_y</p:attrName>
                                        </p:attrNameLst>
                                      </p:cBhvr>
                                      <p:rCtr x="0" y="1759"/>
                                    </p:animMotion>
                                  </p:childTnLst>
                                </p:cTn>
                              </p:par>
                              <p:par>
                                <p:cTn id="65" presetID="10" presetClass="entr" presetSubtype="0" fill="hold" grpId="0" nodeType="withEffect">
                                  <p:stCondLst>
                                    <p:cond delay="200"/>
                                  </p:stCondLst>
                                  <p:childTnLst>
                                    <p:set>
                                      <p:cBhvr>
                                        <p:cTn id="66" dur="1" fill="hold">
                                          <p:stCondLst>
                                            <p:cond delay="0"/>
                                          </p:stCondLst>
                                        </p:cTn>
                                        <p:tgtEl>
                                          <p:spTgt spid="12"/>
                                        </p:tgtEl>
                                        <p:attrNameLst>
                                          <p:attrName>style.visibility</p:attrName>
                                        </p:attrNameLst>
                                      </p:cBhvr>
                                      <p:to>
                                        <p:strVal val="visible"/>
                                      </p:to>
                                    </p:set>
                                    <p:animEffect transition="in" filter="fade">
                                      <p:cBhvr>
                                        <p:cTn id="67" dur="500"/>
                                        <p:tgtEl>
                                          <p:spTgt spid="12"/>
                                        </p:tgtEl>
                                      </p:cBhvr>
                                    </p:animEffect>
                                  </p:childTnLst>
                                </p:cTn>
                              </p:par>
                              <p:par>
                                <p:cTn id="68" presetID="42" presetClass="path" presetSubtype="0" decel="100000" fill="hold" grpId="1" nodeType="withEffect">
                                  <p:stCondLst>
                                    <p:cond delay="200"/>
                                  </p:stCondLst>
                                  <p:childTnLst>
                                    <p:animMotion origin="layout" path="M -1.45833E-6 -1.85185E-6 L -1.45833E-6 0.03542 " pathEditMode="relative" rAng="0" ptsTypes="AA">
                                      <p:cBhvr>
                                        <p:cTn id="69" dur="700" spd="-100000" fill="hold"/>
                                        <p:tgtEl>
                                          <p:spTgt spid="12"/>
                                        </p:tgtEl>
                                        <p:attrNameLst>
                                          <p:attrName>ppt_x</p:attrName>
                                          <p:attrName>ppt_y</p:attrName>
                                        </p:attrNameLst>
                                      </p:cBhvr>
                                      <p:rCtr x="0" y="1759"/>
                                    </p:animMotion>
                                  </p:childTnLst>
                                </p:cTn>
                              </p:par>
                              <p:par>
                                <p:cTn id="70" presetID="10" presetClass="entr" presetSubtype="0" fill="hold" nodeType="withEffect">
                                  <p:stCondLst>
                                    <p:cond delay="20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500"/>
                                        <p:tgtEl>
                                          <p:spTgt spid="13"/>
                                        </p:tgtEl>
                                      </p:cBhvr>
                                    </p:animEffect>
                                  </p:childTnLst>
                                </p:cTn>
                              </p:par>
                              <p:par>
                                <p:cTn id="73" presetID="42" presetClass="path" presetSubtype="0" decel="100000" fill="hold" nodeType="withEffect">
                                  <p:stCondLst>
                                    <p:cond delay="200"/>
                                  </p:stCondLst>
                                  <p:childTnLst>
                                    <p:animMotion origin="layout" path="M -1.45833E-6 -1.48148E-6 L -1.45833E-6 0.03542 " pathEditMode="relative" rAng="0" ptsTypes="AA">
                                      <p:cBhvr>
                                        <p:cTn id="74" dur="700" spd="-100000" fill="hold"/>
                                        <p:tgtEl>
                                          <p:spTgt spid="13"/>
                                        </p:tgtEl>
                                        <p:attrNameLst>
                                          <p:attrName>ppt_x</p:attrName>
                                          <p:attrName>ppt_y</p:attrName>
                                        </p:attrNameLst>
                                      </p:cBhvr>
                                      <p:rCtr x="0" y="1759"/>
                                    </p:animMotion>
                                  </p:childTnLst>
                                </p:cTn>
                              </p:par>
                              <p:par>
                                <p:cTn id="75" presetID="10" presetClass="entr" presetSubtype="0" fill="hold" grpId="0" nodeType="withEffect">
                                  <p:stCondLst>
                                    <p:cond delay="200"/>
                                  </p:stCondLst>
                                  <p:childTnLst>
                                    <p:set>
                                      <p:cBhvr>
                                        <p:cTn id="76" dur="1" fill="hold">
                                          <p:stCondLst>
                                            <p:cond delay="0"/>
                                          </p:stCondLst>
                                        </p:cTn>
                                        <p:tgtEl>
                                          <p:spTgt spid="18"/>
                                        </p:tgtEl>
                                        <p:attrNameLst>
                                          <p:attrName>style.visibility</p:attrName>
                                        </p:attrNameLst>
                                      </p:cBhvr>
                                      <p:to>
                                        <p:strVal val="visible"/>
                                      </p:to>
                                    </p:set>
                                    <p:animEffect transition="in" filter="fade">
                                      <p:cBhvr>
                                        <p:cTn id="77" dur="500"/>
                                        <p:tgtEl>
                                          <p:spTgt spid="18"/>
                                        </p:tgtEl>
                                      </p:cBhvr>
                                    </p:animEffect>
                                  </p:childTnLst>
                                </p:cTn>
                              </p:par>
                              <p:par>
                                <p:cTn id="78" presetID="42" presetClass="path" presetSubtype="0" decel="100000" fill="hold" grpId="1" nodeType="withEffect">
                                  <p:stCondLst>
                                    <p:cond delay="200"/>
                                  </p:stCondLst>
                                  <p:childTnLst>
                                    <p:animMotion origin="layout" path="M -1.45833E-6 3.7037E-6 L -1.45833E-6 0.03541 " pathEditMode="relative" rAng="0" ptsTypes="AA">
                                      <p:cBhvr>
                                        <p:cTn id="79" dur="700" spd="-100000" fill="hold"/>
                                        <p:tgtEl>
                                          <p:spTgt spid="18"/>
                                        </p:tgtEl>
                                        <p:attrNameLst>
                                          <p:attrName>ppt_x</p:attrName>
                                          <p:attrName>ppt_y</p:attrName>
                                        </p:attrNameLst>
                                      </p:cBhvr>
                                      <p:rCtr x="0" y="1759"/>
                                    </p:animMotion>
                                  </p:childTnLst>
                                </p:cTn>
                              </p:par>
                              <p:par>
                                <p:cTn id="80" presetID="10" presetClass="entr" presetSubtype="0" fill="hold" grpId="0" nodeType="withEffect">
                                  <p:stCondLst>
                                    <p:cond delay="200"/>
                                  </p:stCondLst>
                                  <p:childTnLst>
                                    <p:set>
                                      <p:cBhvr>
                                        <p:cTn id="81" dur="1" fill="hold">
                                          <p:stCondLst>
                                            <p:cond delay="0"/>
                                          </p:stCondLst>
                                        </p:cTn>
                                        <p:tgtEl>
                                          <p:spTgt spid="10"/>
                                        </p:tgtEl>
                                        <p:attrNameLst>
                                          <p:attrName>style.visibility</p:attrName>
                                        </p:attrNameLst>
                                      </p:cBhvr>
                                      <p:to>
                                        <p:strVal val="visible"/>
                                      </p:to>
                                    </p:set>
                                    <p:animEffect transition="in" filter="fade">
                                      <p:cBhvr>
                                        <p:cTn id="82" dur="500"/>
                                        <p:tgtEl>
                                          <p:spTgt spid="10"/>
                                        </p:tgtEl>
                                      </p:cBhvr>
                                    </p:animEffect>
                                  </p:childTnLst>
                                </p:cTn>
                              </p:par>
                              <p:par>
                                <p:cTn id="83" presetID="42" presetClass="path" presetSubtype="0" decel="100000" fill="hold" grpId="1" nodeType="withEffect">
                                  <p:stCondLst>
                                    <p:cond delay="200"/>
                                  </p:stCondLst>
                                  <p:childTnLst>
                                    <p:animMotion origin="layout" path="M -1.45833E-6 3.7037E-6 L -1.45833E-6 0.03541 " pathEditMode="relative" rAng="0" ptsTypes="AA">
                                      <p:cBhvr>
                                        <p:cTn id="84" dur="700" spd="-100000" fill="hold"/>
                                        <p:tgtEl>
                                          <p:spTgt spid="10"/>
                                        </p:tgtEl>
                                        <p:attrNameLst>
                                          <p:attrName>ppt_x</p:attrName>
                                          <p:attrName>ppt_y</p:attrName>
                                        </p:attrNameLst>
                                      </p:cBhvr>
                                      <p:rCtr x="0" y="1759"/>
                                    </p:animMotion>
                                  </p:childTnLst>
                                </p:cTn>
                              </p:par>
                              <p:par>
                                <p:cTn id="85" presetID="10" presetClass="entr" presetSubtype="0" fill="hold" grpId="0" nodeType="withEffect">
                                  <p:stCondLst>
                                    <p:cond delay="200"/>
                                  </p:stCondLst>
                                  <p:childTnLst>
                                    <p:set>
                                      <p:cBhvr>
                                        <p:cTn id="86" dur="1" fill="hold">
                                          <p:stCondLst>
                                            <p:cond delay="0"/>
                                          </p:stCondLst>
                                        </p:cTn>
                                        <p:tgtEl>
                                          <p:spTgt spid="7"/>
                                        </p:tgtEl>
                                        <p:attrNameLst>
                                          <p:attrName>style.visibility</p:attrName>
                                        </p:attrNameLst>
                                      </p:cBhvr>
                                      <p:to>
                                        <p:strVal val="visible"/>
                                      </p:to>
                                    </p:set>
                                    <p:animEffect transition="in" filter="fade">
                                      <p:cBhvr>
                                        <p:cTn id="87" dur="500"/>
                                        <p:tgtEl>
                                          <p:spTgt spid="7"/>
                                        </p:tgtEl>
                                      </p:cBhvr>
                                    </p:animEffect>
                                  </p:childTnLst>
                                </p:cTn>
                              </p:par>
                              <p:par>
                                <p:cTn id="88" presetID="42" presetClass="path" presetSubtype="0" decel="100000" fill="hold" grpId="1" nodeType="withEffect">
                                  <p:stCondLst>
                                    <p:cond delay="200"/>
                                  </p:stCondLst>
                                  <p:childTnLst>
                                    <p:animMotion origin="layout" path="M -2.08333E-7 4.44444E-6 L -2.08333E-7 0.03541 " pathEditMode="relative" rAng="0" ptsTypes="AA">
                                      <p:cBhvr>
                                        <p:cTn id="89" dur="700" spd="-100000" fill="hold"/>
                                        <p:tgtEl>
                                          <p:spTgt spid="7"/>
                                        </p:tgtEl>
                                        <p:attrNameLst>
                                          <p:attrName>ppt_x</p:attrName>
                                          <p:attrName>ppt_y</p:attrName>
                                        </p:attrNameLst>
                                      </p:cBhvr>
                                      <p:rCtr x="0" y="1759"/>
                                    </p:animMotion>
                                  </p:childTnLst>
                                </p:cTn>
                              </p:par>
                              <p:par>
                                <p:cTn id="90" presetID="10" presetClass="entr" presetSubtype="0" fill="hold" grpId="0" nodeType="withEffect">
                                  <p:stCondLst>
                                    <p:cond delay="300"/>
                                  </p:stCondLst>
                                  <p:childTnLst>
                                    <p:set>
                                      <p:cBhvr>
                                        <p:cTn id="91" dur="1" fill="hold">
                                          <p:stCondLst>
                                            <p:cond delay="0"/>
                                          </p:stCondLst>
                                        </p:cTn>
                                        <p:tgtEl>
                                          <p:spTgt spid="8"/>
                                        </p:tgtEl>
                                        <p:attrNameLst>
                                          <p:attrName>style.visibility</p:attrName>
                                        </p:attrNameLst>
                                      </p:cBhvr>
                                      <p:to>
                                        <p:strVal val="visible"/>
                                      </p:to>
                                    </p:set>
                                    <p:animEffect transition="in" filter="fade">
                                      <p:cBhvr>
                                        <p:cTn id="92" dur="500"/>
                                        <p:tgtEl>
                                          <p:spTgt spid="8"/>
                                        </p:tgtEl>
                                      </p:cBhvr>
                                    </p:animEffect>
                                  </p:childTnLst>
                                </p:cTn>
                              </p:par>
                              <p:par>
                                <p:cTn id="93" presetID="42" presetClass="path" presetSubtype="0" decel="100000" fill="hold" grpId="1" nodeType="withEffect">
                                  <p:stCondLst>
                                    <p:cond delay="300"/>
                                  </p:stCondLst>
                                  <p:childTnLst>
                                    <p:animMotion origin="layout" path="M -1.66667E-6 -4.81481E-6 L -1.66667E-6 0.03542 " pathEditMode="relative" rAng="0" ptsTypes="AA">
                                      <p:cBhvr>
                                        <p:cTn id="94" dur="700" spd="-100000" fill="hold"/>
                                        <p:tgtEl>
                                          <p:spTgt spid="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3" grpId="0" animBg="1"/>
      <p:bldP spid="3" grpId="1" animBg="1"/>
      <p:bldP spid="4" grpId="0" animBg="1"/>
      <p:bldP spid="4" grpId="1" animBg="1"/>
      <p:bldP spid="16" grpId="0" animBg="1"/>
      <p:bldP spid="16" grpId="1" animBg="1"/>
      <p:bldP spid="17" grpId="0" animBg="1"/>
      <p:bldP spid="17" grpId="1" animBg="1"/>
      <p:bldP spid="18" grpId="0" animBg="1"/>
      <p:bldP spid="18" grpId="1" animBg="1"/>
      <p:bldP spid="19" grpId="0" animBg="1"/>
      <p:bldP spid="19" grpId="1" animBg="1"/>
      <p:bldP spid="22" grpId="0" animBg="1"/>
      <p:bldP spid="22" grpId="1" animBg="1"/>
      <p:bldP spid="23" grpId="0" animBg="1"/>
      <p:bldP spid="23" grpId="1" animBg="1"/>
      <p:bldP spid="45" grpId="0" animBg="1"/>
      <p:bldP spid="45" grpId="1" animBg="1"/>
      <p:bldP spid="6" grpId="0" animBg="1"/>
      <p:bldP spid="6" grpId="1" animBg="1"/>
      <p:bldP spid="10" grpId="0" animBg="1"/>
      <p:bldP spid="10" grpId="1" animBg="1"/>
      <p:bldP spid="12" grpId="0" animBg="1"/>
      <p:bldP spid="12"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805D4-8E42-43B5-9031-F26602BC699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D286408-45FE-321F-9E17-544F909CA639}"/>
              </a:ext>
            </a:extLst>
          </p:cNvPr>
          <p:cNvSpPr>
            <a:spLocks noGrp="1"/>
          </p:cNvSpPr>
          <p:nvPr>
            <p:ph type="title"/>
          </p:nvPr>
        </p:nvSpPr>
        <p:spPr/>
        <p:txBody>
          <a:bodyPr/>
          <a:lstStyle/>
          <a:p>
            <a:pPr algn="ctr"/>
            <a:r>
              <a:rPr lang="en-US"/>
              <a:t>Examples of agent templates</a:t>
            </a:r>
            <a:endParaRPr lang="ru-UA"/>
          </a:p>
        </p:txBody>
      </p:sp>
      <p:sp>
        <p:nvSpPr>
          <p:cNvPr id="8" name="TextBox 7">
            <a:extLst>
              <a:ext uri="{FF2B5EF4-FFF2-40B4-BE49-F238E27FC236}">
                <a16:creationId xmlns:a16="http://schemas.microsoft.com/office/drawing/2014/main" id="{E789B390-C3E6-01DB-99F5-E1235D5B70E2}"/>
              </a:ext>
            </a:extLst>
          </p:cNvPr>
          <p:cNvSpPr txBox="1"/>
          <p:nvPr/>
        </p:nvSpPr>
        <p:spPr>
          <a:xfrm>
            <a:off x="1932742" y="1064075"/>
            <a:ext cx="8505904" cy="563552"/>
          </a:xfrm>
          <a:prstGeom prst="rect">
            <a:avLst/>
          </a:prstGeom>
          <a:noFill/>
        </p:spPr>
        <p:txBody>
          <a:bodyPr wrap="square" lIns="0" tIns="0" rIns="0" bIns="0" rtlCol="0">
            <a:spAutoFit/>
          </a:bodyPr>
          <a:lstStyle/>
          <a:p>
            <a:pPr marL="0" marR="0" lvl="0" indent="0" algn="ctr" defTabSz="914367"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he simplest way to get started with agents. Once enabled by an admin, users can @mention the agent in Copilot Chat or open it directly by selecting it from the right-side pane.</a:t>
            </a:r>
          </a:p>
        </p:txBody>
      </p:sp>
      <p:sp>
        <p:nvSpPr>
          <p:cNvPr id="3" name="Rectangle: Rounded Corners 16">
            <a:extLst>
              <a:ext uri="{FF2B5EF4-FFF2-40B4-BE49-F238E27FC236}">
                <a16:creationId xmlns:a16="http://schemas.microsoft.com/office/drawing/2014/main" id="{E981D48C-7FBB-3497-EB6B-506E695D3255}"/>
              </a:ext>
              <a:ext uri="{C183D7F6-B498-43B3-948B-1728B52AA6E4}">
                <adec:decorative xmlns:adec="http://schemas.microsoft.com/office/drawing/2017/decorative" val="1"/>
              </a:ext>
            </a:extLst>
          </p:cNvPr>
          <p:cNvSpPr/>
          <p:nvPr/>
        </p:nvSpPr>
        <p:spPr bwMode="auto">
          <a:xfrm>
            <a:off x="584200" y="1797310"/>
            <a:ext cx="11023082" cy="736340"/>
          </a:xfrm>
          <a:prstGeom prst="roundRect">
            <a:avLst>
              <a:gd name="adj" fmla="val 22846"/>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p:spPr>
        <p:txBody>
          <a:bodyPr wrap="square" lIns="183696" tIns="36739" rIns="183696" bIns="73479" rtlCol="0" anchor="t">
            <a:normAutofit/>
          </a:bodyPr>
          <a:lstStyle/>
          <a:p>
            <a:pPr marL="0" marR="0" lvl="0" indent="0" algn="ctr" defTabSz="914437" rtl="0" eaLnBrk="1" fontAlgn="base" latinLnBrk="0" hangingPunct="1">
              <a:lnSpc>
                <a:spcPct val="100000"/>
              </a:lnSpc>
              <a:spcBef>
                <a:spcPct val="0"/>
              </a:spcBef>
              <a:spcAft>
                <a:spcPct val="0"/>
              </a:spcAft>
              <a:buClrTx/>
              <a:buSzTx/>
              <a:buFontTx/>
              <a:buNone/>
              <a:tabLst>
                <a:tab pos="1487158" algn="l"/>
              </a:tabLst>
              <a:defRPr/>
            </a:pPr>
            <a:endParaRPr kumimoji="0" lang="en-US" sz="1600" b="0"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endParaRPr>
          </a:p>
        </p:txBody>
      </p:sp>
      <p:sp>
        <p:nvSpPr>
          <p:cNvPr id="4" name="Rounded Rectangle 11">
            <a:extLst>
              <a:ext uri="{FF2B5EF4-FFF2-40B4-BE49-F238E27FC236}">
                <a16:creationId xmlns:a16="http://schemas.microsoft.com/office/drawing/2014/main" id="{360051ED-112A-86B5-477B-23ADE705B69F}"/>
              </a:ext>
              <a:ext uri="{C183D7F6-B498-43B3-948B-1728B52AA6E4}">
                <adec:decorative xmlns:adec="http://schemas.microsoft.com/office/drawing/2017/decorative" val="1"/>
              </a:ext>
            </a:extLst>
          </p:cNvPr>
          <p:cNvSpPr/>
          <p:nvPr/>
        </p:nvSpPr>
        <p:spPr bwMode="auto">
          <a:xfrm>
            <a:off x="585218" y="2273750"/>
            <a:ext cx="11017502" cy="3823838"/>
          </a:xfrm>
          <a:prstGeom prst="roundRect">
            <a:avLst>
              <a:gd name="adj" fmla="val 4325"/>
            </a:avLst>
          </a:prstGeom>
          <a:solidFill>
            <a:schemeClr val="bg1"/>
          </a:solidFill>
          <a:ln w="12700" cap="rnd">
            <a:solidFill>
              <a:srgbClr val="454142"/>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err="1">
              <a:ln>
                <a:noFill/>
              </a:ln>
              <a:gradFill>
                <a:gsLst>
                  <a:gs pos="41958">
                    <a:srgbClr val="FFFFFF"/>
                  </a:gs>
                  <a:gs pos="63000">
                    <a:srgbClr val="FFFFFF"/>
                  </a:gs>
                </a:gsLst>
                <a:lin ang="0" scaled="0"/>
              </a:gra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AE6D97D4-8F50-5C24-BEF0-FB54ABAF8BCF}"/>
              </a:ext>
            </a:extLst>
          </p:cNvPr>
          <p:cNvGraphicFramePr>
            <a:graphicFrameLocks noGrp="1"/>
          </p:cNvGraphicFramePr>
          <p:nvPr>
            <p:extLst>
              <p:ext uri="{D42A27DB-BD31-4B8C-83A1-F6EECF244321}">
                <p14:modId xmlns:p14="http://schemas.microsoft.com/office/powerpoint/2010/main" val="3511570730"/>
              </p:ext>
            </p:extLst>
          </p:nvPr>
        </p:nvGraphicFramePr>
        <p:xfrm>
          <a:off x="588263" y="2273750"/>
          <a:ext cx="11007765" cy="3810684"/>
        </p:xfrm>
        <a:graphic>
          <a:graphicData uri="http://schemas.openxmlformats.org/drawingml/2006/table">
            <a:tbl>
              <a:tblPr firstRow="1" firstCol="1">
                <a:tableStyleId>{5C22544A-7EE6-4342-B048-85BDC9FD1C3A}</a:tableStyleId>
              </a:tblPr>
              <a:tblGrid>
                <a:gridCol w="747765">
                  <a:extLst>
                    <a:ext uri="{9D8B030D-6E8A-4147-A177-3AD203B41FA5}">
                      <a16:colId xmlns:a16="http://schemas.microsoft.com/office/drawing/2014/main" val="4118558838"/>
                    </a:ext>
                  </a:extLst>
                </a:gridCol>
                <a:gridCol w="2124000">
                  <a:extLst>
                    <a:ext uri="{9D8B030D-6E8A-4147-A177-3AD203B41FA5}">
                      <a16:colId xmlns:a16="http://schemas.microsoft.com/office/drawing/2014/main" val="937084765"/>
                    </a:ext>
                  </a:extLst>
                </a:gridCol>
                <a:gridCol w="8136000">
                  <a:extLst>
                    <a:ext uri="{9D8B030D-6E8A-4147-A177-3AD203B41FA5}">
                      <a16:colId xmlns:a16="http://schemas.microsoft.com/office/drawing/2014/main" val="893455128"/>
                    </a:ext>
                  </a:extLst>
                </a:gridCol>
              </a:tblGrid>
              <a:tr h="644141">
                <a:tc>
                  <a:txBody>
                    <a:bodyPr/>
                    <a:lstStyle/>
                    <a:p>
                      <a:r>
                        <a:rPr lang="en-US" sz="1600">
                          <a:latin typeface="+mn-lt"/>
                        </a:rPr>
                        <a:t>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i="0" u="sng" kern="1200">
                          <a:ln w="3175">
                            <a:noFill/>
                          </a:ln>
                          <a:solidFill>
                            <a:schemeClr val="tx1"/>
                          </a:solidFill>
                          <a:latin typeface="+mj-lt"/>
                          <a:ea typeface="+mn-ea"/>
                          <a:cs typeface="Segoe UI" pitchFamily="34" charset="0"/>
                        </a:rPr>
                        <a:t>Customer Insights</a:t>
                      </a:r>
                      <a:br>
                        <a:rPr lang="en-US" sz="1400" b="0" i="0" u="sng" kern="1200">
                          <a:ln w="3175">
                            <a:noFill/>
                          </a:ln>
                          <a:solidFill>
                            <a:schemeClr val="tx1"/>
                          </a:solidFill>
                          <a:latin typeface="+mj-lt"/>
                          <a:ea typeface="+mn-ea"/>
                          <a:cs typeface="Segoe UI" pitchFamily="34" charset="0"/>
                        </a:rPr>
                      </a:br>
                      <a:r>
                        <a:rPr lang="en-US" sz="1400" b="0" i="0" u="sng" kern="1200">
                          <a:ln w="3175">
                            <a:noFill/>
                          </a:ln>
                          <a:solidFill>
                            <a:schemeClr val="tx1"/>
                          </a:solidFill>
                          <a:latin typeface="+mj-lt"/>
                          <a:ea typeface="+mn-ea"/>
                          <a:cs typeface="Segoe UI" pitchFamily="34" charset="0"/>
                        </a:rPr>
                        <a:t>Assista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tx1"/>
                          </a:solidFill>
                          <a:latin typeface="+mn-lt"/>
                          <a:ea typeface="+mn-ea"/>
                          <a:cs typeface="+mn-cs"/>
                        </a:rPr>
                        <a:t>An agent designed to help the team get to know their customers by providing relevant information and insight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538630"/>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Interview Questions Assista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Provides professional guidance in question generation tailored to specific job roles, or industries. It provides questions with fairness, inclusivity, relevance and appropriatenes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2867581"/>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Meeting Coac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Designed to assist meeting organizers in creating and running effective meetings.</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3913059"/>
                  </a:ext>
                </a:extLst>
              </a:tr>
              <a:tr h="644141">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Quiz Tuto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Creates interactive, fun, and engaging quizzes based on training documentation</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4250462"/>
                  </a:ext>
                </a:extLst>
              </a:tr>
              <a:tr h="644141">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r>
                        <a:rPr lang="en-US" sz="1400" b="0" u="sng" kern="1200">
                          <a:ln w="3175">
                            <a:noFill/>
                          </a:ln>
                          <a:solidFill>
                            <a:schemeClr val="tx1"/>
                          </a:solidFill>
                          <a:latin typeface="+mj-lt"/>
                          <a:ea typeface="+mn-ea"/>
                          <a:cs typeface="Segoe UI" pitchFamily="34" charset="0"/>
                        </a:rPr>
                        <a:t>Scrum Assista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mn-lt"/>
                          <a:ea typeface="+mn-ea"/>
                          <a:cs typeface="+mn-cs"/>
                        </a:rPr>
                        <a:t>Supports scrum team members in facilitating scrum ceremonies, backlog management, and continuous improvement.</a:t>
                      </a: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8898372"/>
                  </a:ext>
                </a:extLst>
              </a:tr>
              <a:tr h="626087">
                <a:tc>
                  <a:txBody>
                    <a:bodyPr/>
                    <a:lstStyle/>
                    <a:p>
                      <a:endParaRPr lang="en-US" sz="160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37" rtl="0" eaLnBrk="1" fontAlgn="base" latinLnBrk="0" hangingPunct="1">
                        <a:spcBef>
                          <a:spcPct val="0"/>
                        </a:spcBef>
                        <a:spcAft>
                          <a:spcPts val="1200"/>
                        </a:spcAft>
                        <a:tabLst>
                          <a:tab pos="1371655" algn="l"/>
                        </a:tabLst>
                      </a:pPr>
                      <a:endParaRPr lang="en-US" sz="1400" b="0" kern="1200">
                        <a:ln w="3175">
                          <a:noFill/>
                        </a:ln>
                        <a:solidFill>
                          <a:schemeClr val="tx1"/>
                        </a:solidFill>
                        <a:latin typeface="+mj-lt"/>
                        <a:ea typeface="+mn-ea"/>
                        <a:cs typeface="Segoe UI"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1"/>
                        </a:solidFill>
                        <a:latin typeface="+mn-lt"/>
                        <a:ea typeface="+mn-ea"/>
                        <a:cs typeface="+mn-cs"/>
                      </a:endParaRPr>
                    </a:p>
                  </a:txBody>
                  <a:tcPr marL="180000" marR="360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144153"/>
                  </a:ext>
                </a:extLst>
              </a:tr>
            </a:tbl>
          </a:graphicData>
        </a:graphic>
      </p:graphicFrame>
      <p:grpSp>
        <p:nvGrpSpPr>
          <p:cNvPr id="43" name="Group 42">
            <a:extLst>
              <a:ext uri="{FF2B5EF4-FFF2-40B4-BE49-F238E27FC236}">
                <a16:creationId xmlns:a16="http://schemas.microsoft.com/office/drawing/2014/main" id="{CE3D3F75-4E04-0092-7764-BA9B4D0D0E5A}"/>
              </a:ext>
              <a:ext uri="{C183D7F6-B498-43B3-948B-1728B52AA6E4}">
                <adec:decorative xmlns:adec="http://schemas.microsoft.com/office/drawing/2017/decorative" val="1"/>
              </a:ext>
            </a:extLst>
          </p:cNvPr>
          <p:cNvGrpSpPr/>
          <p:nvPr/>
        </p:nvGrpSpPr>
        <p:grpSpPr>
          <a:xfrm>
            <a:off x="956224" y="2541659"/>
            <a:ext cx="125904" cy="139896"/>
            <a:chOff x="360363" y="2687807"/>
            <a:chExt cx="171452" cy="190505"/>
          </a:xfrm>
        </p:grpSpPr>
        <p:sp>
          <p:nvSpPr>
            <p:cNvPr id="29" name="Freeform: Shape 28">
              <a:extLst>
                <a:ext uri="{FF2B5EF4-FFF2-40B4-BE49-F238E27FC236}">
                  <a16:creationId xmlns:a16="http://schemas.microsoft.com/office/drawing/2014/main" id="{504BCF1C-1615-8627-045E-8F456B60DF70}"/>
                </a:ext>
              </a:extLst>
            </p:cNvPr>
            <p:cNvSpPr/>
            <p:nvPr/>
          </p:nvSpPr>
          <p:spPr>
            <a:xfrm>
              <a:off x="360363" y="2687807"/>
              <a:ext cx="142113" cy="190500"/>
            </a:xfrm>
            <a:custGeom>
              <a:avLst/>
              <a:gdLst>
                <a:gd name="connsiteX0" fmla="*/ 76200 w 142113"/>
                <a:gd name="connsiteY0" fmla="*/ 0 h 190500"/>
                <a:gd name="connsiteX1" fmla="*/ 76200 w 142113"/>
                <a:gd name="connsiteY1" fmla="*/ 57150 h 190500"/>
                <a:gd name="connsiteX2" fmla="*/ 95250 w 142113"/>
                <a:gd name="connsiteY2" fmla="*/ 76200 h 190500"/>
                <a:gd name="connsiteX3" fmla="*/ 142113 w 142113"/>
                <a:gd name="connsiteY3" fmla="*/ 76200 h 190500"/>
                <a:gd name="connsiteX4" fmla="*/ 127273 w 142113"/>
                <a:gd name="connsiteY4" fmla="*/ 85439 h 190500"/>
                <a:gd name="connsiteX5" fmla="*/ 69647 w 142113"/>
                <a:gd name="connsiteY5" fmla="*/ 143466 h 190500"/>
                <a:gd name="connsiteX6" fmla="*/ 62713 w 142113"/>
                <a:gd name="connsiteY6" fmla="*/ 155648 h 190500"/>
                <a:gd name="connsiteX7" fmla="*/ 57712 w 142113"/>
                <a:gd name="connsiteY7" fmla="*/ 174984 h 190500"/>
                <a:gd name="connsiteX8" fmla="*/ 60008 w 142113"/>
                <a:gd name="connsiteY8" fmla="*/ 190500 h 190500"/>
                <a:gd name="connsiteX9" fmla="*/ 14288 w 142113"/>
                <a:gd name="connsiteY9" fmla="*/ 190500 h 190500"/>
                <a:gd name="connsiteX10" fmla="*/ 0 w 142113"/>
                <a:gd name="connsiteY10" fmla="*/ 176213 h 190500"/>
                <a:gd name="connsiteX11" fmla="*/ 0 w 142113"/>
                <a:gd name="connsiteY11" fmla="*/ 14288 h 190500"/>
                <a:gd name="connsiteX12" fmla="*/ 14288 w 142113"/>
                <a:gd name="connsiteY12" fmla="*/ 0 h 190500"/>
                <a:gd name="connsiteX13" fmla="*/ 76200 w 142113"/>
                <a:gd name="connsiteY13"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113" h="190500">
                  <a:moveTo>
                    <a:pt x="76200" y="0"/>
                  </a:moveTo>
                  <a:lnTo>
                    <a:pt x="76200" y="57150"/>
                  </a:lnTo>
                  <a:cubicBezTo>
                    <a:pt x="76200" y="67671"/>
                    <a:pt x="84729" y="76200"/>
                    <a:pt x="95250" y="76200"/>
                  </a:cubicBezTo>
                  <a:lnTo>
                    <a:pt x="142113" y="76200"/>
                  </a:lnTo>
                  <a:cubicBezTo>
                    <a:pt x="136436" y="78296"/>
                    <a:pt x="131216" y="81477"/>
                    <a:pt x="127273" y="85439"/>
                  </a:cubicBezTo>
                  <a:lnTo>
                    <a:pt x="69647" y="143466"/>
                  </a:lnTo>
                  <a:cubicBezTo>
                    <a:pt x="66296" y="146839"/>
                    <a:pt x="63903" y="151045"/>
                    <a:pt x="62713" y="155648"/>
                  </a:cubicBezTo>
                  <a:lnTo>
                    <a:pt x="57712" y="174984"/>
                  </a:lnTo>
                  <a:cubicBezTo>
                    <a:pt x="56312" y="180251"/>
                    <a:pt x="57143" y="185863"/>
                    <a:pt x="60008" y="190500"/>
                  </a:cubicBezTo>
                  <a:lnTo>
                    <a:pt x="14288" y="190500"/>
                  </a:lnTo>
                  <a:cubicBezTo>
                    <a:pt x="6397" y="190500"/>
                    <a:pt x="0" y="184103"/>
                    <a:pt x="0" y="176213"/>
                  </a:cubicBezTo>
                  <a:lnTo>
                    <a:pt x="0" y="14288"/>
                  </a:lnTo>
                  <a:cubicBezTo>
                    <a:pt x="0" y="6397"/>
                    <a:pt x="6397" y="0"/>
                    <a:pt x="14288" y="0"/>
                  </a:cubicBezTo>
                  <a:lnTo>
                    <a:pt x="76200" y="0"/>
                  </a:ln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E9025065-75FB-DCE8-3A95-61E351B70761}"/>
                </a:ext>
              </a:extLst>
            </p:cNvPr>
            <p:cNvSpPr/>
            <p:nvPr/>
          </p:nvSpPr>
          <p:spPr>
            <a:xfrm>
              <a:off x="427034" y="2692569"/>
              <a:ext cx="104781" cy="185743"/>
            </a:xfrm>
            <a:custGeom>
              <a:avLst/>
              <a:gdLst>
                <a:gd name="connsiteX0" fmla="*/ 23816 w 104781"/>
                <a:gd name="connsiteY0" fmla="*/ 0 h 185743"/>
                <a:gd name="connsiteX1" fmla="*/ 23816 w 104781"/>
                <a:gd name="connsiteY1" fmla="*/ 52388 h 185743"/>
                <a:gd name="connsiteX2" fmla="*/ 28579 w 104781"/>
                <a:gd name="connsiteY2" fmla="*/ 57150 h 185743"/>
                <a:gd name="connsiteX3" fmla="*/ 80966 w 104781"/>
                <a:gd name="connsiteY3" fmla="*/ 57150 h 185743"/>
                <a:gd name="connsiteX4" fmla="*/ 23816 w 104781"/>
                <a:gd name="connsiteY4" fmla="*/ 0 h 185743"/>
                <a:gd name="connsiteX5" fmla="*/ 11396 w 104781"/>
                <a:gd name="connsiteY5" fmla="*/ 143561 h 185743"/>
                <a:gd name="connsiteX6" fmla="*/ 67612 w 104781"/>
                <a:gd name="connsiteY6" fmla="*/ 87344 h 185743"/>
                <a:gd name="connsiteX7" fmla="*/ 98402 w 104781"/>
                <a:gd name="connsiteY7" fmla="*/ 87339 h 185743"/>
                <a:gd name="connsiteX8" fmla="*/ 98407 w 104781"/>
                <a:gd name="connsiteY8" fmla="*/ 118129 h 185743"/>
                <a:gd name="connsiteX9" fmla="*/ 42181 w 104781"/>
                <a:gd name="connsiteY9" fmla="*/ 174346 h 185743"/>
                <a:gd name="connsiteX10" fmla="*/ 30303 w 104781"/>
                <a:gd name="connsiteY10" fmla="*/ 181080 h 185743"/>
                <a:gd name="connsiteX11" fmla="*/ 12863 w 104781"/>
                <a:gd name="connsiteY11" fmla="*/ 185433 h 185743"/>
                <a:gd name="connsiteX12" fmla="*/ 309 w 104781"/>
                <a:gd name="connsiteY12" fmla="*/ 177897 h 185743"/>
                <a:gd name="connsiteX13" fmla="*/ 309 w 104781"/>
                <a:gd name="connsiteY13" fmla="*/ 172879 h 185743"/>
                <a:gd name="connsiteX14" fmla="*/ 4662 w 104781"/>
                <a:gd name="connsiteY14" fmla="*/ 155448 h 185743"/>
                <a:gd name="connsiteX15" fmla="*/ 11396 w 104781"/>
                <a:gd name="connsiteY15" fmla="*/ 143561 h 18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781" h="185743">
                  <a:moveTo>
                    <a:pt x="23816" y="0"/>
                  </a:moveTo>
                  <a:lnTo>
                    <a:pt x="23816" y="52388"/>
                  </a:lnTo>
                  <a:cubicBezTo>
                    <a:pt x="23816" y="55018"/>
                    <a:pt x="25949" y="57150"/>
                    <a:pt x="28579" y="57150"/>
                  </a:cubicBezTo>
                  <a:lnTo>
                    <a:pt x="80966" y="57150"/>
                  </a:lnTo>
                  <a:lnTo>
                    <a:pt x="23816" y="0"/>
                  </a:lnTo>
                  <a:close/>
                  <a:moveTo>
                    <a:pt x="11396" y="143561"/>
                  </a:moveTo>
                  <a:lnTo>
                    <a:pt x="67612" y="87344"/>
                  </a:lnTo>
                  <a:cubicBezTo>
                    <a:pt x="76113" y="78840"/>
                    <a:pt x="89898" y="78838"/>
                    <a:pt x="98402" y="87339"/>
                  </a:cubicBezTo>
                  <a:cubicBezTo>
                    <a:pt x="106906" y="95841"/>
                    <a:pt x="106908" y="109625"/>
                    <a:pt x="98407" y="118129"/>
                  </a:cubicBezTo>
                  <a:lnTo>
                    <a:pt x="42181" y="174346"/>
                  </a:lnTo>
                  <a:cubicBezTo>
                    <a:pt x="38905" y="177626"/>
                    <a:pt x="34800" y="179953"/>
                    <a:pt x="30303" y="181080"/>
                  </a:cubicBezTo>
                  <a:lnTo>
                    <a:pt x="12863" y="185433"/>
                  </a:lnTo>
                  <a:cubicBezTo>
                    <a:pt x="7315" y="186819"/>
                    <a:pt x="1694" y="183444"/>
                    <a:pt x="309" y="177897"/>
                  </a:cubicBezTo>
                  <a:cubicBezTo>
                    <a:pt x="-103" y="176249"/>
                    <a:pt x="-103" y="174526"/>
                    <a:pt x="309" y="172879"/>
                  </a:cubicBezTo>
                  <a:lnTo>
                    <a:pt x="4662" y="155448"/>
                  </a:lnTo>
                  <a:cubicBezTo>
                    <a:pt x="5785" y="150943"/>
                    <a:pt x="8110" y="146837"/>
                    <a:pt x="11396" y="143561"/>
                  </a:cubicBezTo>
                  <a:close/>
                </a:path>
              </a:pathLst>
            </a:custGeom>
            <a:solidFill>
              <a:srgbClr val="FFFFFF"/>
            </a:solidFill>
            <a:ln w="1270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ru-UA" sz="1765" b="0" i="0" u="none" strike="noStrike" kern="1200" cap="none" spc="0" normalizeH="0" baseline="0" noProof="0">
                <a:ln>
                  <a:noFill/>
                </a:ln>
                <a:solidFill>
                  <a:srgbClr val="000000"/>
                </a:solidFill>
                <a:effectLst/>
                <a:uLnTx/>
                <a:uFillTx/>
                <a:latin typeface="Segoe UI"/>
                <a:ea typeface="+mn-ea"/>
                <a:cs typeface="+mn-cs"/>
              </a:endParaRPr>
            </a:p>
          </p:txBody>
        </p:sp>
      </p:grpSp>
      <p:graphicFrame>
        <p:nvGraphicFramePr>
          <p:cNvPr id="14" name="Table 13">
            <a:extLst>
              <a:ext uri="{FF2B5EF4-FFF2-40B4-BE49-F238E27FC236}">
                <a16:creationId xmlns:a16="http://schemas.microsoft.com/office/drawing/2014/main" id="{14857A30-AD17-2A90-9297-899EAF895B86}"/>
              </a:ext>
            </a:extLst>
          </p:cNvPr>
          <p:cNvGraphicFramePr>
            <a:graphicFrameLocks noGrp="1"/>
          </p:cNvGraphicFramePr>
          <p:nvPr/>
        </p:nvGraphicFramePr>
        <p:xfrm>
          <a:off x="588263" y="1814046"/>
          <a:ext cx="11006236" cy="440641"/>
        </p:xfrm>
        <a:graphic>
          <a:graphicData uri="http://schemas.openxmlformats.org/drawingml/2006/table">
            <a:tbl>
              <a:tblPr firstRow="1" firstCol="1">
                <a:tableStyleId>{5C22544A-7EE6-4342-B048-85BDC9FD1C3A}</a:tableStyleId>
              </a:tblPr>
              <a:tblGrid>
                <a:gridCol w="746236">
                  <a:extLst>
                    <a:ext uri="{9D8B030D-6E8A-4147-A177-3AD203B41FA5}">
                      <a16:colId xmlns:a16="http://schemas.microsoft.com/office/drawing/2014/main" val="4118558838"/>
                    </a:ext>
                  </a:extLst>
                </a:gridCol>
                <a:gridCol w="2124000">
                  <a:extLst>
                    <a:ext uri="{9D8B030D-6E8A-4147-A177-3AD203B41FA5}">
                      <a16:colId xmlns:a16="http://schemas.microsoft.com/office/drawing/2014/main" val="937084765"/>
                    </a:ext>
                  </a:extLst>
                </a:gridCol>
                <a:gridCol w="8136000">
                  <a:extLst>
                    <a:ext uri="{9D8B030D-6E8A-4147-A177-3AD203B41FA5}">
                      <a16:colId xmlns:a16="http://schemas.microsoft.com/office/drawing/2014/main" val="893455128"/>
                    </a:ext>
                  </a:extLst>
                </a:gridCol>
              </a:tblGrid>
              <a:tr h="440641">
                <a:tc>
                  <a:txBody>
                    <a:bodyPr/>
                    <a:lstStyle/>
                    <a:p>
                      <a:endParaRPr lang="en-US" sz="1600">
                        <a:solidFill>
                          <a:schemeClr val="bg1"/>
                        </a:solidFill>
                        <a:latin typeface="+mj-lt"/>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a:solidFill>
                            <a:schemeClr val="bg1"/>
                          </a:solidFill>
                          <a:latin typeface="+mj-lt"/>
                          <a:ea typeface="+mj-ea"/>
                          <a:cs typeface="+mj-cs"/>
                        </a:rPr>
                        <a:t>Agent Nam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dirty="0">
                          <a:solidFill>
                            <a:schemeClr val="bg1"/>
                          </a:solidFill>
                          <a:latin typeface="+mj-lt"/>
                          <a:ea typeface="+mj-ea"/>
                          <a:cs typeface="+mj-cs"/>
                        </a:rPr>
                        <a:t>Description</a:t>
                      </a:r>
                    </a:p>
                  </a:txBody>
                  <a:tcPr marL="180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5343342"/>
                  </a:ext>
                </a:extLst>
              </a:tr>
            </a:tbl>
          </a:graphicData>
        </a:graphic>
      </p:graphicFrame>
      <p:pic>
        <p:nvPicPr>
          <p:cNvPr id="15" name="Picture 14">
            <a:extLst>
              <a:ext uri="{FF2B5EF4-FFF2-40B4-BE49-F238E27FC236}">
                <a16:creationId xmlns:a16="http://schemas.microsoft.com/office/drawing/2014/main" id="{A89E0AC8-1D37-FC2A-0AF8-2B4E1A25A512}"/>
              </a:ext>
            </a:extLst>
          </p:cNvPr>
          <p:cNvPicPr>
            <a:picLocks noChangeAspect="1"/>
          </p:cNvPicPr>
          <p:nvPr/>
        </p:nvPicPr>
        <p:blipFill>
          <a:blip r:embed="rId3"/>
          <a:stretch>
            <a:fillRect/>
          </a:stretch>
        </p:blipFill>
        <p:spPr>
          <a:xfrm>
            <a:off x="750059" y="2320175"/>
            <a:ext cx="504895" cy="504895"/>
          </a:xfrm>
          <a:prstGeom prst="rect">
            <a:avLst/>
          </a:prstGeom>
        </p:spPr>
      </p:pic>
      <p:pic>
        <p:nvPicPr>
          <p:cNvPr id="21" name="Picture 20">
            <a:extLst>
              <a:ext uri="{FF2B5EF4-FFF2-40B4-BE49-F238E27FC236}">
                <a16:creationId xmlns:a16="http://schemas.microsoft.com/office/drawing/2014/main" id="{2A86F2A4-4159-E752-5C11-A3A6C66A95CF}"/>
              </a:ext>
            </a:extLst>
          </p:cNvPr>
          <p:cNvPicPr>
            <a:picLocks noChangeAspect="1"/>
          </p:cNvPicPr>
          <p:nvPr/>
        </p:nvPicPr>
        <p:blipFill>
          <a:blip r:embed="rId4"/>
          <a:stretch>
            <a:fillRect/>
          </a:stretch>
        </p:blipFill>
        <p:spPr>
          <a:xfrm>
            <a:off x="758652" y="2963925"/>
            <a:ext cx="514422" cy="485843"/>
          </a:xfrm>
          <a:prstGeom prst="rect">
            <a:avLst/>
          </a:prstGeom>
        </p:spPr>
      </p:pic>
      <p:pic>
        <p:nvPicPr>
          <p:cNvPr id="25" name="Picture 24">
            <a:extLst>
              <a:ext uri="{FF2B5EF4-FFF2-40B4-BE49-F238E27FC236}">
                <a16:creationId xmlns:a16="http://schemas.microsoft.com/office/drawing/2014/main" id="{5715472E-FA8F-656A-6E44-5CC34A63FA55}"/>
              </a:ext>
            </a:extLst>
          </p:cNvPr>
          <p:cNvPicPr>
            <a:picLocks noChangeAspect="1"/>
          </p:cNvPicPr>
          <p:nvPr/>
        </p:nvPicPr>
        <p:blipFill>
          <a:blip r:embed="rId5"/>
          <a:stretch>
            <a:fillRect/>
          </a:stretch>
        </p:blipFill>
        <p:spPr>
          <a:xfrm>
            <a:off x="815810" y="3634168"/>
            <a:ext cx="400106" cy="428685"/>
          </a:xfrm>
          <a:prstGeom prst="rect">
            <a:avLst/>
          </a:prstGeom>
        </p:spPr>
      </p:pic>
      <p:pic>
        <p:nvPicPr>
          <p:cNvPr id="27" name="Picture 26">
            <a:extLst>
              <a:ext uri="{FF2B5EF4-FFF2-40B4-BE49-F238E27FC236}">
                <a16:creationId xmlns:a16="http://schemas.microsoft.com/office/drawing/2014/main" id="{C96DC46B-86C2-3F0C-64C2-18F721DB3D1B}"/>
              </a:ext>
            </a:extLst>
          </p:cNvPr>
          <p:cNvPicPr>
            <a:picLocks noChangeAspect="1"/>
          </p:cNvPicPr>
          <p:nvPr/>
        </p:nvPicPr>
        <p:blipFill>
          <a:blip r:embed="rId6"/>
          <a:stretch>
            <a:fillRect/>
          </a:stretch>
        </p:blipFill>
        <p:spPr>
          <a:xfrm>
            <a:off x="815810" y="4248239"/>
            <a:ext cx="409632" cy="447737"/>
          </a:xfrm>
          <a:prstGeom prst="rect">
            <a:avLst/>
          </a:prstGeom>
        </p:spPr>
      </p:pic>
      <p:pic>
        <p:nvPicPr>
          <p:cNvPr id="31" name="Picture 30">
            <a:extLst>
              <a:ext uri="{FF2B5EF4-FFF2-40B4-BE49-F238E27FC236}">
                <a16:creationId xmlns:a16="http://schemas.microsoft.com/office/drawing/2014/main" id="{4619851A-7179-975C-EBD3-4DACC869E500}"/>
              </a:ext>
            </a:extLst>
          </p:cNvPr>
          <p:cNvPicPr>
            <a:picLocks noChangeAspect="1"/>
          </p:cNvPicPr>
          <p:nvPr/>
        </p:nvPicPr>
        <p:blipFill>
          <a:blip r:embed="rId7"/>
          <a:stretch>
            <a:fillRect/>
          </a:stretch>
        </p:blipFill>
        <p:spPr>
          <a:xfrm>
            <a:off x="762207" y="4891301"/>
            <a:ext cx="447737" cy="438211"/>
          </a:xfrm>
          <a:prstGeom prst="rect">
            <a:avLst/>
          </a:prstGeom>
        </p:spPr>
      </p:pic>
    </p:spTree>
    <p:extLst>
      <p:ext uri="{BB962C8B-B14F-4D97-AF65-F5344CB8AC3E}">
        <p14:creationId xmlns:p14="http://schemas.microsoft.com/office/powerpoint/2010/main" val="1807250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200"/>
                                  </p:stCondLst>
                                  <p:childTnLst>
                                    <p:animMotion origin="layout" path="M 2.08333E-7 4.81481E-6 L 2.08333E-7 0.03541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nodeType="withEffect">
                                  <p:stCondLst>
                                    <p:cond delay="200"/>
                                  </p:stCondLst>
                                  <p:childTnLst>
                                    <p:animMotion origin="layout" path="M 4.16667E-7 7.40741E-7 L 4.16667E-7 0.03542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42" presetClass="path" presetSubtype="0" decel="100000" fill="hold" nodeType="withEffect">
                                  <p:stCondLst>
                                    <p:cond delay="200"/>
                                  </p:stCondLst>
                                  <p:childTnLst>
                                    <p:animMotion origin="layout" path="M 6.25E-7 2.22222E-6 L 6.25E-7 0.03541 " pathEditMode="relative" rAng="0" ptsTypes="AA">
                                      <p:cBhvr>
                                        <p:cTn id="19" dur="700" spd="-100000" fill="hold"/>
                                        <p:tgtEl>
                                          <p:spTgt spid="14"/>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grpId="1" nodeType="withEffect">
                                  <p:stCondLst>
                                    <p:cond delay="200"/>
                                  </p:stCondLst>
                                  <p:childTnLst>
                                    <p:animMotion origin="layout" path="M 0 -7.40741E-7 L 0 0.03542 " pathEditMode="relative" rAng="0" ptsTypes="AA">
                                      <p:cBhvr>
                                        <p:cTn id="24" dur="700" spd="-100000" fill="hold"/>
                                        <p:tgtEl>
                                          <p:spTgt spid="3"/>
                                        </p:tgtEl>
                                        <p:attrNameLst>
                                          <p:attrName>ppt_x</p:attrName>
                                          <p:attrName>ppt_y</p:attrName>
                                        </p:attrNameLst>
                                      </p:cBhvr>
                                      <p:rCtr x="0" y="1759"/>
                                    </p:animMotion>
                                  </p:childTnLst>
                                </p:cTn>
                              </p:par>
                              <p:par>
                                <p:cTn id="25" presetID="10" presetClass="entr" presetSubtype="0" fill="hold" nodeType="withEffect">
                                  <p:stCondLst>
                                    <p:cond delay="20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par>
                                <p:cTn id="28" presetID="42" presetClass="path" presetSubtype="0" decel="100000" fill="hold" nodeType="withEffect">
                                  <p:stCondLst>
                                    <p:cond delay="200"/>
                                  </p:stCondLst>
                                  <p:childTnLst>
                                    <p:animMotion origin="layout" path="M -3.75E-6 2.96296E-6 L -3.75E-6 0.03541 " pathEditMode="relative" rAng="0" ptsTypes="AA">
                                      <p:cBhvr>
                                        <p:cTn id="29" dur="700" spd="-100000" fill="hold"/>
                                        <p:tgtEl>
                                          <p:spTgt spid="43"/>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42" presetClass="path" presetSubtype="0" decel="100000" fill="hold" grpId="1" nodeType="withEffect">
                                  <p:stCondLst>
                                    <p:cond delay="200"/>
                                  </p:stCondLst>
                                  <p:childTnLst>
                                    <p:animMotion origin="layout" path="M -2.08333E-7 4.44444E-6 L -2.08333E-7 0.03541 " pathEditMode="relative" rAng="0" ptsTypes="AA">
                                      <p:cBhvr>
                                        <p:cTn id="34" dur="700" spd="-100000" fill="hold"/>
                                        <p:tgtEl>
                                          <p:spTgt spid="7"/>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42" presetClass="path" presetSubtype="0" decel="100000" fill="hold" grpId="1" nodeType="withEffect">
                                  <p:stCondLst>
                                    <p:cond delay="300"/>
                                  </p:stCondLst>
                                  <p:childTnLst>
                                    <p:animMotion origin="layout" path="M -1.66667E-6 -4.81481E-6 L -1.66667E-6 0.03542 " pathEditMode="relative" rAng="0" ptsTypes="AA">
                                      <p:cBhvr>
                                        <p:cTn id="39" dur="700" spd="-100000" fill="hold"/>
                                        <p:tgtEl>
                                          <p:spTgt spid="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3" grpId="0" animBg="1"/>
      <p:bldP spid="3" grpId="1" animBg="1"/>
      <p:bldP spid="4" grpId="0" animBg="1"/>
      <p:bldP spid="4"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BC816-CB6A-DF87-952C-CD94963074D2}"/>
              </a:ext>
            </a:extLst>
          </p:cNvPr>
          <p:cNvSpPr>
            <a:spLocks noGrp="1"/>
          </p:cNvSpPr>
          <p:nvPr>
            <p:ph type="title"/>
          </p:nvPr>
        </p:nvSpPr>
        <p:spPr>
          <a:xfrm>
            <a:off x="588263" y="457200"/>
            <a:ext cx="11018520" cy="430887"/>
          </a:xfrm>
        </p:spPr>
        <p:txBody>
          <a:bodyPr/>
          <a:lstStyle/>
          <a:p>
            <a:r>
              <a:rPr lang="en-US"/>
              <a:t>SharePoint agents</a:t>
            </a:r>
          </a:p>
        </p:txBody>
      </p:sp>
      <p:grpSp>
        <p:nvGrpSpPr>
          <p:cNvPr id="15" name="Group 14">
            <a:extLst>
              <a:ext uri="{FF2B5EF4-FFF2-40B4-BE49-F238E27FC236}">
                <a16:creationId xmlns:a16="http://schemas.microsoft.com/office/drawing/2014/main" id="{CACAEF64-9759-1221-CA8E-7905DA77F1AD}"/>
              </a:ext>
            </a:extLst>
          </p:cNvPr>
          <p:cNvGrpSpPr/>
          <p:nvPr/>
        </p:nvGrpSpPr>
        <p:grpSpPr>
          <a:xfrm>
            <a:off x="5010369" y="1436688"/>
            <a:ext cx="8360921" cy="4832350"/>
            <a:chOff x="5010369" y="1436688"/>
            <a:chExt cx="8360921" cy="4832350"/>
          </a:xfrm>
        </p:grpSpPr>
        <p:pic>
          <p:nvPicPr>
            <p:cNvPr id="12" name="Picture 11">
              <a:extLst>
                <a:ext uri="{FF2B5EF4-FFF2-40B4-BE49-F238E27FC236}">
                  <a16:creationId xmlns:a16="http://schemas.microsoft.com/office/drawing/2014/main" id="{15282D08-8117-8A93-881D-2D371D22BF8B}"/>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010369" y="1436688"/>
              <a:ext cx="7749286" cy="4832350"/>
            </a:xfrm>
            <a:prstGeom prst="roundRect">
              <a:avLst>
                <a:gd name="adj" fmla="val 2823"/>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grpSp>
          <p:nvGrpSpPr>
            <p:cNvPr id="9" name="Group 8">
              <a:extLst>
                <a:ext uri="{FF2B5EF4-FFF2-40B4-BE49-F238E27FC236}">
                  <a16:creationId xmlns:a16="http://schemas.microsoft.com/office/drawing/2014/main" id="{88CAF1A1-88A9-FDC3-828A-445B2B93D28D}"/>
                </a:ext>
              </a:extLst>
            </p:cNvPr>
            <p:cNvGrpSpPr/>
            <p:nvPr/>
          </p:nvGrpSpPr>
          <p:grpSpPr>
            <a:xfrm>
              <a:off x="5202373" y="1600866"/>
              <a:ext cx="8168917" cy="4478810"/>
              <a:chOff x="5133282" y="1634422"/>
              <a:chExt cx="7808443" cy="4392249"/>
            </a:xfrm>
          </p:grpSpPr>
          <p:pic>
            <p:nvPicPr>
              <p:cNvPr id="10" name="Picture 9" descr="A screenshot of a computer">
                <a:extLst>
                  <a:ext uri="{FF2B5EF4-FFF2-40B4-BE49-F238E27FC236}">
                    <a16:creationId xmlns:a16="http://schemas.microsoft.com/office/drawing/2014/main" id="{DD33FEA0-8818-9B8F-0F4F-6FBA290B8025}"/>
                  </a:ext>
                </a:extLst>
              </p:cNvPr>
              <p:cNvPicPr>
                <a:picLocks noChangeAspect="1"/>
              </p:cNvPicPr>
              <p:nvPr/>
            </p:nvPicPr>
            <p:blipFill>
              <a:blip r:embed="rId4"/>
              <a:stretch>
                <a:fillRect/>
              </a:stretch>
            </p:blipFill>
            <p:spPr>
              <a:xfrm>
                <a:off x="5133282" y="1634422"/>
                <a:ext cx="7808443" cy="4392249"/>
              </a:xfrm>
              <a:prstGeom prst="roundRect">
                <a:avLst>
                  <a:gd name="adj" fmla="val 2030"/>
                </a:avLst>
              </a:prstGeom>
              <a:ln w="12700">
                <a:gradFill>
                  <a:gsLst>
                    <a:gs pos="0">
                      <a:schemeClr val="accent3"/>
                    </a:gs>
                    <a:gs pos="100000">
                      <a:schemeClr val="accent2"/>
                    </a:gs>
                  </a:gsLst>
                  <a:lin ang="5400000" scaled="1"/>
                </a:gradFill>
              </a:ln>
            </p:spPr>
          </p:pic>
          <p:sp>
            <p:nvSpPr>
              <p:cNvPr id="11" name="TextBox 10">
                <a:extLst>
                  <a:ext uri="{FF2B5EF4-FFF2-40B4-BE49-F238E27FC236}">
                    <a16:creationId xmlns:a16="http://schemas.microsoft.com/office/drawing/2014/main" id="{C861288D-F665-192D-3FA3-4686B3E04B20}"/>
                  </a:ext>
                  <a:ext uri="{C183D7F6-B498-43B3-948B-1728B52AA6E4}">
                    <adec:decorative xmlns:adec="http://schemas.microsoft.com/office/drawing/2017/decorative" val="1"/>
                  </a:ext>
                </a:extLst>
              </p:cNvPr>
              <p:cNvSpPr txBox="1"/>
              <p:nvPr/>
            </p:nvSpPr>
            <p:spPr>
              <a:xfrm>
                <a:off x="9714973" y="2538188"/>
                <a:ext cx="663096" cy="197578"/>
              </a:xfrm>
              <a:prstGeom prst="roundRect">
                <a:avLst>
                  <a:gd name="adj" fmla="val 50000"/>
                </a:avLst>
              </a:prstGeom>
              <a:noFill/>
              <a:ln w="25400">
                <a:gradFill flip="none" rotWithShape="1">
                  <a:gsLst>
                    <a:gs pos="85000">
                      <a:srgbClr val="D660FF"/>
                    </a:gs>
                    <a:gs pos="73000">
                      <a:srgbClr val="818EFF"/>
                    </a:gs>
                    <a:gs pos="0">
                      <a:srgbClr val="0078D4"/>
                    </a:gs>
                    <a:gs pos="97000">
                      <a:srgbClr val="FEA874"/>
                    </a:gs>
                  </a:gsLst>
                  <a:lin ang="18900000" scaled="1"/>
                  <a:tileRect/>
                </a:gradFill>
                <a:prstDash val="sysDash"/>
              </a:ln>
            </p:spPr>
            <p:txBody>
              <a:bodyPr wrap="square" lIns="91440" tIns="91440" rIns="91440" bIns="365760" rtlCol="0" anchor="ctr">
                <a:noAutofit/>
              </a:bodyPr>
              <a:lstStyle>
                <a:defPPr>
                  <a:defRPr lang="en-US"/>
                </a:defPPr>
                <a:lvl1pPr algn="ct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endParaRPr lang="en-US"/>
              </a:p>
            </p:txBody>
          </p:sp>
        </p:grpSp>
      </p:grpSp>
      <p:grpSp>
        <p:nvGrpSpPr>
          <p:cNvPr id="14" name="Group 13">
            <a:extLst>
              <a:ext uri="{FF2B5EF4-FFF2-40B4-BE49-F238E27FC236}">
                <a16:creationId xmlns:a16="http://schemas.microsoft.com/office/drawing/2014/main" id="{8A986A53-D687-2C14-E3DD-5BB55D50CA1C}"/>
              </a:ext>
            </a:extLst>
          </p:cNvPr>
          <p:cNvGrpSpPr/>
          <p:nvPr/>
        </p:nvGrpSpPr>
        <p:grpSpPr>
          <a:xfrm>
            <a:off x="584200" y="1366784"/>
            <a:ext cx="4288405" cy="4902254"/>
            <a:chOff x="584200" y="1366784"/>
            <a:chExt cx="4288405" cy="4902254"/>
          </a:xfrm>
        </p:grpSpPr>
        <p:sp>
          <p:nvSpPr>
            <p:cNvPr id="4" name="Rectangle 3">
              <a:extLst>
                <a:ext uri="{FF2B5EF4-FFF2-40B4-BE49-F238E27FC236}">
                  <a16:creationId xmlns:a16="http://schemas.microsoft.com/office/drawing/2014/main" id="{1AE552E9-80EB-3A2E-802A-C623CD98C9E1}"/>
                </a:ext>
                <a:ext uri="{C183D7F6-B498-43B3-948B-1728B52AA6E4}">
                  <adec:decorative xmlns:adec="http://schemas.microsoft.com/office/drawing/2017/decorative" val="0"/>
                </a:ext>
              </a:extLst>
            </p:cNvPr>
            <p:cNvSpPr/>
            <p:nvPr/>
          </p:nvSpPr>
          <p:spPr bwMode="auto">
            <a:xfrm>
              <a:off x="1227130" y="1491780"/>
              <a:ext cx="3645475" cy="477725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4102">
                <a:spcBef>
                  <a:spcPts val="1200"/>
                </a:spcBef>
                <a:defRPr/>
              </a:pPr>
              <a:r>
                <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rPr>
                <a:t>Ready-made or make your own</a:t>
              </a:r>
            </a:p>
            <a:p>
              <a:pPr marR="0" lvl="0" algn="l" defTabSz="914400" rtl="0" eaLnBrk="1" fontAlgn="auto" latinLnBrk="0" hangingPunct="1">
                <a:lnSpc>
                  <a:spcPct val="100000"/>
                </a:lnSpc>
                <a:spcBef>
                  <a:spcPts val="0"/>
                </a:spcBef>
                <a:buClrTx/>
                <a:buSzTx/>
                <a:tabLst/>
                <a:defRPr/>
              </a:pPr>
              <a:r>
                <a:rPr kumimoji="0" lang="en-US" sz="1600" b="0" i="0" u="none" strike="noStrike" kern="1200" cap="none" spc="0" normalizeH="0" baseline="0" noProof="0">
                  <a:ln>
                    <a:noFill/>
                  </a:ln>
                  <a:solidFill>
                    <a:srgbClr val="2E2F2E"/>
                  </a:solidFill>
                  <a:effectLst/>
                  <a:uLnTx/>
                  <a:uFillTx/>
                  <a:latin typeface="Segoe Sans Display" pitchFamily="2" charset="0"/>
                  <a:ea typeface="+mn-ea"/>
                  <a:cs typeface="Segoe Sans Display" pitchFamily="2" charset="0"/>
                </a:rPr>
                <a:t>Use the ready-made agent or create a custom agent with specific SharePoint content</a:t>
              </a:r>
              <a:endParaRPr lang="en-US" sz="1600">
                <a:solidFill>
                  <a:srgbClr val="2E2F2E"/>
                </a:solidFill>
                <a:latin typeface="Segoe Sans Display" pitchFamily="2" charset="0"/>
                <a:cs typeface="Segoe Sans Display" pitchFamily="2" charset="0"/>
              </a:endParaRPr>
            </a:p>
            <a:p>
              <a:pPr marR="0" lvl="0" algn="l" defTabSz="914400" rtl="0" eaLnBrk="1" fontAlgn="auto" latinLnBrk="0" hangingPunct="1">
                <a:spcBef>
                  <a:spcPts val="1200"/>
                </a:spcBef>
                <a:buClrTx/>
                <a:buSzTx/>
                <a:tabLst/>
                <a:defRPr/>
              </a:pPr>
              <a:r>
                <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rPr>
                <a:t>Easy to share</a:t>
              </a:r>
            </a:p>
            <a:p>
              <a:pPr>
                <a:defRPr/>
              </a:pPr>
              <a:r>
                <a:rPr lang="en-US" sz="1600">
                  <a:latin typeface="Segoe Sans Display" pitchFamily="2" charset="0"/>
                  <a:cs typeface="Segoe Sans Display" pitchFamily="2" charset="0"/>
                </a:rPr>
                <a:t>Just like other Microsoft 365 apps, </a:t>
              </a:r>
              <a:br>
                <a:rPr lang="en-US" sz="1600">
                  <a:latin typeface="Segoe Sans Display" pitchFamily="2" charset="0"/>
                  <a:cs typeface="Segoe Sans Display" pitchFamily="2" charset="0"/>
                </a:rPr>
              </a:br>
              <a:r>
                <a:rPr lang="en-US" sz="1600">
                  <a:latin typeface="Segoe Sans Display" pitchFamily="2" charset="0"/>
                  <a:cs typeface="Segoe Sans Display" pitchFamily="2" charset="0"/>
                </a:rPr>
                <a:t>share the link via email or Teams chat</a:t>
              </a:r>
              <a:endPar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endParaRPr>
            </a:p>
            <a:p>
              <a:pPr defTabSz="914102">
                <a:spcBef>
                  <a:spcPts val="1200"/>
                </a:spcBef>
                <a:defRPr/>
              </a:pPr>
              <a:r>
                <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rPr>
                <a:t>Increase collaboration</a:t>
              </a:r>
            </a:p>
            <a:p>
              <a:pPr>
                <a:defRPr/>
              </a:pPr>
              <a:r>
                <a:rPr lang="en-US" sz="1600">
                  <a:latin typeface="Segoe Sans Display" pitchFamily="2" charset="0"/>
                  <a:cs typeface="Segoe Sans Display" pitchFamily="2" charset="0"/>
                </a:rPr>
                <a:t>Add to a Microsoft Teams chat and @mention the agent for instant interaction</a:t>
              </a:r>
              <a:endPar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endParaRPr>
            </a:p>
            <a:p>
              <a:pPr defTabSz="914102">
                <a:spcBef>
                  <a:spcPts val="1200"/>
                </a:spcBef>
                <a:defRPr/>
              </a:pPr>
              <a:r>
                <a:rPr lang="en-US" spc="-50">
                  <a:ln w="3175">
                    <a:noFill/>
                  </a:ln>
                  <a:gradFill flip="none" rotWithShape="1">
                    <a:gsLst>
                      <a:gs pos="0">
                        <a:srgbClr val="131439"/>
                      </a:gs>
                      <a:gs pos="99000">
                        <a:srgbClr val="2585D6"/>
                      </a:gs>
                    </a:gsLst>
                    <a:lin ang="17400000" scaled="0"/>
                    <a:tileRect/>
                  </a:gradFill>
                  <a:latin typeface="Segoe UI Semibold" panose="020B0502040204020203" pitchFamily="34" charset="0"/>
                  <a:cs typeface="Segoe UI Semibold" panose="020B0502040204020203" pitchFamily="34" charset="0"/>
                </a:rPr>
                <a:t>Secure</a:t>
              </a:r>
            </a:p>
            <a:p>
              <a:pPr>
                <a:defRPr/>
              </a:pPr>
              <a:r>
                <a:rPr lang="en-US" sz="1600" b="0" i="0" u="none" strike="noStrike">
                  <a:solidFill>
                    <a:srgbClr val="000000"/>
                  </a:solidFill>
                  <a:effectLst/>
                  <a:latin typeface="Segoe Sans Display" pitchFamily="2" charset="0"/>
                  <a:cs typeface="Segoe Sans Display" pitchFamily="2" charset="0"/>
                </a:rPr>
                <a:t>Defaults to your existing SharePoint </a:t>
              </a:r>
              <a:br>
                <a:rPr lang="en-US" sz="1600" b="0" i="0" u="none" strike="noStrike">
                  <a:solidFill>
                    <a:srgbClr val="000000"/>
                  </a:solidFill>
                  <a:effectLst/>
                  <a:latin typeface="Segoe Sans Display" pitchFamily="2" charset="0"/>
                  <a:cs typeface="Segoe Sans Display" pitchFamily="2" charset="0"/>
                </a:rPr>
              </a:br>
              <a:r>
                <a:rPr lang="en-US" sz="1600" b="0" i="0" u="none" strike="noStrike">
                  <a:solidFill>
                    <a:srgbClr val="000000"/>
                  </a:solidFill>
                  <a:effectLst/>
                  <a:latin typeface="Segoe Sans Display" pitchFamily="2" charset="0"/>
                  <a:cs typeface="Segoe Sans Display" pitchFamily="2" charset="0"/>
                </a:rPr>
                <a:t>permissions and sensitivity settings</a:t>
              </a:r>
              <a:r>
                <a:rPr lang="en-US" sz="1600" b="0" i="0">
                  <a:solidFill>
                    <a:srgbClr val="000000"/>
                  </a:solidFill>
                  <a:effectLst/>
                  <a:latin typeface="Segoe Sans Display" pitchFamily="2" charset="0"/>
                  <a:cs typeface="Segoe Sans Display" pitchFamily="2" charset="0"/>
                </a:rPr>
                <a:t>​</a:t>
              </a:r>
              <a:endParaRPr lang="en-US" sz="1600">
                <a:latin typeface="Segoe Sans Display" pitchFamily="2" charset="0"/>
                <a:cs typeface="Segoe Sans Display" pitchFamily="2" charset="0"/>
              </a:endParaRPr>
            </a:p>
          </p:txBody>
        </p:sp>
        <p:sp>
          <p:nvSpPr>
            <p:cNvPr id="5" name="Freeform: Shape 4">
              <a:extLst>
                <a:ext uri="{FF2B5EF4-FFF2-40B4-BE49-F238E27FC236}">
                  <a16:creationId xmlns:a16="http://schemas.microsoft.com/office/drawing/2014/main" id="{E66F2BCF-2BE3-C744-05F1-30B29BE12E49}"/>
                </a:ext>
                <a:ext uri="{C183D7F6-B498-43B3-948B-1728B52AA6E4}">
                  <adec:decorative xmlns:adec="http://schemas.microsoft.com/office/drawing/2017/decorative" val="1"/>
                </a:ext>
              </a:extLst>
            </p:cNvPr>
            <p:cNvSpPr/>
            <p:nvPr/>
          </p:nvSpPr>
          <p:spPr>
            <a:xfrm>
              <a:off x="615207" y="1366784"/>
              <a:ext cx="415551" cy="501834"/>
            </a:xfrm>
            <a:custGeom>
              <a:avLst/>
              <a:gdLst>
                <a:gd name="connsiteX0" fmla="*/ 136364 w 790338"/>
                <a:gd name="connsiteY0" fmla="*/ 319421 h 954441"/>
                <a:gd name="connsiteX1" fmla="*/ 155711 w 790338"/>
                <a:gd name="connsiteY1" fmla="*/ 328351 h 954441"/>
                <a:gd name="connsiteX2" fmla="*/ 146781 w 790338"/>
                <a:gd name="connsiteY2" fmla="*/ 347698 h 954441"/>
                <a:gd name="connsiteX3" fmla="*/ 20280 w 790338"/>
                <a:gd name="connsiteY3" fmla="*/ 393835 h 954441"/>
                <a:gd name="connsiteX4" fmla="*/ 14326 w 790338"/>
                <a:gd name="connsiteY4" fmla="*/ 395323 h 954441"/>
                <a:gd name="connsiteX5" fmla="*/ 14326 w 790338"/>
                <a:gd name="connsiteY5" fmla="*/ 395324 h 954441"/>
                <a:gd name="connsiteX6" fmla="*/ 932 w 790338"/>
                <a:gd name="connsiteY6" fmla="*/ 384906 h 954441"/>
                <a:gd name="connsiteX7" fmla="*/ 9862 w 790338"/>
                <a:gd name="connsiteY7" fmla="*/ 365559 h 954441"/>
                <a:gd name="connsiteX8" fmla="*/ 259899 w 790338"/>
                <a:gd name="connsiteY8" fmla="*/ 247979 h 954441"/>
                <a:gd name="connsiteX9" fmla="*/ 307524 w 790338"/>
                <a:gd name="connsiteY9" fmla="*/ 273280 h 954441"/>
                <a:gd name="connsiteX10" fmla="*/ 378962 w 790338"/>
                <a:gd name="connsiteY10" fmla="*/ 466752 h 954441"/>
                <a:gd name="connsiteX11" fmla="*/ 390868 w 790338"/>
                <a:gd name="connsiteY11" fmla="*/ 498005 h 954441"/>
                <a:gd name="connsiteX12" fmla="*/ 419146 w 790338"/>
                <a:gd name="connsiteY12" fmla="*/ 573908 h 954441"/>
                <a:gd name="connsiteX13" fmla="*/ 438493 w 790338"/>
                <a:gd name="connsiteY13" fmla="*/ 582838 h 954441"/>
                <a:gd name="connsiteX14" fmla="*/ 447423 w 790338"/>
                <a:gd name="connsiteY14" fmla="*/ 563490 h 954441"/>
                <a:gd name="connsiteX15" fmla="*/ 419145 w 790338"/>
                <a:gd name="connsiteY15" fmla="*/ 487588 h 954441"/>
                <a:gd name="connsiteX16" fmla="*/ 408727 w 790338"/>
                <a:gd name="connsiteY16" fmla="*/ 456334 h 954441"/>
                <a:gd name="connsiteX17" fmla="*/ 428074 w 790338"/>
                <a:gd name="connsiteY17" fmla="*/ 413174 h 954441"/>
                <a:gd name="connsiteX18" fmla="*/ 472722 w 790338"/>
                <a:gd name="connsiteY18" fmla="*/ 431034 h 954441"/>
                <a:gd name="connsiteX19" fmla="*/ 505464 w 790338"/>
                <a:gd name="connsiteY19" fmla="*/ 509912 h 954441"/>
                <a:gd name="connsiteX20" fmla="*/ 506952 w 790338"/>
                <a:gd name="connsiteY20" fmla="*/ 512889 h 954441"/>
                <a:gd name="connsiteX21" fmla="*/ 535230 w 790338"/>
                <a:gd name="connsiteY21" fmla="*/ 578373 h 954441"/>
                <a:gd name="connsiteX22" fmla="*/ 548625 w 790338"/>
                <a:gd name="connsiteY22" fmla="*/ 587303 h 954441"/>
                <a:gd name="connsiteX23" fmla="*/ 554578 w 790338"/>
                <a:gd name="connsiteY23" fmla="*/ 585814 h 954441"/>
                <a:gd name="connsiteX24" fmla="*/ 562019 w 790338"/>
                <a:gd name="connsiteY24" fmla="*/ 566467 h 954441"/>
                <a:gd name="connsiteX25" fmla="*/ 533741 w 790338"/>
                <a:gd name="connsiteY25" fmla="*/ 500983 h 954441"/>
                <a:gd name="connsiteX26" fmla="*/ 520347 w 790338"/>
                <a:gd name="connsiteY26" fmla="*/ 457823 h 954441"/>
                <a:gd name="connsiteX27" fmla="*/ 542672 w 790338"/>
                <a:gd name="connsiteY27" fmla="*/ 413174 h 954441"/>
                <a:gd name="connsiteX28" fmla="*/ 587320 w 790338"/>
                <a:gd name="connsiteY28" fmla="*/ 434010 h 954441"/>
                <a:gd name="connsiteX29" fmla="*/ 621551 w 790338"/>
                <a:gd name="connsiteY29" fmla="*/ 515867 h 954441"/>
                <a:gd name="connsiteX30" fmla="*/ 621551 w 790338"/>
                <a:gd name="connsiteY30" fmla="*/ 517355 h 954441"/>
                <a:gd name="connsiteX31" fmla="*/ 640899 w 790338"/>
                <a:gd name="connsiteY31" fmla="*/ 564980 h 954441"/>
                <a:gd name="connsiteX32" fmla="*/ 654293 w 790338"/>
                <a:gd name="connsiteY32" fmla="*/ 573910 h 954441"/>
                <a:gd name="connsiteX33" fmla="*/ 660246 w 790338"/>
                <a:gd name="connsiteY33" fmla="*/ 572422 h 954441"/>
                <a:gd name="connsiteX34" fmla="*/ 667688 w 790338"/>
                <a:gd name="connsiteY34" fmla="*/ 553075 h 954441"/>
                <a:gd name="connsiteX35" fmla="*/ 648340 w 790338"/>
                <a:gd name="connsiteY35" fmla="*/ 506938 h 954441"/>
                <a:gd name="connsiteX36" fmla="*/ 634946 w 790338"/>
                <a:gd name="connsiteY36" fmla="*/ 451872 h 954441"/>
                <a:gd name="connsiteX37" fmla="*/ 654293 w 790338"/>
                <a:gd name="connsiteY37" fmla="*/ 414665 h 954441"/>
                <a:gd name="connsiteX38" fmla="*/ 695965 w 790338"/>
                <a:gd name="connsiteY38" fmla="*/ 432524 h 954441"/>
                <a:gd name="connsiteX39" fmla="*/ 770379 w 790338"/>
                <a:gd name="connsiteY39" fmla="*/ 617071 h 954441"/>
                <a:gd name="connsiteX40" fmla="*/ 652802 w 790338"/>
                <a:gd name="connsiteY40" fmla="*/ 931101 h 954441"/>
                <a:gd name="connsiteX41" fmla="*/ 652802 w 790338"/>
                <a:gd name="connsiteY41" fmla="*/ 931106 h 954441"/>
                <a:gd name="connsiteX42" fmla="*/ 393836 w 790338"/>
                <a:gd name="connsiteY42" fmla="*/ 892411 h 954441"/>
                <a:gd name="connsiteX43" fmla="*/ 164646 w 790338"/>
                <a:gd name="connsiteY43" fmla="*/ 679584 h 954441"/>
                <a:gd name="connsiteX44" fmla="*/ 155716 w 790338"/>
                <a:gd name="connsiteY44" fmla="*/ 657259 h 954441"/>
                <a:gd name="connsiteX45" fmla="*/ 167622 w 790338"/>
                <a:gd name="connsiteY45" fmla="*/ 636423 h 954441"/>
                <a:gd name="connsiteX46" fmla="*/ 234594 w 790338"/>
                <a:gd name="connsiteY46" fmla="*/ 636423 h 954441"/>
                <a:gd name="connsiteX47" fmla="*/ 340265 w 790338"/>
                <a:gd name="connsiteY47" fmla="*/ 713814 h 954441"/>
                <a:gd name="connsiteX48" fmla="*/ 358124 w 790338"/>
                <a:gd name="connsiteY48" fmla="*/ 713814 h 954441"/>
                <a:gd name="connsiteX49" fmla="*/ 364077 w 790338"/>
                <a:gd name="connsiteY49" fmla="*/ 697442 h 954441"/>
                <a:gd name="connsiteX50" fmla="*/ 231623 w 790338"/>
                <a:gd name="connsiteY50" fmla="*/ 300069 h 954441"/>
                <a:gd name="connsiteX51" fmla="*/ 234599 w 790338"/>
                <a:gd name="connsiteY51" fmla="*/ 267327 h 954441"/>
                <a:gd name="connsiteX52" fmla="*/ 259899 w 790338"/>
                <a:gd name="connsiteY52" fmla="*/ 247979 h 954441"/>
                <a:gd name="connsiteX53" fmla="*/ 542668 w 790338"/>
                <a:gd name="connsiteY53" fmla="*/ 179521 h 954441"/>
                <a:gd name="connsiteX54" fmla="*/ 562015 w 790338"/>
                <a:gd name="connsiteY54" fmla="*/ 188451 h 954441"/>
                <a:gd name="connsiteX55" fmla="*/ 553085 w 790338"/>
                <a:gd name="connsiteY55" fmla="*/ 207798 h 954441"/>
                <a:gd name="connsiteX56" fmla="*/ 426583 w 790338"/>
                <a:gd name="connsiteY56" fmla="*/ 252447 h 954441"/>
                <a:gd name="connsiteX57" fmla="*/ 420630 w 790338"/>
                <a:gd name="connsiteY57" fmla="*/ 253935 h 954441"/>
                <a:gd name="connsiteX58" fmla="*/ 407236 w 790338"/>
                <a:gd name="connsiteY58" fmla="*/ 243517 h 954441"/>
                <a:gd name="connsiteX59" fmla="*/ 416166 w 790338"/>
                <a:gd name="connsiteY59" fmla="*/ 224170 h 954441"/>
                <a:gd name="connsiteX60" fmla="*/ 11910 w 790338"/>
                <a:gd name="connsiteY60" fmla="*/ 137664 h 954441"/>
                <a:gd name="connsiteX61" fmla="*/ 23258 w 790338"/>
                <a:gd name="connsiteY61" fmla="*/ 137850 h 954441"/>
                <a:gd name="connsiteX62" fmla="*/ 145293 w 790338"/>
                <a:gd name="connsiteY62" fmla="*/ 194404 h 954441"/>
                <a:gd name="connsiteX63" fmla="*/ 152734 w 790338"/>
                <a:gd name="connsiteY63" fmla="*/ 213751 h 954441"/>
                <a:gd name="connsiteX64" fmla="*/ 137852 w 790338"/>
                <a:gd name="connsiteY64" fmla="*/ 224170 h 954441"/>
                <a:gd name="connsiteX65" fmla="*/ 131898 w 790338"/>
                <a:gd name="connsiteY65" fmla="*/ 222682 h 954441"/>
                <a:gd name="connsiteX66" fmla="*/ 9864 w 790338"/>
                <a:gd name="connsiteY66" fmla="*/ 164639 h 954441"/>
                <a:gd name="connsiteX67" fmla="*/ 3911 w 790338"/>
                <a:gd name="connsiteY67" fmla="*/ 145291 h 954441"/>
                <a:gd name="connsiteX68" fmla="*/ 11910 w 790338"/>
                <a:gd name="connsiteY68" fmla="*/ 137664 h 954441"/>
                <a:gd name="connsiteX69" fmla="*/ 394392 w 790338"/>
                <a:gd name="connsiteY69" fmla="*/ 5207 h 954441"/>
                <a:gd name="connsiteX70" fmla="*/ 405741 w 790338"/>
                <a:gd name="connsiteY70" fmla="*/ 5393 h 954441"/>
                <a:gd name="connsiteX71" fmla="*/ 413182 w 790338"/>
                <a:gd name="connsiteY71" fmla="*/ 24740 h 954441"/>
                <a:gd name="connsiteX72" fmla="*/ 355138 w 790338"/>
                <a:gd name="connsiteY72" fmla="*/ 145288 h 954441"/>
                <a:gd name="connsiteX73" fmla="*/ 341744 w 790338"/>
                <a:gd name="connsiteY73" fmla="*/ 154218 h 954441"/>
                <a:gd name="connsiteX74" fmla="*/ 335791 w 790338"/>
                <a:gd name="connsiteY74" fmla="*/ 152730 h 954441"/>
                <a:gd name="connsiteX75" fmla="*/ 328350 w 790338"/>
                <a:gd name="connsiteY75" fmla="*/ 133382 h 954441"/>
                <a:gd name="connsiteX76" fmla="*/ 386393 w 790338"/>
                <a:gd name="connsiteY76" fmla="*/ 12834 h 954441"/>
                <a:gd name="connsiteX77" fmla="*/ 394392 w 790338"/>
                <a:gd name="connsiteY77" fmla="*/ 5207 h 954441"/>
                <a:gd name="connsiteX78" fmla="*/ 183989 w 790338"/>
                <a:gd name="connsiteY78" fmla="*/ 932 h 954441"/>
                <a:gd name="connsiteX79" fmla="*/ 203336 w 790338"/>
                <a:gd name="connsiteY79" fmla="*/ 9862 h 954441"/>
                <a:gd name="connsiteX80" fmla="*/ 247985 w 790338"/>
                <a:gd name="connsiteY80" fmla="*/ 136363 h 954441"/>
                <a:gd name="connsiteX81" fmla="*/ 239055 w 790338"/>
                <a:gd name="connsiteY81" fmla="*/ 155710 h 954441"/>
                <a:gd name="connsiteX82" fmla="*/ 233102 w 790338"/>
                <a:gd name="connsiteY82" fmla="*/ 157199 h 954441"/>
                <a:gd name="connsiteX83" fmla="*/ 219708 w 790338"/>
                <a:gd name="connsiteY83" fmla="*/ 146781 h 954441"/>
                <a:gd name="connsiteX84" fmla="*/ 175059 w 790338"/>
                <a:gd name="connsiteY84" fmla="*/ 20279 h 954441"/>
                <a:gd name="connsiteX85" fmla="*/ 183989 w 790338"/>
                <a:gd name="connsiteY85" fmla="*/ 932 h 95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790338" h="954441">
                  <a:moveTo>
                    <a:pt x="136364" y="319421"/>
                  </a:moveTo>
                  <a:cubicBezTo>
                    <a:pt x="143805" y="316445"/>
                    <a:pt x="152735" y="320909"/>
                    <a:pt x="155711" y="328351"/>
                  </a:cubicBezTo>
                  <a:cubicBezTo>
                    <a:pt x="158686" y="335792"/>
                    <a:pt x="154223" y="344723"/>
                    <a:pt x="146781" y="347698"/>
                  </a:cubicBezTo>
                  <a:lnTo>
                    <a:pt x="20280" y="393835"/>
                  </a:lnTo>
                  <a:cubicBezTo>
                    <a:pt x="17303" y="395323"/>
                    <a:pt x="15815" y="395323"/>
                    <a:pt x="14326" y="395323"/>
                  </a:cubicBezTo>
                  <a:lnTo>
                    <a:pt x="14326" y="395324"/>
                  </a:lnTo>
                  <a:cubicBezTo>
                    <a:pt x="8373" y="395324"/>
                    <a:pt x="2420" y="390860"/>
                    <a:pt x="932" y="384906"/>
                  </a:cubicBezTo>
                  <a:cubicBezTo>
                    <a:pt x="-2044" y="377464"/>
                    <a:pt x="2421" y="368534"/>
                    <a:pt x="9862" y="365559"/>
                  </a:cubicBezTo>
                  <a:close/>
                  <a:moveTo>
                    <a:pt x="259899" y="247979"/>
                  </a:moveTo>
                  <a:cubicBezTo>
                    <a:pt x="279247" y="243515"/>
                    <a:pt x="300084" y="253933"/>
                    <a:pt x="307524" y="273280"/>
                  </a:cubicBezTo>
                  <a:lnTo>
                    <a:pt x="378962" y="466752"/>
                  </a:lnTo>
                  <a:lnTo>
                    <a:pt x="390868" y="498005"/>
                  </a:lnTo>
                  <a:lnTo>
                    <a:pt x="419146" y="573908"/>
                  </a:lnTo>
                  <a:cubicBezTo>
                    <a:pt x="422123" y="581349"/>
                    <a:pt x="431052" y="585814"/>
                    <a:pt x="438493" y="582838"/>
                  </a:cubicBezTo>
                  <a:cubicBezTo>
                    <a:pt x="445934" y="579861"/>
                    <a:pt x="450400" y="570931"/>
                    <a:pt x="447423" y="563490"/>
                  </a:cubicBezTo>
                  <a:lnTo>
                    <a:pt x="419145" y="487588"/>
                  </a:lnTo>
                  <a:lnTo>
                    <a:pt x="408727" y="456334"/>
                  </a:lnTo>
                  <a:cubicBezTo>
                    <a:pt x="402774" y="438475"/>
                    <a:pt x="410214" y="419128"/>
                    <a:pt x="428074" y="413174"/>
                  </a:cubicBezTo>
                  <a:cubicBezTo>
                    <a:pt x="445933" y="405733"/>
                    <a:pt x="465280" y="414662"/>
                    <a:pt x="472722" y="431034"/>
                  </a:cubicBezTo>
                  <a:lnTo>
                    <a:pt x="505464" y="509912"/>
                  </a:lnTo>
                  <a:cubicBezTo>
                    <a:pt x="505464" y="511400"/>
                    <a:pt x="505464" y="511400"/>
                    <a:pt x="506952" y="512889"/>
                  </a:cubicBezTo>
                  <a:lnTo>
                    <a:pt x="535230" y="578373"/>
                  </a:lnTo>
                  <a:cubicBezTo>
                    <a:pt x="538207" y="584326"/>
                    <a:pt x="542672" y="587303"/>
                    <a:pt x="548625" y="587303"/>
                  </a:cubicBezTo>
                  <a:cubicBezTo>
                    <a:pt x="550113" y="587303"/>
                    <a:pt x="553090" y="587303"/>
                    <a:pt x="554578" y="585814"/>
                  </a:cubicBezTo>
                  <a:cubicBezTo>
                    <a:pt x="562019" y="582838"/>
                    <a:pt x="564996" y="573908"/>
                    <a:pt x="562019" y="566467"/>
                  </a:cubicBezTo>
                  <a:lnTo>
                    <a:pt x="533741" y="500983"/>
                  </a:lnTo>
                  <a:lnTo>
                    <a:pt x="520347" y="457823"/>
                  </a:lnTo>
                  <a:cubicBezTo>
                    <a:pt x="514394" y="439963"/>
                    <a:pt x="524812" y="419128"/>
                    <a:pt x="542672" y="413174"/>
                  </a:cubicBezTo>
                  <a:cubicBezTo>
                    <a:pt x="560532" y="407221"/>
                    <a:pt x="579879" y="416151"/>
                    <a:pt x="587320" y="434010"/>
                  </a:cubicBezTo>
                  <a:lnTo>
                    <a:pt x="621551" y="515867"/>
                  </a:lnTo>
                  <a:lnTo>
                    <a:pt x="621551" y="517355"/>
                  </a:lnTo>
                  <a:lnTo>
                    <a:pt x="640899" y="564980"/>
                  </a:lnTo>
                  <a:cubicBezTo>
                    <a:pt x="643875" y="570933"/>
                    <a:pt x="648340" y="573910"/>
                    <a:pt x="654293" y="573910"/>
                  </a:cubicBezTo>
                  <a:cubicBezTo>
                    <a:pt x="655781" y="573910"/>
                    <a:pt x="658758" y="573910"/>
                    <a:pt x="660246" y="572422"/>
                  </a:cubicBezTo>
                  <a:cubicBezTo>
                    <a:pt x="667688" y="569445"/>
                    <a:pt x="672152" y="560516"/>
                    <a:pt x="667688" y="553075"/>
                  </a:cubicBezTo>
                  <a:lnTo>
                    <a:pt x="648340" y="506938"/>
                  </a:lnTo>
                  <a:lnTo>
                    <a:pt x="634946" y="451872"/>
                  </a:lnTo>
                  <a:cubicBezTo>
                    <a:pt x="631970" y="435500"/>
                    <a:pt x="639411" y="420618"/>
                    <a:pt x="654293" y="414665"/>
                  </a:cubicBezTo>
                  <a:cubicBezTo>
                    <a:pt x="670665" y="408712"/>
                    <a:pt x="690011" y="416153"/>
                    <a:pt x="695965" y="432524"/>
                  </a:cubicBezTo>
                  <a:lnTo>
                    <a:pt x="770379" y="617071"/>
                  </a:lnTo>
                  <a:cubicBezTo>
                    <a:pt x="822470" y="736134"/>
                    <a:pt x="768891" y="874541"/>
                    <a:pt x="652802" y="931101"/>
                  </a:cubicBezTo>
                  <a:lnTo>
                    <a:pt x="652802" y="931106"/>
                  </a:lnTo>
                  <a:cubicBezTo>
                    <a:pt x="566482" y="972778"/>
                    <a:pt x="465274" y="957895"/>
                    <a:pt x="393836" y="892411"/>
                  </a:cubicBezTo>
                  <a:lnTo>
                    <a:pt x="164646" y="679584"/>
                  </a:lnTo>
                  <a:cubicBezTo>
                    <a:pt x="158693" y="673631"/>
                    <a:pt x="155716" y="666190"/>
                    <a:pt x="155716" y="657259"/>
                  </a:cubicBezTo>
                  <a:cubicBezTo>
                    <a:pt x="155716" y="648329"/>
                    <a:pt x="160180" y="640888"/>
                    <a:pt x="167622" y="636423"/>
                  </a:cubicBezTo>
                  <a:cubicBezTo>
                    <a:pt x="186969" y="623029"/>
                    <a:pt x="213759" y="623029"/>
                    <a:pt x="234594" y="636423"/>
                  </a:cubicBezTo>
                  <a:lnTo>
                    <a:pt x="340265" y="713814"/>
                  </a:lnTo>
                  <a:cubicBezTo>
                    <a:pt x="344730" y="716790"/>
                    <a:pt x="352171" y="718278"/>
                    <a:pt x="358124" y="713814"/>
                  </a:cubicBezTo>
                  <a:cubicBezTo>
                    <a:pt x="362589" y="710837"/>
                    <a:pt x="365566" y="703395"/>
                    <a:pt x="364077" y="697442"/>
                  </a:cubicBezTo>
                  <a:lnTo>
                    <a:pt x="231623" y="300069"/>
                  </a:lnTo>
                  <a:cubicBezTo>
                    <a:pt x="228646" y="289650"/>
                    <a:pt x="228646" y="277744"/>
                    <a:pt x="234599" y="267327"/>
                  </a:cubicBezTo>
                  <a:cubicBezTo>
                    <a:pt x="240552" y="256909"/>
                    <a:pt x="249482" y="250955"/>
                    <a:pt x="259899" y="247979"/>
                  </a:cubicBezTo>
                  <a:close/>
                  <a:moveTo>
                    <a:pt x="542668" y="179521"/>
                  </a:moveTo>
                  <a:cubicBezTo>
                    <a:pt x="550109" y="176545"/>
                    <a:pt x="559039" y="181010"/>
                    <a:pt x="562015" y="188451"/>
                  </a:cubicBezTo>
                  <a:cubicBezTo>
                    <a:pt x="564990" y="195892"/>
                    <a:pt x="560526" y="204823"/>
                    <a:pt x="553085" y="207798"/>
                  </a:cubicBezTo>
                  <a:lnTo>
                    <a:pt x="426583" y="252447"/>
                  </a:lnTo>
                  <a:cubicBezTo>
                    <a:pt x="423607" y="252447"/>
                    <a:pt x="422119" y="253935"/>
                    <a:pt x="420630" y="253935"/>
                  </a:cubicBezTo>
                  <a:cubicBezTo>
                    <a:pt x="414677" y="253935"/>
                    <a:pt x="408724" y="249470"/>
                    <a:pt x="407236" y="243517"/>
                  </a:cubicBezTo>
                  <a:cubicBezTo>
                    <a:pt x="404260" y="236076"/>
                    <a:pt x="408725" y="227145"/>
                    <a:pt x="416166" y="224170"/>
                  </a:cubicBezTo>
                  <a:close/>
                  <a:moveTo>
                    <a:pt x="11910" y="137664"/>
                  </a:moveTo>
                  <a:cubicBezTo>
                    <a:pt x="15445" y="136361"/>
                    <a:pt x="19537" y="136361"/>
                    <a:pt x="23258" y="137850"/>
                  </a:cubicBezTo>
                  <a:lnTo>
                    <a:pt x="145293" y="194404"/>
                  </a:lnTo>
                  <a:cubicBezTo>
                    <a:pt x="152734" y="197381"/>
                    <a:pt x="155711" y="206311"/>
                    <a:pt x="152734" y="213751"/>
                  </a:cubicBezTo>
                  <a:cubicBezTo>
                    <a:pt x="149757" y="221192"/>
                    <a:pt x="143805" y="224170"/>
                    <a:pt x="137852" y="224170"/>
                  </a:cubicBezTo>
                  <a:cubicBezTo>
                    <a:pt x="136364" y="224170"/>
                    <a:pt x="133387" y="224170"/>
                    <a:pt x="131898" y="222682"/>
                  </a:cubicBezTo>
                  <a:lnTo>
                    <a:pt x="9864" y="164639"/>
                  </a:lnTo>
                  <a:cubicBezTo>
                    <a:pt x="3911" y="161662"/>
                    <a:pt x="-554" y="152732"/>
                    <a:pt x="3911" y="145291"/>
                  </a:cubicBezTo>
                  <a:cubicBezTo>
                    <a:pt x="5399" y="141570"/>
                    <a:pt x="8376" y="138966"/>
                    <a:pt x="11910" y="137664"/>
                  </a:cubicBezTo>
                  <a:close/>
                  <a:moveTo>
                    <a:pt x="394392" y="5207"/>
                  </a:moveTo>
                  <a:cubicBezTo>
                    <a:pt x="397927" y="3904"/>
                    <a:pt x="402020" y="3904"/>
                    <a:pt x="405741" y="5393"/>
                  </a:cubicBezTo>
                  <a:cubicBezTo>
                    <a:pt x="413182" y="8370"/>
                    <a:pt x="416158" y="17299"/>
                    <a:pt x="413182" y="24740"/>
                  </a:cubicBezTo>
                  <a:lnTo>
                    <a:pt x="355138" y="145288"/>
                  </a:lnTo>
                  <a:cubicBezTo>
                    <a:pt x="352162" y="151242"/>
                    <a:pt x="347697" y="154218"/>
                    <a:pt x="341744" y="154218"/>
                  </a:cubicBezTo>
                  <a:cubicBezTo>
                    <a:pt x="340256" y="154218"/>
                    <a:pt x="337280" y="154218"/>
                    <a:pt x="335791" y="152730"/>
                  </a:cubicBezTo>
                  <a:cubicBezTo>
                    <a:pt x="328350" y="149754"/>
                    <a:pt x="325373" y="140824"/>
                    <a:pt x="328350" y="133382"/>
                  </a:cubicBezTo>
                  <a:lnTo>
                    <a:pt x="386393" y="12834"/>
                  </a:lnTo>
                  <a:cubicBezTo>
                    <a:pt x="387881" y="9113"/>
                    <a:pt x="390858" y="6509"/>
                    <a:pt x="394392" y="5207"/>
                  </a:cubicBezTo>
                  <a:close/>
                  <a:moveTo>
                    <a:pt x="183989" y="932"/>
                  </a:moveTo>
                  <a:cubicBezTo>
                    <a:pt x="191430" y="-2044"/>
                    <a:pt x="200361" y="2420"/>
                    <a:pt x="203336" y="9862"/>
                  </a:cubicBezTo>
                  <a:lnTo>
                    <a:pt x="247985" y="136363"/>
                  </a:lnTo>
                  <a:cubicBezTo>
                    <a:pt x="250961" y="143804"/>
                    <a:pt x="246496" y="152735"/>
                    <a:pt x="239055" y="155710"/>
                  </a:cubicBezTo>
                  <a:cubicBezTo>
                    <a:pt x="237567" y="157199"/>
                    <a:pt x="234591" y="157199"/>
                    <a:pt x="233102" y="157199"/>
                  </a:cubicBezTo>
                  <a:cubicBezTo>
                    <a:pt x="227149" y="157199"/>
                    <a:pt x="221196" y="152734"/>
                    <a:pt x="219708" y="146781"/>
                  </a:cubicBezTo>
                  <a:lnTo>
                    <a:pt x="175059" y="20279"/>
                  </a:lnTo>
                  <a:cubicBezTo>
                    <a:pt x="172083" y="12838"/>
                    <a:pt x="176547" y="3908"/>
                    <a:pt x="183989" y="932"/>
                  </a:cubicBezTo>
                  <a:close/>
                </a:path>
              </a:pathLst>
            </a:cu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0" rIns="91440" bIns="0" numCol="1" spcCol="0" rtlCol="0" fromWordArt="0" anchor="ctr" anchorCtr="0" forceAA="0" compatLnSpc="1">
              <a:prstTxWarp prst="textNoShape">
                <a:avLst/>
              </a:prstTxWarp>
              <a:noAutofit/>
            </a:bodyPr>
            <a:lstStyle/>
            <a:p>
              <a:pPr algn="ctr" defTabSz="777254">
                <a:buSzPct val="90000"/>
              </a:pPr>
              <a:endParaRPr lang="en-US" sz="1200">
                <a:solidFill>
                  <a:srgbClr val="FFFFFF"/>
                </a:solidFill>
                <a:latin typeface="Segoe UI Semibold"/>
                <a:cs typeface="Segoe UI Semibold" panose="020B0502040204020203" pitchFamily="34" charset="0"/>
              </a:endParaRPr>
            </a:p>
          </p:txBody>
        </p:sp>
        <p:sp>
          <p:nvSpPr>
            <p:cNvPr id="6" name="Freeform: Shape 5">
              <a:extLst>
                <a:ext uri="{FF2B5EF4-FFF2-40B4-BE49-F238E27FC236}">
                  <a16:creationId xmlns:a16="http://schemas.microsoft.com/office/drawing/2014/main" id="{6778C32B-E9F8-8147-1DED-D514D4645311}"/>
                </a:ext>
                <a:ext uri="{C183D7F6-B498-43B3-948B-1728B52AA6E4}">
                  <adec:decorative xmlns:adec="http://schemas.microsoft.com/office/drawing/2017/decorative" val="1"/>
                </a:ext>
              </a:extLst>
            </p:cNvPr>
            <p:cNvSpPr/>
            <p:nvPr/>
          </p:nvSpPr>
          <p:spPr>
            <a:xfrm>
              <a:off x="589213" y="3586507"/>
              <a:ext cx="467541" cy="303733"/>
            </a:xfrm>
            <a:custGeom>
              <a:avLst/>
              <a:gdLst>
                <a:gd name="connsiteX0" fmla="*/ 1020273 w 3011232"/>
                <a:gd name="connsiteY0" fmla="*/ 1956215 h 1956215"/>
                <a:gd name="connsiteX1" fmla="*/ 1990959 w 3011232"/>
                <a:gd name="connsiteY1" fmla="*/ 1956215 h 1956215"/>
                <a:gd name="connsiteX2" fmla="*/ 2244926 w 3011232"/>
                <a:gd name="connsiteY2" fmla="*/ 1702184 h 1956215"/>
                <a:gd name="connsiteX3" fmla="*/ 2244602 w 3011232"/>
                <a:gd name="connsiteY3" fmla="*/ 1689026 h 1956215"/>
                <a:gd name="connsiteX4" fmla="*/ 2244602 w 3011232"/>
                <a:gd name="connsiteY4" fmla="*/ 1688766 h 1956215"/>
                <a:gd name="connsiteX5" fmla="*/ 2244602 w 3011232"/>
                <a:gd name="connsiteY5" fmla="*/ 1688572 h 1956215"/>
                <a:gd name="connsiteX6" fmla="*/ 2244537 w 3011232"/>
                <a:gd name="connsiteY6" fmla="*/ 1688313 h 1956215"/>
                <a:gd name="connsiteX7" fmla="*/ 2244537 w 3011232"/>
                <a:gd name="connsiteY7" fmla="*/ 1688053 h 1956215"/>
                <a:gd name="connsiteX8" fmla="*/ 2244537 w 3011232"/>
                <a:gd name="connsiteY8" fmla="*/ 1687859 h 1956215"/>
                <a:gd name="connsiteX9" fmla="*/ 2244537 w 3011232"/>
                <a:gd name="connsiteY9" fmla="*/ 1687599 h 1956215"/>
                <a:gd name="connsiteX10" fmla="*/ 2244537 w 3011232"/>
                <a:gd name="connsiteY10" fmla="*/ 1687340 h 1956215"/>
                <a:gd name="connsiteX11" fmla="*/ 2244472 w 3011232"/>
                <a:gd name="connsiteY11" fmla="*/ 1687146 h 1956215"/>
                <a:gd name="connsiteX12" fmla="*/ 1505649 w 3011232"/>
                <a:gd name="connsiteY12" fmla="*/ 994734 h 1956215"/>
                <a:gd name="connsiteX13" fmla="*/ 766761 w 3011232"/>
                <a:gd name="connsiteY13" fmla="*/ 1687146 h 1956215"/>
                <a:gd name="connsiteX14" fmla="*/ 766761 w 3011232"/>
                <a:gd name="connsiteY14" fmla="*/ 1687340 h 1956215"/>
                <a:gd name="connsiteX15" fmla="*/ 766761 w 3011232"/>
                <a:gd name="connsiteY15" fmla="*/ 1687599 h 1956215"/>
                <a:gd name="connsiteX16" fmla="*/ 766761 w 3011232"/>
                <a:gd name="connsiteY16" fmla="*/ 1687859 h 1956215"/>
                <a:gd name="connsiteX17" fmla="*/ 766696 w 3011232"/>
                <a:gd name="connsiteY17" fmla="*/ 1688053 h 1956215"/>
                <a:gd name="connsiteX18" fmla="*/ 766696 w 3011232"/>
                <a:gd name="connsiteY18" fmla="*/ 1688313 h 1956215"/>
                <a:gd name="connsiteX19" fmla="*/ 766696 w 3011232"/>
                <a:gd name="connsiteY19" fmla="*/ 1688572 h 1956215"/>
                <a:gd name="connsiteX20" fmla="*/ 766696 w 3011232"/>
                <a:gd name="connsiteY20" fmla="*/ 1688766 h 1956215"/>
                <a:gd name="connsiteX21" fmla="*/ 766696 w 3011232"/>
                <a:gd name="connsiteY21" fmla="*/ 1689026 h 1956215"/>
                <a:gd name="connsiteX22" fmla="*/ 766307 w 3011232"/>
                <a:gd name="connsiteY22" fmla="*/ 1702184 h 1956215"/>
                <a:gd name="connsiteX23" fmla="*/ 1020273 w 3011232"/>
                <a:gd name="connsiteY23" fmla="*/ 1956215 h 1956215"/>
                <a:gd name="connsiteX24" fmla="*/ 688911 w 3011232"/>
                <a:gd name="connsiteY24" fmla="*/ 1779774 h 1956215"/>
                <a:gd name="connsiteX25" fmla="*/ 208203 w 3011232"/>
                <a:gd name="connsiteY25" fmla="*/ 1779774 h 1956215"/>
                <a:gd name="connsiteX26" fmla="*/ 208203 w 3011232"/>
                <a:gd name="connsiteY26" fmla="*/ 1779709 h 1956215"/>
                <a:gd name="connsiteX27" fmla="*/ 208203 w 3011232"/>
                <a:gd name="connsiteY27" fmla="*/ 1779709 h 1956215"/>
                <a:gd name="connsiteX28" fmla="*/ 0 w 3011232"/>
                <a:gd name="connsiteY28" fmla="*/ 1571571 h 1956215"/>
                <a:gd name="connsiteX29" fmla="*/ 324 w 3011232"/>
                <a:gd name="connsiteY29" fmla="*/ 1560746 h 1956215"/>
                <a:gd name="connsiteX30" fmla="*/ 324 w 3011232"/>
                <a:gd name="connsiteY30" fmla="*/ 1560552 h 1956215"/>
                <a:gd name="connsiteX31" fmla="*/ 324 w 3011232"/>
                <a:gd name="connsiteY31" fmla="*/ 1560357 h 1956215"/>
                <a:gd name="connsiteX32" fmla="*/ 324 w 3011232"/>
                <a:gd name="connsiteY32" fmla="*/ 1560163 h 1956215"/>
                <a:gd name="connsiteX33" fmla="*/ 324 w 3011232"/>
                <a:gd name="connsiteY33" fmla="*/ 1559968 h 1956215"/>
                <a:gd name="connsiteX34" fmla="*/ 324 w 3011232"/>
                <a:gd name="connsiteY34" fmla="*/ 1559774 h 1956215"/>
                <a:gd name="connsiteX35" fmla="*/ 389 w 3011232"/>
                <a:gd name="connsiteY35" fmla="*/ 1559579 h 1956215"/>
                <a:gd name="connsiteX36" fmla="*/ 389 w 3011232"/>
                <a:gd name="connsiteY36" fmla="*/ 1559450 h 1956215"/>
                <a:gd name="connsiteX37" fmla="*/ 389 w 3011232"/>
                <a:gd name="connsiteY37" fmla="*/ 1559190 h 1956215"/>
                <a:gd name="connsiteX38" fmla="*/ 605941 w 3011232"/>
                <a:gd name="connsiteY38" fmla="*/ 991752 h 1956215"/>
                <a:gd name="connsiteX39" fmla="*/ 965500 w 3011232"/>
                <a:gd name="connsiteY39" fmla="*/ 1110503 h 1956215"/>
                <a:gd name="connsiteX40" fmla="*/ 680679 w 3011232"/>
                <a:gd name="connsiteY40" fmla="*/ 1680988 h 1956215"/>
                <a:gd name="connsiteX41" fmla="*/ 680614 w 3011232"/>
                <a:gd name="connsiteY41" fmla="*/ 1681701 h 1956215"/>
                <a:gd name="connsiteX42" fmla="*/ 680420 w 3011232"/>
                <a:gd name="connsiteY42" fmla="*/ 1684877 h 1956215"/>
                <a:gd name="connsiteX43" fmla="*/ 679966 w 3011232"/>
                <a:gd name="connsiteY43" fmla="*/ 1702184 h 1956215"/>
                <a:gd name="connsiteX44" fmla="*/ 688911 w 3011232"/>
                <a:gd name="connsiteY44" fmla="*/ 1779774 h 1956215"/>
                <a:gd name="connsiteX45" fmla="*/ 605941 w 3011232"/>
                <a:gd name="connsiteY45" fmla="*/ 176441 h 1956215"/>
                <a:gd name="connsiteX46" fmla="*/ 243336 w 3011232"/>
                <a:gd name="connsiteY46" fmla="*/ 539047 h 1956215"/>
                <a:gd name="connsiteX47" fmla="*/ 605941 w 3011232"/>
                <a:gd name="connsiteY47" fmla="*/ 901652 h 1956215"/>
                <a:gd name="connsiteX48" fmla="*/ 968611 w 3011232"/>
                <a:gd name="connsiteY48" fmla="*/ 539047 h 1956215"/>
                <a:gd name="connsiteX49" fmla="*/ 605941 w 3011232"/>
                <a:gd name="connsiteY49" fmla="*/ 176441 h 1956215"/>
                <a:gd name="connsiteX50" fmla="*/ 2322386 w 3011232"/>
                <a:gd name="connsiteY50" fmla="*/ 1779774 h 1956215"/>
                <a:gd name="connsiteX51" fmla="*/ 2803094 w 3011232"/>
                <a:gd name="connsiteY51" fmla="*/ 1779774 h 1956215"/>
                <a:gd name="connsiteX52" fmla="*/ 2803094 w 3011232"/>
                <a:gd name="connsiteY52" fmla="*/ 1779709 h 1956215"/>
                <a:gd name="connsiteX53" fmla="*/ 2803094 w 3011232"/>
                <a:gd name="connsiteY53" fmla="*/ 1779709 h 1956215"/>
                <a:gd name="connsiteX54" fmla="*/ 3011232 w 3011232"/>
                <a:gd name="connsiteY54" fmla="*/ 1571571 h 1956215"/>
                <a:gd name="connsiteX55" fmla="*/ 3010973 w 3011232"/>
                <a:gd name="connsiteY55" fmla="*/ 1560746 h 1956215"/>
                <a:gd name="connsiteX56" fmla="*/ 3010973 w 3011232"/>
                <a:gd name="connsiteY56" fmla="*/ 1560552 h 1956215"/>
                <a:gd name="connsiteX57" fmla="*/ 3010973 w 3011232"/>
                <a:gd name="connsiteY57" fmla="*/ 1560357 h 1956215"/>
                <a:gd name="connsiteX58" fmla="*/ 3010908 w 3011232"/>
                <a:gd name="connsiteY58" fmla="*/ 1560163 h 1956215"/>
                <a:gd name="connsiteX59" fmla="*/ 3010908 w 3011232"/>
                <a:gd name="connsiteY59" fmla="*/ 1559968 h 1956215"/>
                <a:gd name="connsiteX60" fmla="*/ 3010908 w 3011232"/>
                <a:gd name="connsiteY60" fmla="*/ 1559774 h 1956215"/>
                <a:gd name="connsiteX61" fmla="*/ 3010908 w 3011232"/>
                <a:gd name="connsiteY61" fmla="*/ 1559579 h 1956215"/>
                <a:gd name="connsiteX62" fmla="*/ 3010908 w 3011232"/>
                <a:gd name="connsiteY62" fmla="*/ 1559450 h 1956215"/>
                <a:gd name="connsiteX63" fmla="*/ 3010908 w 3011232"/>
                <a:gd name="connsiteY63" fmla="*/ 1559190 h 1956215"/>
                <a:gd name="connsiteX64" fmla="*/ 2405291 w 3011232"/>
                <a:gd name="connsiteY64" fmla="*/ 991752 h 1956215"/>
                <a:gd name="connsiteX65" fmla="*/ 2045797 w 3011232"/>
                <a:gd name="connsiteY65" fmla="*/ 1110503 h 1956215"/>
                <a:gd name="connsiteX66" fmla="*/ 2330618 w 3011232"/>
                <a:gd name="connsiteY66" fmla="*/ 1680988 h 1956215"/>
                <a:gd name="connsiteX67" fmla="*/ 2330683 w 3011232"/>
                <a:gd name="connsiteY67" fmla="*/ 1681701 h 1956215"/>
                <a:gd name="connsiteX68" fmla="*/ 2330813 w 3011232"/>
                <a:gd name="connsiteY68" fmla="*/ 1684877 h 1956215"/>
                <a:gd name="connsiteX69" fmla="*/ 2331266 w 3011232"/>
                <a:gd name="connsiteY69" fmla="*/ 1702184 h 1956215"/>
                <a:gd name="connsiteX70" fmla="*/ 2322386 w 3011232"/>
                <a:gd name="connsiteY70" fmla="*/ 1779774 h 1956215"/>
                <a:gd name="connsiteX71" fmla="*/ 2405291 w 3011232"/>
                <a:gd name="connsiteY71" fmla="*/ 176441 h 1956215"/>
                <a:gd name="connsiteX72" fmla="*/ 2767897 w 3011232"/>
                <a:gd name="connsiteY72" fmla="*/ 539047 h 1956215"/>
                <a:gd name="connsiteX73" fmla="*/ 2405291 w 3011232"/>
                <a:gd name="connsiteY73" fmla="*/ 901652 h 1956215"/>
                <a:gd name="connsiteX74" fmla="*/ 2042686 w 3011232"/>
                <a:gd name="connsiteY74" fmla="*/ 539047 h 1956215"/>
                <a:gd name="connsiteX75" fmla="*/ 2405291 w 3011232"/>
                <a:gd name="connsiteY75" fmla="*/ 176441 h 1956215"/>
                <a:gd name="connsiteX76" fmla="*/ 1505649 w 3011232"/>
                <a:gd name="connsiteY76" fmla="*/ 0 h 1956215"/>
                <a:gd name="connsiteX77" fmla="*/ 1948048 w 3011232"/>
                <a:gd name="connsiteY77" fmla="*/ 442399 h 1956215"/>
                <a:gd name="connsiteX78" fmla="*/ 1505649 w 3011232"/>
                <a:gd name="connsiteY78" fmla="*/ 884864 h 1956215"/>
                <a:gd name="connsiteX79" fmla="*/ 1063184 w 3011232"/>
                <a:gd name="connsiteY79" fmla="*/ 442399 h 1956215"/>
                <a:gd name="connsiteX80" fmla="*/ 1505649 w 3011232"/>
                <a:gd name="connsiteY80" fmla="*/ 0 h 195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011232" h="1956215">
                  <a:moveTo>
                    <a:pt x="1020273" y="1956215"/>
                  </a:moveTo>
                  <a:lnTo>
                    <a:pt x="1990959" y="1956215"/>
                  </a:lnTo>
                  <a:cubicBezTo>
                    <a:pt x="2131230" y="1956215"/>
                    <a:pt x="2244926" y="1842456"/>
                    <a:pt x="2244926" y="1702184"/>
                  </a:cubicBezTo>
                  <a:cubicBezTo>
                    <a:pt x="2244926" y="1697776"/>
                    <a:pt x="2244861" y="1693369"/>
                    <a:pt x="2244602" y="1689026"/>
                  </a:cubicBezTo>
                  <a:lnTo>
                    <a:pt x="2244602" y="1688766"/>
                  </a:lnTo>
                  <a:lnTo>
                    <a:pt x="2244602" y="1688572"/>
                  </a:lnTo>
                  <a:lnTo>
                    <a:pt x="2244537" y="1688313"/>
                  </a:lnTo>
                  <a:lnTo>
                    <a:pt x="2244537" y="1688053"/>
                  </a:lnTo>
                  <a:lnTo>
                    <a:pt x="2244537" y="1687859"/>
                  </a:lnTo>
                  <a:lnTo>
                    <a:pt x="2244537" y="1687599"/>
                  </a:lnTo>
                  <a:lnTo>
                    <a:pt x="2244537" y="1687340"/>
                  </a:lnTo>
                  <a:lnTo>
                    <a:pt x="2244472" y="1687146"/>
                  </a:lnTo>
                  <a:cubicBezTo>
                    <a:pt x="2219451" y="1302048"/>
                    <a:pt x="1896710" y="994734"/>
                    <a:pt x="1505649" y="994734"/>
                  </a:cubicBezTo>
                  <a:cubicBezTo>
                    <a:pt x="1114522" y="994734"/>
                    <a:pt x="791781" y="1302048"/>
                    <a:pt x="766761" y="1687146"/>
                  </a:cubicBezTo>
                  <a:lnTo>
                    <a:pt x="766761" y="1687340"/>
                  </a:lnTo>
                  <a:lnTo>
                    <a:pt x="766761" y="1687599"/>
                  </a:lnTo>
                  <a:lnTo>
                    <a:pt x="766761" y="1687859"/>
                  </a:lnTo>
                  <a:lnTo>
                    <a:pt x="766696" y="1688053"/>
                  </a:lnTo>
                  <a:lnTo>
                    <a:pt x="766696" y="1688313"/>
                  </a:lnTo>
                  <a:lnTo>
                    <a:pt x="766696" y="1688572"/>
                  </a:lnTo>
                  <a:lnTo>
                    <a:pt x="766696" y="1688766"/>
                  </a:lnTo>
                  <a:lnTo>
                    <a:pt x="766696" y="1689026"/>
                  </a:lnTo>
                  <a:cubicBezTo>
                    <a:pt x="766437" y="1693369"/>
                    <a:pt x="766307" y="1697776"/>
                    <a:pt x="766307" y="1702184"/>
                  </a:cubicBezTo>
                  <a:cubicBezTo>
                    <a:pt x="766307" y="1842456"/>
                    <a:pt x="880002" y="1956215"/>
                    <a:pt x="1020273" y="1956215"/>
                  </a:cubicBezTo>
                  <a:close/>
                  <a:moveTo>
                    <a:pt x="688911" y="1779774"/>
                  </a:moveTo>
                  <a:lnTo>
                    <a:pt x="208203" y="1779774"/>
                  </a:lnTo>
                  <a:lnTo>
                    <a:pt x="208203" y="1779709"/>
                  </a:lnTo>
                  <a:lnTo>
                    <a:pt x="208203" y="1779709"/>
                  </a:lnTo>
                  <a:cubicBezTo>
                    <a:pt x="93212" y="1779709"/>
                    <a:pt x="0" y="1686562"/>
                    <a:pt x="0" y="1571571"/>
                  </a:cubicBezTo>
                  <a:cubicBezTo>
                    <a:pt x="0" y="1567941"/>
                    <a:pt x="130" y="1564376"/>
                    <a:pt x="324" y="1560746"/>
                  </a:cubicBezTo>
                  <a:lnTo>
                    <a:pt x="324" y="1560552"/>
                  </a:lnTo>
                  <a:lnTo>
                    <a:pt x="324" y="1560357"/>
                  </a:lnTo>
                  <a:lnTo>
                    <a:pt x="324" y="1560163"/>
                  </a:lnTo>
                  <a:lnTo>
                    <a:pt x="324" y="1559968"/>
                  </a:lnTo>
                  <a:lnTo>
                    <a:pt x="324" y="1559774"/>
                  </a:lnTo>
                  <a:lnTo>
                    <a:pt x="389" y="1559579"/>
                  </a:lnTo>
                  <a:lnTo>
                    <a:pt x="389" y="1559450"/>
                  </a:lnTo>
                  <a:lnTo>
                    <a:pt x="389" y="1559190"/>
                  </a:lnTo>
                  <a:cubicBezTo>
                    <a:pt x="20937" y="1243644"/>
                    <a:pt x="285404" y="991752"/>
                    <a:pt x="605941" y="991752"/>
                  </a:cubicBezTo>
                  <a:cubicBezTo>
                    <a:pt x="740249" y="991752"/>
                    <a:pt x="864704" y="1035960"/>
                    <a:pt x="965500" y="1110503"/>
                  </a:cubicBezTo>
                  <a:cubicBezTo>
                    <a:pt x="803384" y="1250840"/>
                    <a:pt x="695653" y="1453015"/>
                    <a:pt x="680679" y="1680988"/>
                  </a:cubicBezTo>
                  <a:lnTo>
                    <a:pt x="680614" y="1681701"/>
                  </a:lnTo>
                  <a:lnTo>
                    <a:pt x="680420" y="1684877"/>
                  </a:lnTo>
                  <a:cubicBezTo>
                    <a:pt x="680161" y="1690646"/>
                    <a:pt x="679966" y="1696415"/>
                    <a:pt x="679966" y="1702184"/>
                  </a:cubicBezTo>
                  <a:cubicBezTo>
                    <a:pt x="679966" y="1728890"/>
                    <a:pt x="683078" y="1754818"/>
                    <a:pt x="688911" y="1779774"/>
                  </a:cubicBezTo>
                  <a:close/>
                  <a:moveTo>
                    <a:pt x="605941" y="176441"/>
                  </a:moveTo>
                  <a:cubicBezTo>
                    <a:pt x="405711" y="176441"/>
                    <a:pt x="243336" y="338816"/>
                    <a:pt x="243336" y="539047"/>
                  </a:cubicBezTo>
                  <a:cubicBezTo>
                    <a:pt x="243336" y="739342"/>
                    <a:pt x="405711" y="901652"/>
                    <a:pt x="605941" y="901652"/>
                  </a:cubicBezTo>
                  <a:cubicBezTo>
                    <a:pt x="806236" y="901652"/>
                    <a:pt x="968611" y="739342"/>
                    <a:pt x="968611" y="539047"/>
                  </a:cubicBezTo>
                  <a:cubicBezTo>
                    <a:pt x="968611" y="338816"/>
                    <a:pt x="806236" y="176441"/>
                    <a:pt x="605941" y="176441"/>
                  </a:cubicBezTo>
                  <a:close/>
                  <a:moveTo>
                    <a:pt x="2322386" y="1779774"/>
                  </a:moveTo>
                  <a:lnTo>
                    <a:pt x="2803094" y="1779774"/>
                  </a:lnTo>
                  <a:lnTo>
                    <a:pt x="2803094" y="1779709"/>
                  </a:lnTo>
                  <a:lnTo>
                    <a:pt x="2803094" y="1779709"/>
                  </a:lnTo>
                  <a:cubicBezTo>
                    <a:pt x="2918021" y="1779709"/>
                    <a:pt x="3011232" y="1686562"/>
                    <a:pt x="3011232" y="1571571"/>
                  </a:cubicBezTo>
                  <a:cubicBezTo>
                    <a:pt x="3011232" y="1567941"/>
                    <a:pt x="3011167" y="1564376"/>
                    <a:pt x="3010973" y="1560746"/>
                  </a:cubicBezTo>
                  <a:lnTo>
                    <a:pt x="3010973" y="1560552"/>
                  </a:lnTo>
                  <a:lnTo>
                    <a:pt x="3010973" y="1560357"/>
                  </a:lnTo>
                  <a:lnTo>
                    <a:pt x="3010908" y="1560163"/>
                  </a:lnTo>
                  <a:lnTo>
                    <a:pt x="3010908" y="1559968"/>
                  </a:lnTo>
                  <a:lnTo>
                    <a:pt x="3010908" y="1559774"/>
                  </a:lnTo>
                  <a:lnTo>
                    <a:pt x="3010908" y="1559579"/>
                  </a:lnTo>
                  <a:lnTo>
                    <a:pt x="3010908" y="1559450"/>
                  </a:lnTo>
                  <a:lnTo>
                    <a:pt x="3010908" y="1559190"/>
                  </a:lnTo>
                  <a:cubicBezTo>
                    <a:pt x="2990360" y="1243644"/>
                    <a:pt x="2725893" y="991752"/>
                    <a:pt x="2405291" y="991752"/>
                  </a:cubicBezTo>
                  <a:cubicBezTo>
                    <a:pt x="2271048" y="991752"/>
                    <a:pt x="2146593" y="1035960"/>
                    <a:pt x="2045797" y="1110503"/>
                  </a:cubicBezTo>
                  <a:cubicBezTo>
                    <a:pt x="2207848" y="1250840"/>
                    <a:pt x="2315645" y="1453015"/>
                    <a:pt x="2330618" y="1680988"/>
                  </a:cubicBezTo>
                  <a:lnTo>
                    <a:pt x="2330683" y="1681701"/>
                  </a:lnTo>
                  <a:lnTo>
                    <a:pt x="2330813" y="1684877"/>
                  </a:lnTo>
                  <a:cubicBezTo>
                    <a:pt x="2331137" y="1690646"/>
                    <a:pt x="2331266" y="1696415"/>
                    <a:pt x="2331266" y="1702184"/>
                  </a:cubicBezTo>
                  <a:cubicBezTo>
                    <a:pt x="2331266" y="1728890"/>
                    <a:pt x="2328220" y="1754818"/>
                    <a:pt x="2322386" y="1779774"/>
                  </a:cubicBezTo>
                  <a:close/>
                  <a:moveTo>
                    <a:pt x="2405291" y="176441"/>
                  </a:moveTo>
                  <a:cubicBezTo>
                    <a:pt x="2605586" y="176441"/>
                    <a:pt x="2767897" y="338816"/>
                    <a:pt x="2767897" y="539047"/>
                  </a:cubicBezTo>
                  <a:cubicBezTo>
                    <a:pt x="2767897" y="739342"/>
                    <a:pt x="2605586" y="901652"/>
                    <a:pt x="2405291" y="901652"/>
                  </a:cubicBezTo>
                  <a:cubicBezTo>
                    <a:pt x="2205061" y="901652"/>
                    <a:pt x="2042686" y="739342"/>
                    <a:pt x="2042686" y="539047"/>
                  </a:cubicBezTo>
                  <a:cubicBezTo>
                    <a:pt x="2042686" y="338816"/>
                    <a:pt x="2205061" y="176441"/>
                    <a:pt x="2405291" y="176441"/>
                  </a:cubicBezTo>
                  <a:close/>
                  <a:moveTo>
                    <a:pt x="1505649" y="0"/>
                  </a:moveTo>
                  <a:cubicBezTo>
                    <a:pt x="1749957" y="0"/>
                    <a:pt x="1948048" y="198091"/>
                    <a:pt x="1948048" y="442399"/>
                  </a:cubicBezTo>
                  <a:cubicBezTo>
                    <a:pt x="1948048" y="686772"/>
                    <a:pt x="1749957" y="884864"/>
                    <a:pt x="1505649" y="884864"/>
                  </a:cubicBezTo>
                  <a:cubicBezTo>
                    <a:pt x="1261276" y="884864"/>
                    <a:pt x="1063184" y="686772"/>
                    <a:pt x="1063184" y="442399"/>
                  </a:cubicBezTo>
                  <a:cubicBezTo>
                    <a:pt x="1063184" y="198091"/>
                    <a:pt x="1261276" y="0"/>
                    <a:pt x="1505649" y="0"/>
                  </a:cubicBezTo>
                  <a:close/>
                </a:path>
              </a:pathLst>
            </a:cu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0" rIns="91440" bIns="0" numCol="1" spcCol="0" rtlCol="0" fromWordArt="0" anchor="ctr" anchorCtr="0" forceAA="0" compatLnSpc="1">
              <a:prstTxWarp prst="textNoShape">
                <a:avLst/>
              </a:prstTxWarp>
              <a:noAutofit/>
            </a:bodyPr>
            <a:lstStyle/>
            <a:p>
              <a:pPr algn="ctr" defTabSz="777254">
                <a:buSzPct val="90000"/>
              </a:pPr>
              <a:endParaRPr lang="en-US" sz="1200">
                <a:solidFill>
                  <a:srgbClr val="FFFFFF"/>
                </a:solidFill>
                <a:latin typeface="Segoe UI Semibold"/>
                <a:cs typeface="Segoe UI Semibold" panose="020B0502040204020203" pitchFamily="34" charset="0"/>
              </a:endParaRPr>
            </a:p>
          </p:txBody>
        </p:sp>
        <p:sp>
          <p:nvSpPr>
            <p:cNvPr id="8" name="Freeform: Shape 7">
              <a:extLst>
                <a:ext uri="{FF2B5EF4-FFF2-40B4-BE49-F238E27FC236}">
                  <a16:creationId xmlns:a16="http://schemas.microsoft.com/office/drawing/2014/main" id="{E6F27FCB-871F-11ED-7B5E-1D325475564F}"/>
                </a:ext>
                <a:ext uri="{C183D7F6-B498-43B3-948B-1728B52AA6E4}">
                  <adec:decorative xmlns:adec="http://schemas.microsoft.com/office/drawing/2017/decorative" val="1"/>
                </a:ext>
              </a:extLst>
            </p:cNvPr>
            <p:cNvSpPr/>
            <p:nvPr/>
          </p:nvSpPr>
          <p:spPr>
            <a:xfrm>
              <a:off x="596104" y="4671168"/>
              <a:ext cx="327369" cy="429661"/>
            </a:xfrm>
            <a:custGeom>
              <a:avLst/>
              <a:gdLst>
                <a:gd name="connsiteX0" fmla="*/ 304800 w 609600"/>
                <a:gd name="connsiteY0" fmla="*/ -952 h 800080"/>
                <a:gd name="connsiteX1" fmla="*/ 0 w 609600"/>
                <a:gd name="connsiteY1" fmla="*/ 132398 h 800080"/>
                <a:gd name="connsiteX2" fmla="*/ 0 w 609600"/>
                <a:gd name="connsiteY2" fmla="*/ 494328 h 800080"/>
                <a:gd name="connsiteX3" fmla="*/ 304800 w 609600"/>
                <a:gd name="connsiteY3" fmla="*/ 799128 h 800080"/>
                <a:gd name="connsiteX4" fmla="*/ 609600 w 609600"/>
                <a:gd name="connsiteY4" fmla="*/ 494328 h 800080"/>
                <a:gd name="connsiteX5" fmla="*/ 609600 w 609600"/>
                <a:gd name="connsiteY5" fmla="*/ 132398 h 800080"/>
                <a:gd name="connsiteX6" fmla="*/ 304800 w 609600"/>
                <a:gd name="connsiteY6" fmla="*/ -952 h 800080"/>
                <a:gd name="connsiteX7" fmla="*/ 304800 w 609600"/>
                <a:gd name="connsiteY7" fmla="*/ 218123 h 800080"/>
                <a:gd name="connsiteX8" fmla="*/ 400050 w 609600"/>
                <a:gd name="connsiteY8" fmla="*/ 313373 h 800080"/>
                <a:gd name="connsiteX9" fmla="*/ 400050 w 609600"/>
                <a:gd name="connsiteY9" fmla="*/ 351473 h 800080"/>
                <a:gd name="connsiteX10" fmla="*/ 419100 w 609600"/>
                <a:gd name="connsiteY10" fmla="*/ 351473 h 800080"/>
                <a:gd name="connsiteX11" fmla="*/ 438150 w 609600"/>
                <a:gd name="connsiteY11" fmla="*/ 370523 h 800080"/>
                <a:gd name="connsiteX12" fmla="*/ 438150 w 609600"/>
                <a:gd name="connsiteY12" fmla="*/ 522903 h 800080"/>
                <a:gd name="connsiteX13" fmla="*/ 419100 w 609600"/>
                <a:gd name="connsiteY13" fmla="*/ 541953 h 800080"/>
                <a:gd name="connsiteX14" fmla="*/ 190500 w 609600"/>
                <a:gd name="connsiteY14" fmla="*/ 541953 h 800080"/>
                <a:gd name="connsiteX15" fmla="*/ 171450 w 609600"/>
                <a:gd name="connsiteY15" fmla="*/ 522903 h 800080"/>
                <a:gd name="connsiteX16" fmla="*/ 171450 w 609600"/>
                <a:gd name="connsiteY16" fmla="*/ 370523 h 800080"/>
                <a:gd name="connsiteX17" fmla="*/ 188714 w 609600"/>
                <a:gd name="connsiteY17" fmla="*/ 351473 h 800080"/>
                <a:gd name="connsiteX18" fmla="*/ 209550 w 609600"/>
                <a:gd name="connsiteY18" fmla="*/ 351473 h 800080"/>
                <a:gd name="connsiteX19" fmla="*/ 209550 w 609600"/>
                <a:gd name="connsiteY19" fmla="*/ 313373 h 800080"/>
                <a:gd name="connsiteX20" fmla="*/ 304800 w 609600"/>
                <a:gd name="connsiteY20" fmla="*/ 218123 h 800080"/>
                <a:gd name="connsiteX21" fmla="*/ 304800 w 609600"/>
                <a:gd name="connsiteY21" fmla="*/ 256223 h 800080"/>
                <a:gd name="connsiteX22" fmla="*/ 247650 w 609600"/>
                <a:gd name="connsiteY22" fmla="*/ 313373 h 800080"/>
                <a:gd name="connsiteX23" fmla="*/ 247650 w 609600"/>
                <a:gd name="connsiteY23" fmla="*/ 351473 h 800080"/>
                <a:gd name="connsiteX24" fmla="*/ 361950 w 609600"/>
                <a:gd name="connsiteY24" fmla="*/ 351473 h 800080"/>
                <a:gd name="connsiteX25" fmla="*/ 361950 w 609600"/>
                <a:gd name="connsiteY25" fmla="*/ 313373 h 800080"/>
                <a:gd name="connsiteX26" fmla="*/ 304800 w 609600"/>
                <a:gd name="connsiteY26" fmla="*/ 256223 h 800080"/>
                <a:gd name="connsiteX27" fmla="*/ 209550 w 609600"/>
                <a:gd name="connsiteY27" fmla="*/ 389553 h 800080"/>
                <a:gd name="connsiteX28" fmla="*/ 209550 w 609600"/>
                <a:gd name="connsiteY28" fmla="*/ 503853 h 800080"/>
                <a:gd name="connsiteX29" fmla="*/ 400050 w 609600"/>
                <a:gd name="connsiteY29" fmla="*/ 503853 h 800080"/>
                <a:gd name="connsiteX30" fmla="*/ 400050 w 609600"/>
                <a:gd name="connsiteY30" fmla="*/ 389553 h 800080"/>
                <a:gd name="connsiteX31" fmla="*/ 209550 w 609600"/>
                <a:gd name="connsiteY31" fmla="*/ 389553 h 80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09600" h="800080">
                  <a:moveTo>
                    <a:pt x="304800" y="-952"/>
                  </a:moveTo>
                  <a:cubicBezTo>
                    <a:pt x="168781" y="-952"/>
                    <a:pt x="51844" y="65656"/>
                    <a:pt x="0" y="132398"/>
                  </a:cubicBezTo>
                  <a:lnTo>
                    <a:pt x="0" y="494328"/>
                  </a:lnTo>
                  <a:cubicBezTo>
                    <a:pt x="0" y="629012"/>
                    <a:pt x="161925" y="703878"/>
                    <a:pt x="304800" y="799128"/>
                  </a:cubicBezTo>
                  <a:cubicBezTo>
                    <a:pt x="447675" y="703878"/>
                    <a:pt x="609600" y="629012"/>
                    <a:pt x="609600" y="494328"/>
                  </a:cubicBezTo>
                  <a:lnTo>
                    <a:pt x="609600" y="132398"/>
                  </a:lnTo>
                  <a:cubicBezTo>
                    <a:pt x="557756" y="65656"/>
                    <a:pt x="440819" y="-952"/>
                    <a:pt x="304800" y="-952"/>
                  </a:cubicBezTo>
                  <a:close/>
                  <a:moveTo>
                    <a:pt x="304800" y="218123"/>
                  </a:moveTo>
                  <a:cubicBezTo>
                    <a:pt x="357239" y="218123"/>
                    <a:pt x="400050" y="260937"/>
                    <a:pt x="400050" y="313373"/>
                  </a:cubicBezTo>
                  <a:lnTo>
                    <a:pt x="400050" y="351473"/>
                  </a:lnTo>
                  <a:lnTo>
                    <a:pt x="419100" y="351473"/>
                  </a:lnTo>
                  <a:cubicBezTo>
                    <a:pt x="429074" y="351473"/>
                    <a:pt x="438149" y="360550"/>
                    <a:pt x="438150" y="370523"/>
                  </a:cubicBezTo>
                  <a:lnTo>
                    <a:pt x="438150" y="522903"/>
                  </a:lnTo>
                  <a:cubicBezTo>
                    <a:pt x="438149" y="532905"/>
                    <a:pt x="429074" y="541953"/>
                    <a:pt x="419100" y="541953"/>
                  </a:cubicBezTo>
                  <a:lnTo>
                    <a:pt x="190500" y="541953"/>
                  </a:lnTo>
                  <a:cubicBezTo>
                    <a:pt x="180525" y="541953"/>
                    <a:pt x="171451" y="532905"/>
                    <a:pt x="171450" y="522903"/>
                  </a:cubicBezTo>
                  <a:lnTo>
                    <a:pt x="171450" y="370523"/>
                  </a:lnTo>
                  <a:cubicBezTo>
                    <a:pt x="171450" y="361121"/>
                    <a:pt x="179349" y="352359"/>
                    <a:pt x="188714" y="351473"/>
                  </a:cubicBezTo>
                  <a:cubicBezTo>
                    <a:pt x="195426" y="351473"/>
                    <a:pt x="202692" y="351473"/>
                    <a:pt x="209550" y="351473"/>
                  </a:cubicBezTo>
                  <a:lnTo>
                    <a:pt x="209550" y="313373"/>
                  </a:lnTo>
                  <a:cubicBezTo>
                    <a:pt x="209550" y="260937"/>
                    <a:pt x="252361" y="218123"/>
                    <a:pt x="304800" y="218123"/>
                  </a:cubicBezTo>
                  <a:close/>
                  <a:moveTo>
                    <a:pt x="304800" y="256223"/>
                  </a:moveTo>
                  <a:cubicBezTo>
                    <a:pt x="272809" y="256223"/>
                    <a:pt x="247650" y="281388"/>
                    <a:pt x="247650" y="313373"/>
                  </a:cubicBezTo>
                  <a:lnTo>
                    <a:pt x="247650" y="351473"/>
                  </a:lnTo>
                  <a:lnTo>
                    <a:pt x="361950" y="351473"/>
                  </a:lnTo>
                  <a:lnTo>
                    <a:pt x="361950" y="313373"/>
                  </a:lnTo>
                  <a:cubicBezTo>
                    <a:pt x="361950" y="281388"/>
                    <a:pt x="336791" y="256223"/>
                    <a:pt x="304800" y="256223"/>
                  </a:cubicBezTo>
                  <a:close/>
                  <a:moveTo>
                    <a:pt x="209550" y="389553"/>
                  </a:moveTo>
                  <a:lnTo>
                    <a:pt x="209550" y="503853"/>
                  </a:lnTo>
                  <a:lnTo>
                    <a:pt x="400050" y="503853"/>
                  </a:lnTo>
                  <a:lnTo>
                    <a:pt x="400050" y="389553"/>
                  </a:lnTo>
                  <a:lnTo>
                    <a:pt x="209550" y="389553"/>
                  </a:lnTo>
                  <a:close/>
                </a:path>
              </a:pathLst>
            </a:cu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0" rIns="91440" bIns="0" numCol="1" spcCol="0" rtlCol="0" fromWordArt="0" anchor="ctr" anchorCtr="0" forceAA="0" compatLnSpc="1">
              <a:prstTxWarp prst="textNoShape">
                <a:avLst/>
              </a:prstTxWarp>
              <a:noAutofit/>
            </a:bodyPr>
            <a:lstStyle/>
            <a:p>
              <a:pPr algn="ctr" defTabSz="777254">
                <a:buSzPct val="90000"/>
              </a:pPr>
              <a:endParaRPr lang="en-US" sz="1200">
                <a:solidFill>
                  <a:srgbClr val="FFFFFF"/>
                </a:solidFill>
                <a:latin typeface="Segoe UI Semibold"/>
                <a:cs typeface="Segoe UI Semibold" panose="020B0502040204020203" pitchFamily="34" charset="0"/>
              </a:endParaRPr>
            </a:p>
          </p:txBody>
        </p:sp>
        <p:sp>
          <p:nvSpPr>
            <p:cNvPr id="13" name="Freeform: Shape 12">
              <a:extLst>
                <a:ext uri="{FF2B5EF4-FFF2-40B4-BE49-F238E27FC236}">
                  <a16:creationId xmlns:a16="http://schemas.microsoft.com/office/drawing/2014/main" id="{AB6F54BA-BAFF-9093-8370-85184043418A}"/>
                </a:ext>
                <a:ext uri="{C183D7F6-B498-43B3-948B-1728B52AA6E4}">
                  <adec:decorative xmlns:adec="http://schemas.microsoft.com/office/drawing/2017/decorative" val="1"/>
                </a:ext>
              </a:extLst>
            </p:cNvPr>
            <p:cNvSpPr/>
            <p:nvPr/>
          </p:nvSpPr>
          <p:spPr>
            <a:xfrm>
              <a:off x="584200" y="2663833"/>
              <a:ext cx="348602" cy="348602"/>
            </a:xfrm>
            <a:custGeom>
              <a:avLst/>
              <a:gdLst>
                <a:gd name="connsiteX0" fmla="*/ 734378 w 857250"/>
                <a:gd name="connsiteY0" fmla="*/ 612458 h 857250"/>
                <a:gd name="connsiteX1" fmla="*/ 641985 w 857250"/>
                <a:gd name="connsiteY1" fmla="*/ 654368 h 857250"/>
                <a:gd name="connsiteX2" fmla="*/ 241935 w 857250"/>
                <a:gd name="connsiteY2" fmla="*/ 454343 h 857250"/>
                <a:gd name="connsiteX3" fmla="*/ 244793 w 857250"/>
                <a:gd name="connsiteY3" fmla="*/ 428625 h 857250"/>
                <a:gd name="connsiteX4" fmla="*/ 241935 w 857250"/>
                <a:gd name="connsiteY4" fmla="*/ 402908 h 857250"/>
                <a:gd name="connsiteX5" fmla="*/ 641985 w 857250"/>
                <a:gd name="connsiteY5" fmla="*/ 202883 h 857250"/>
                <a:gd name="connsiteX6" fmla="*/ 734378 w 857250"/>
                <a:gd name="connsiteY6" fmla="*/ 244793 h 857250"/>
                <a:gd name="connsiteX7" fmla="*/ 857250 w 857250"/>
                <a:gd name="connsiteY7" fmla="*/ 122873 h 857250"/>
                <a:gd name="connsiteX8" fmla="*/ 734378 w 857250"/>
                <a:gd name="connsiteY8" fmla="*/ 0 h 857250"/>
                <a:gd name="connsiteX9" fmla="*/ 612458 w 857250"/>
                <a:gd name="connsiteY9" fmla="*/ 122873 h 857250"/>
                <a:gd name="connsiteX10" fmla="*/ 615315 w 857250"/>
                <a:gd name="connsiteY10" fmla="*/ 148590 h 857250"/>
                <a:gd name="connsiteX11" fmla="*/ 215265 w 857250"/>
                <a:gd name="connsiteY11" fmla="*/ 348615 h 857250"/>
                <a:gd name="connsiteX12" fmla="*/ 122873 w 857250"/>
                <a:gd name="connsiteY12" fmla="*/ 306705 h 857250"/>
                <a:gd name="connsiteX13" fmla="*/ 0 w 857250"/>
                <a:gd name="connsiteY13" fmla="*/ 428625 h 857250"/>
                <a:gd name="connsiteX14" fmla="*/ 122873 w 857250"/>
                <a:gd name="connsiteY14" fmla="*/ 551498 h 857250"/>
                <a:gd name="connsiteX15" fmla="*/ 215265 w 857250"/>
                <a:gd name="connsiteY15" fmla="*/ 509588 h 857250"/>
                <a:gd name="connsiteX16" fmla="*/ 615315 w 857250"/>
                <a:gd name="connsiteY16" fmla="*/ 709613 h 857250"/>
                <a:gd name="connsiteX17" fmla="*/ 612458 w 857250"/>
                <a:gd name="connsiteY17" fmla="*/ 735330 h 857250"/>
                <a:gd name="connsiteX18" fmla="*/ 734378 w 857250"/>
                <a:gd name="connsiteY18" fmla="*/ 857250 h 857250"/>
                <a:gd name="connsiteX19" fmla="*/ 857250 w 857250"/>
                <a:gd name="connsiteY19" fmla="*/ 734378 h 857250"/>
                <a:gd name="connsiteX20" fmla="*/ 734378 w 857250"/>
                <a:gd name="connsiteY20" fmla="*/ 612458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7250" h="857250">
                  <a:moveTo>
                    <a:pt x="734378" y="612458"/>
                  </a:moveTo>
                  <a:cubicBezTo>
                    <a:pt x="697230" y="612458"/>
                    <a:pt x="664845" y="628650"/>
                    <a:pt x="641985" y="654368"/>
                  </a:cubicBezTo>
                  <a:lnTo>
                    <a:pt x="241935" y="454343"/>
                  </a:lnTo>
                  <a:cubicBezTo>
                    <a:pt x="243840" y="445770"/>
                    <a:pt x="244793" y="437198"/>
                    <a:pt x="244793" y="428625"/>
                  </a:cubicBezTo>
                  <a:cubicBezTo>
                    <a:pt x="244793" y="420053"/>
                    <a:pt x="243840" y="411480"/>
                    <a:pt x="241935" y="402908"/>
                  </a:cubicBezTo>
                  <a:lnTo>
                    <a:pt x="641985" y="202883"/>
                  </a:lnTo>
                  <a:cubicBezTo>
                    <a:pt x="664845" y="228600"/>
                    <a:pt x="697230" y="244793"/>
                    <a:pt x="734378" y="244793"/>
                  </a:cubicBezTo>
                  <a:cubicBezTo>
                    <a:pt x="802005" y="244793"/>
                    <a:pt x="857250" y="190500"/>
                    <a:pt x="857250" y="122873"/>
                  </a:cubicBezTo>
                  <a:cubicBezTo>
                    <a:pt x="857250" y="55245"/>
                    <a:pt x="802005" y="0"/>
                    <a:pt x="734378" y="0"/>
                  </a:cubicBezTo>
                  <a:cubicBezTo>
                    <a:pt x="666750" y="0"/>
                    <a:pt x="612458" y="55245"/>
                    <a:pt x="612458" y="122873"/>
                  </a:cubicBezTo>
                  <a:cubicBezTo>
                    <a:pt x="612458" y="131445"/>
                    <a:pt x="613410" y="140018"/>
                    <a:pt x="615315" y="148590"/>
                  </a:cubicBezTo>
                  <a:lnTo>
                    <a:pt x="215265" y="348615"/>
                  </a:lnTo>
                  <a:cubicBezTo>
                    <a:pt x="192405" y="322898"/>
                    <a:pt x="160020" y="306705"/>
                    <a:pt x="122873" y="306705"/>
                  </a:cubicBezTo>
                  <a:cubicBezTo>
                    <a:pt x="55245" y="305753"/>
                    <a:pt x="0" y="360998"/>
                    <a:pt x="0" y="428625"/>
                  </a:cubicBezTo>
                  <a:cubicBezTo>
                    <a:pt x="0" y="496253"/>
                    <a:pt x="55245" y="551498"/>
                    <a:pt x="122873" y="551498"/>
                  </a:cubicBezTo>
                  <a:cubicBezTo>
                    <a:pt x="160020" y="551498"/>
                    <a:pt x="192405" y="535305"/>
                    <a:pt x="215265" y="509588"/>
                  </a:cubicBezTo>
                  <a:lnTo>
                    <a:pt x="615315" y="709613"/>
                  </a:lnTo>
                  <a:cubicBezTo>
                    <a:pt x="613410" y="718185"/>
                    <a:pt x="612458" y="726758"/>
                    <a:pt x="612458" y="735330"/>
                  </a:cubicBezTo>
                  <a:cubicBezTo>
                    <a:pt x="612458" y="802005"/>
                    <a:pt x="666750" y="857250"/>
                    <a:pt x="734378" y="857250"/>
                  </a:cubicBezTo>
                  <a:cubicBezTo>
                    <a:pt x="802005" y="857250"/>
                    <a:pt x="857250" y="802005"/>
                    <a:pt x="857250" y="734378"/>
                  </a:cubicBezTo>
                  <a:cubicBezTo>
                    <a:pt x="857250" y="666750"/>
                    <a:pt x="802005" y="612458"/>
                    <a:pt x="734378" y="612458"/>
                  </a:cubicBezTo>
                  <a:close/>
                </a:path>
              </a:pathLst>
            </a:cu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0" rIns="91440" bIns="0" numCol="1" spcCol="0" rtlCol="0" fromWordArt="0" anchor="ctr" anchorCtr="0" forceAA="0" compatLnSpc="1">
              <a:prstTxWarp prst="textNoShape">
                <a:avLst/>
              </a:prstTxWarp>
              <a:noAutofit/>
            </a:bodyPr>
            <a:lstStyle/>
            <a:p>
              <a:pPr algn="ctr" defTabSz="777254">
                <a:buSzPct val="90000"/>
              </a:pPr>
              <a:endParaRPr lang="en-US" sz="1200">
                <a:solidFill>
                  <a:srgbClr val="FFFFFF"/>
                </a:solidFill>
                <a:latin typeface="Segoe UI Semibold"/>
                <a:cs typeface="Segoe UI Semibold" panose="020B0502040204020203" pitchFamily="34" charset="0"/>
              </a:endParaRPr>
            </a:p>
          </p:txBody>
        </p:sp>
      </p:grpSp>
      <p:sp>
        <p:nvSpPr>
          <p:cNvPr id="3" name="TextBox 2">
            <a:extLst>
              <a:ext uri="{FF2B5EF4-FFF2-40B4-BE49-F238E27FC236}">
                <a16:creationId xmlns:a16="http://schemas.microsoft.com/office/drawing/2014/main" id="{D2873C02-B6B8-77B4-247D-3838B4F76CC9}"/>
              </a:ext>
            </a:extLst>
          </p:cNvPr>
          <p:cNvSpPr txBox="1"/>
          <p:nvPr/>
        </p:nvSpPr>
        <p:spPr>
          <a:xfrm>
            <a:off x="2710542" y="6376308"/>
            <a:ext cx="5920374" cy="451695"/>
          </a:xfrm>
          <a:prstGeom prst="roundRect">
            <a:avLst/>
          </a:pr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defRPr lang="en-US"/>
            </a:defPPr>
            <a:lvl1pPr defTabSz="777254">
              <a:buSzPct val="90000"/>
              <a:defRPr sz="2000">
                <a:solidFill>
                  <a:srgbClr val="FFFFFF"/>
                </a:solidFill>
                <a:latin typeface="Segoe UI Semibold"/>
                <a:cs typeface="Segoe UI Semibold"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600"/>
              <a:t>Learn more at aka.ms/SharePoint/AgentsAdoption</a:t>
            </a:r>
          </a:p>
        </p:txBody>
      </p:sp>
    </p:spTree>
    <p:extLst>
      <p:ext uri="{BB962C8B-B14F-4D97-AF65-F5344CB8AC3E}">
        <p14:creationId xmlns:p14="http://schemas.microsoft.com/office/powerpoint/2010/main" val="21928765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100000" fill="hold" nodeType="withEffect">
                                  <p:stCondLst>
                                    <p:cond delay="0"/>
                                  </p:stCondLst>
                                  <p:childTnLst>
                                    <p:animMotion origin="layout" path="M 2.08333E-6 -0.03472 L 2.08333E-6 -2.96296E-6 " pathEditMode="relative" rAng="0" ptsTypes="AA">
                                      <p:cBhvr>
                                        <p:cTn id="9" dur="500" fill="hold"/>
                                        <p:tgtEl>
                                          <p:spTgt spid="14"/>
                                        </p:tgtEl>
                                        <p:attrNameLst>
                                          <p:attrName>ppt_x</p:attrName>
                                          <p:attrName>ppt_y</p:attrName>
                                        </p:attrNameLst>
                                      </p:cBhvr>
                                      <p:rCtr x="0" y="1736"/>
                                    </p:animMotion>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50"/>
                                        <p:tgtEl>
                                          <p:spTgt spid="15"/>
                                        </p:tgtEl>
                                      </p:cBhvr>
                                    </p:animEffect>
                                  </p:childTnLst>
                                </p:cTn>
                              </p:par>
                              <p:par>
                                <p:cTn id="14" presetID="42" presetClass="path" presetSubtype="0" decel="100000" fill="hold" nodeType="withEffect">
                                  <p:stCondLst>
                                    <p:cond delay="0"/>
                                  </p:stCondLst>
                                  <p:childTnLst>
                                    <p:animMotion origin="layout" path="M -1.875E-6 -0.03472 L -1.875E-6 -1.85185E-6 " pathEditMode="relative" rAng="0" ptsTypes="AA">
                                      <p:cBhvr>
                                        <p:cTn id="15" dur="500" fill="hold"/>
                                        <p:tgtEl>
                                          <p:spTgt spid="15"/>
                                        </p:tgtEl>
                                        <p:attrNameLst>
                                          <p:attrName>ppt_x</p:attrName>
                                          <p:attrName>ppt_y</p:attrName>
                                        </p:attrNameLst>
                                      </p:cBhvr>
                                      <p:rCtr x="0" y="1736"/>
                                    </p:animMotion>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C91BC9-0344-6258-7A42-EA18EEBAD2D4}"/>
            </a:ext>
          </a:extLst>
        </p:cNvPr>
        <p:cNvGrpSpPr/>
        <p:nvPr/>
      </p:nvGrpSpPr>
      <p:grpSpPr>
        <a:xfrm>
          <a:off x="0" y="0"/>
          <a:ext cx="0" cy="0"/>
          <a:chOff x="0" y="0"/>
          <a:chExt cx="0" cy="0"/>
        </a:xfrm>
      </p:grpSpPr>
      <p:sp>
        <p:nvSpPr>
          <p:cNvPr id="7" name="Rectangle: Rounded Corners 43">
            <a:extLst>
              <a:ext uri="{FF2B5EF4-FFF2-40B4-BE49-F238E27FC236}">
                <a16:creationId xmlns:a16="http://schemas.microsoft.com/office/drawing/2014/main" id="{416B8798-9677-A44E-2F48-94C7EDB94009}"/>
              </a:ext>
              <a:ext uri="{C183D7F6-B498-43B3-948B-1728B52AA6E4}">
                <adec:decorative xmlns:adec="http://schemas.microsoft.com/office/drawing/2017/decorative" val="1"/>
              </a:ext>
            </a:extLst>
          </p:cNvPr>
          <p:cNvSpPr>
            <a:spLocks/>
          </p:cNvSpPr>
          <p:nvPr/>
        </p:nvSpPr>
        <p:spPr bwMode="auto">
          <a:xfrm>
            <a:off x="1774144" y="3899691"/>
            <a:ext cx="4134121" cy="1861082"/>
          </a:xfrm>
          <a:prstGeom prst="roundRect">
            <a:avLst>
              <a:gd name="adj" fmla="val 5000"/>
            </a:avLst>
          </a:prstGeom>
          <a:solidFill>
            <a:schemeClr val="bg1"/>
          </a:solidFill>
          <a:ln w="19050">
            <a:gradFill flip="none" rotWithShape="1">
              <a:gsLst>
                <a:gs pos="3000">
                  <a:srgbClr val="0078D4"/>
                </a:gs>
                <a:gs pos="30000">
                  <a:srgbClr val="2DB4FF"/>
                </a:gs>
                <a:gs pos="70000">
                  <a:srgbClr val="D660FF"/>
                </a:gs>
                <a:gs pos="50000">
                  <a:srgbClr val="818EFF"/>
                </a:gs>
                <a:gs pos="100000">
                  <a:srgbClr val="FEA874"/>
                </a:gs>
              </a:gsLst>
              <a:lin ang="2700000" scaled="1"/>
              <a:tileRect/>
            </a:gra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t" anchorCtr="0" forceAA="0" compatLnSpc="1">
            <a:prstTxWarp prst="textNoShape">
              <a:avLst/>
            </a:prstTxWarp>
            <a:noAutofit/>
          </a:bodyPr>
          <a:lstStyle/>
          <a:p>
            <a:pPr algn="ctr">
              <a:lnSpc>
                <a:spcPct val="110000"/>
              </a:lnSpc>
              <a:spcBef>
                <a:spcPts val="1200"/>
              </a:spcBef>
            </a:pPr>
            <a:r>
              <a:rPr lang="en-US" sz="2000" kern="0">
                <a:solidFill>
                  <a:srgbClr val="2A446F"/>
                </a:solidFill>
                <a:latin typeface="+mj-lt"/>
                <a:ea typeface="+mn-ea"/>
                <a:cs typeface="Segoe UI"/>
              </a:rPr>
              <a:t>Microsoft 365 Copilot license</a:t>
            </a:r>
            <a:endParaRPr lang="en-US" sz="2000">
              <a:solidFill>
                <a:schemeClr val="tx1"/>
              </a:solidFill>
              <a:cs typeface="Segoe Sans Display" pitchFamily="2" charset="0"/>
            </a:endParaRPr>
          </a:p>
          <a:p>
            <a:pPr algn="ctr">
              <a:lnSpc>
                <a:spcPct val="110000"/>
              </a:lnSpc>
              <a:spcBef>
                <a:spcPts val="1200"/>
              </a:spcBef>
            </a:pPr>
            <a:r>
              <a:rPr lang="en-US" sz="1500" b="0" kern="0">
                <a:ln w="3175">
                  <a:noFill/>
                </a:ln>
                <a:solidFill>
                  <a:schemeClr val="tx1"/>
                </a:solidFill>
                <a:latin typeface="Segoe Sans Display Semibold" pitchFamily="2" charset="0"/>
                <a:ea typeface="+mn-ea"/>
                <a:cs typeface="Segoe Sans Display Semibold" pitchFamily="2" charset="0"/>
              </a:rPr>
              <a:t>$30 user/month</a:t>
            </a:r>
            <a:r>
              <a:rPr lang="en-US" sz="1500" kern="0">
                <a:ln w="3175">
                  <a:noFill/>
                </a:ln>
                <a:solidFill>
                  <a:schemeClr val="tx1"/>
                </a:solidFill>
                <a:latin typeface="Segoe Sans Display Semibold" pitchFamily="2" charset="0"/>
                <a:cs typeface="Segoe Sans Display Semibold" pitchFamily="2" charset="0"/>
              </a:rPr>
              <a:t> </a:t>
            </a:r>
            <a:r>
              <a:rPr lang="en-US" sz="1500" b="0" kern="0">
                <a:ln w="3175">
                  <a:noFill/>
                </a:ln>
                <a:solidFill>
                  <a:schemeClr val="tx1"/>
                </a:solidFill>
                <a:latin typeface="+mn-lt"/>
                <a:ea typeface="+mn-ea"/>
                <a:cs typeface="Segoe Sans Display Semibold" pitchFamily="2" charset="0"/>
              </a:rPr>
              <a:t>with </a:t>
            </a:r>
            <a:br>
              <a:rPr lang="en-US" sz="1500" b="0" kern="0">
                <a:ln w="3175">
                  <a:noFill/>
                </a:ln>
                <a:solidFill>
                  <a:schemeClr val="tx1"/>
                </a:solidFill>
                <a:latin typeface="+mn-lt"/>
                <a:ea typeface="+mn-ea"/>
                <a:cs typeface="Segoe Sans Display Semibold" pitchFamily="2" charset="0"/>
              </a:rPr>
            </a:br>
            <a:r>
              <a:rPr lang="en-US" sz="1500" b="0" kern="0">
                <a:ln w="3175">
                  <a:noFill/>
                </a:ln>
                <a:solidFill>
                  <a:schemeClr val="tx1"/>
                </a:solidFill>
                <a:latin typeface="+mn-lt"/>
                <a:ea typeface="+mn-ea"/>
                <a:cs typeface="Segoe Sans Display Semibold" pitchFamily="2" charset="0"/>
              </a:rPr>
              <a:t>an annual subscription</a:t>
            </a:r>
          </a:p>
        </p:txBody>
      </p:sp>
      <p:sp>
        <p:nvSpPr>
          <p:cNvPr id="2" name="Title 1">
            <a:extLst>
              <a:ext uri="{FF2B5EF4-FFF2-40B4-BE49-F238E27FC236}">
                <a16:creationId xmlns:a16="http://schemas.microsoft.com/office/drawing/2014/main" id="{B7A29A04-16FD-C31E-272A-E9276776F06E}"/>
              </a:ext>
            </a:extLst>
          </p:cNvPr>
          <p:cNvSpPr>
            <a:spLocks noGrp="1"/>
          </p:cNvSpPr>
          <p:nvPr>
            <p:ph type="title"/>
          </p:nvPr>
        </p:nvSpPr>
        <p:spPr>
          <a:xfrm>
            <a:off x="588263" y="457200"/>
            <a:ext cx="11018520" cy="553998"/>
          </a:xfrm>
        </p:spPr>
        <p:txBody>
          <a:bodyPr/>
          <a:lstStyle/>
          <a:p>
            <a:r>
              <a:rPr lang="en-US"/>
              <a:t>Microsoft 365 Copilot subscription or </a:t>
            </a:r>
            <a:br>
              <a:rPr lang="en-US"/>
            </a:br>
            <a:r>
              <a:rPr lang="en-US"/>
              <a:t>pay-as-you-go meter option available</a:t>
            </a:r>
          </a:p>
        </p:txBody>
      </p:sp>
      <p:sp>
        <p:nvSpPr>
          <p:cNvPr id="44" name="Rectangle: Rounded Corners 43">
            <a:extLst>
              <a:ext uri="{FF2B5EF4-FFF2-40B4-BE49-F238E27FC236}">
                <a16:creationId xmlns:a16="http://schemas.microsoft.com/office/drawing/2014/main" id="{08519D7B-7F18-0FEF-C8FA-1B489BDF2741}"/>
              </a:ext>
              <a:ext uri="{C183D7F6-B498-43B3-948B-1728B52AA6E4}">
                <adec:decorative xmlns:adec="http://schemas.microsoft.com/office/drawing/2017/decorative" val="0"/>
              </a:ext>
            </a:extLst>
          </p:cNvPr>
          <p:cNvSpPr/>
          <p:nvPr/>
        </p:nvSpPr>
        <p:spPr bwMode="auto">
          <a:xfrm>
            <a:off x="4068040" y="2135526"/>
            <a:ext cx="4055920" cy="568581"/>
          </a:xfrm>
          <a:prstGeom prst="roundRect">
            <a:avLst>
              <a:gd name="adj" fmla="val 50000"/>
            </a:avLst>
          </a:prstGeom>
          <a:gradFill flip="none" rotWithShape="1">
            <a:gsLst>
              <a:gs pos="74000">
                <a:srgbClr val="8661C5"/>
              </a:gs>
              <a:gs pos="100000">
                <a:srgbClr val="C73ECC"/>
              </a:gs>
              <a:gs pos="0">
                <a:srgbClr val="3E76D4"/>
              </a:gs>
            </a:gsLst>
            <a:lin ang="0" scaled="0"/>
            <a:tileRect/>
          </a:gradFill>
          <a:ln>
            <a:noFill/>
            <a:headEnd type="none" w="med" len="med"/>
            <a:tailEnd type="none" w="med" len="med"/>
          </a:ln>
          <a:effectLst>
            <a:outerShdw blurRad="127000" dist="635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R="0" lvl="0" indent="0" algn="ctr" fontAlgn="base">
              <a:lnSpc>
                <a:spcPct val="110000"/>
              </a:lnSpc>
              <a:spcBef>
                <a:spcPts val="1200"/>
              </a:spcBef>
              <a:spcAft>
                <a:spcPct val="0"/>
              </a:spcAft>
              <a:buClrTx/>
              <a:buSzTx/>
              <a:buFontTx/>
              <a:buNone/>
              <a:tabLst/>
              <a:defRPr/>
            </a:pPr>
            <a:r>
              <a:rPr lang="en-IN" sz="2000" kern="0">
                <a:solidFill>
                  <a:schemeClr val="bg1"/>
                </a:solidFill>
                <a:latin typeface="+mj-lt"/>
                <a:cs typeface="Segoe UI"/>
              </a:rPr>
              <a:t>SharePoint agents</a:t>
            </a:r>
          </a:p>
        </p:txBody>
      </p:sp>
      <p:grpSp>
        <p:nvGrpSpPr>
          <p:cNvPr id="5" name="Group 4">
            <a:extLst>
              <a:ext uri="{FF2B5EF4-FFF2-40B4-BE49-F238E27FC236}">
                <a16:creationId xmlns:a16="http://schemas.microsoft.com/office/drawing/2014/main" id="{BF4F6C38-F74E-9F4E-C491-58D50341630F}"/>
              </a:ext>
            </a:extLst>
          </p:cNvPr>
          <p:cNvGrpSpPr/>
          <p:nvPr/>
        </p:nvGrpSpPr>
        <p:grpSpPr>
          <a:xfrm>
            <a:off x="3841204" y="2696879"/>
            <a:ext cx="4509592" cy="1138333"/>
            <a:chOff x="3841204" y="2696879"/>
            <a:chExt cx="4509592" cy="1138333"/>
          </a:xfrm>
        </p:grpSpPr>
        <p:cxnSp>
          <p:nvCxnSpPr>
            <p:cNvPr id="54" name="Straight Arrow Connector 53">
              <a:extLst>
                <a:ext uri="{FF2B5EF4-FFF2-40B4-BE49-F238E27FC236}">
                  <a16:creationId xmlns:a16="http://schemas.microsoft.com/office/drawing/2014/main" id="{F7A79FA8-AC87-9205-088A-0DB3005F806B}"/>
                </a:ext>
                <a:ext uri="{C183D7F6-B498-43B3-948B-1728B52AA6E4}">
                  <adec:decorative xmlns:adec="http://schemas.microsoft.com/office/drawing/2017/decorative" val="1"/>
                </a:ext>
              </a:extLst>
            </p:cNvPr>
            <p:cNvCxnSpPr>
              <a:cxnSpLocks/>
              <a:stCxn id="56" idx="2"/>
            </p:cNvCxnSpPr>
            <p:nvPr/>
          </p:nvCxnSpPr>
          <p:spPr>
            <a:xfrm>
              <a:off x="3841204" y="3360057"/>
              <a:ext cx="0" cy="475155"/>
            </a:xfrm>
            <a:prstGeom prst="straightConnector1">
              <a:avLst/>
            </a:prstGeom>
            <a:solidFill>
              <a:schemeClr val="bg1"/>
            </a:solidFill>
            <a:ln w="19050" cap="rnd">
              <a:solidFill>
                <a:schemeClr val="accent2"/>
              </a:solidFill>
              <a:headEnd type="none" w="med" len="med"/>
              <a:tailEnd type="arrow"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cxnSp>
        <p:cxnSp>
          <p:nvCxnSpPr>
            <p:cNvPr id="55" name="Straight Arrow Connector 54">
              <a:extLst>
                <a:ext uri="{FF2B5EF4-FFF2-40B4-BE49-F238E27FC236}">
                  <a16:creationId xmlns:a16="http://schemas.microsoft.com/office/drawing/2014/main" id="{A7D95C23-343E-081A-CF9C-FDC1E3CA78F5}"/>
                </a:ext>
                <a:ext uri="{C183D7F6-B498-43B3-948B-1728B52AA6E4}">
                  <adec:decorative xmlns:adec="http://schemas.microsoft.com/office/drawing/2017/decorative" val="1"/>
                </a:ext>
              </a:extLst>
            </p:cNvPr>
            <p:cNvCxnSpPr>
              <a:cxnSpLocks/>
            </p:cNvCxnSpPr>
            <p:nvPr/>
          </p:nvCxnSpPr>
          <p:spPr>
            <a:xfrm>
              <a:off x="8350796" y="3360057"/>
              <a:ext cx="0" cy="475155"/>
            </a:xfrm>
            <a:prstGeom prst="straightConnector1">
              <a:avLst/>
            </a:prstGeom>
            <a:solidFill>
              <a:schemeClr val="bg1"/>
            </a:solidFill>
            <a:ln w="19050" cap="rnd">
              <a:solidFill>
                <a:schemeClr val="accent2"/>
              </a:solidFill>
              <a:headEnd type="none" w="med" len="med"/>
              <a:tailEnd type="arrow"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cxnSp>
        <p:cxnSp>
          <p:nvCxnSpPr>
            <p:cNvPr id="58" name="Straight Arrow Connector 57">
              <a:extLst>
                <a:ext uri="{FF2B5EF4-FFF2-40B4-BE49-F238E27FC236}">
                  <a16:creationId xmlns:a16="http://schemas.microsoft.com/office/drawing/2014/main" id="{117E9A41-1FF1-28F0-5F36-C99B79E7787D}"/>
                </a:ext>
                <a:ext uri="{C183D7F6-B498-43B3-948B-1728B52AA6E4}">
                  <adec:decorative xmlns:adec="http://schemas.microsoft.com/office/drawing/2017/decorative" val="1"/>
                </a:ext>
              </a:extLst>
            </p:cNvPr>
            <p:cNvCxnSpPr>
              <a:cxnSpLocks/>
              <a:stCxn id="56" idx="0"/>
              <a:endCxn id="57" idx="0"/>
            </p:cNvCxnSpPr>
            <p:nvPr/>
          </p:nvCxnSpPr>
          <p:spPr>
            <a:xfrm flipV="1">
              <a:off x="4037600" y="3149510"/>
              <a:ext cx="4116800" cy="17031"/>
            </a:xfrm>
            <a:prstGeom prst="straightConnector1">
              <a:avLst/>
            </a:prstGeom>
            <a:solidFill>
              <a:schemeClr val="bg1"/>
            </a:solidFill>
            <a:ln w="19050" cap="rnd">
              <a:solidFill>
                <a:schemeClr val="accent2"/>
              </a:soli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cxnSp>
        <p:sp>
          <p:nvSpPr>
            <p:cNvPr id="56" name="Arc 55">
              <a:extLst>
                <a:ext uri="{FF2B5EF4-FFF2-40B4-BE49-F238E27FC236}">
                  <a16:creationId xmlns:a16="http://schemas.microsoft.com/office/drawing/2014/main" id="{840C92A2-7119-E9A0-A9DF-B27684AC5A33}"/>
                </a:ext>
                <a:ext uri="{C183D7F6-B498-43B3-948B-1728B52AA6E4}">
                  <adec:decorative xmlns:adec="http://schemas.microsoft.com/office/drawing/2017/decorative" val="1"/>
                </a:ext>
              </a:extLst>
            </p:cNvPr>
            <p:cNvSpPr/>
            <p:nvPr/>
          </p:nvSpPr>
          <p:spPr>
            <a:xfrm flipH="1">
              <a:off x="3841204" y="3166541"/>
              <a:ext cx="392792" cy="387032"/>
            </a:xfrm>
            <a:prstGeom prst="arc">
              <a:avLst/>
            </a:prstGeom>
            <a:noFill/>
            <a:ln w="19050" cap="rnd">
              <a:solidFill>
                <a:schemeClr val="accent2"/>
              </a:soli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822960" rIns="91440" bIns="91440" numCol="1" spcCol="0" rtlCol="0" fromWordArt="0" anchor="t" anchorCtr="0" forceAA="0" compatLnSpc="1">
              <a:prstTxWarp prst="textNoShape">
                <a:avLst/>
              </a:prstTxWarp>
              <a:noAutofit/>
            </a:bodyPr>
            <a:lstStyle/>
            <a:p>
              <a:pPr algn="ctr">
                <a:lnSpc>
                  <a:spcPct val="110000"/>
                </a:lnSpc>
                <a:spcBef>
                  <a:spcPts val="1200"/>
                </a:spcBef>
              </a:pPr>
              <a:endParaRPr lang="en-US" sz="2000" kern="0">
                <a:solidFill>
                  <a:srgbClr val="2A446F"/>
                </a:solidFill>
                <a:latin typeface="+mj-lt"/>
                <a:cs typeface="Segoe UI"/>
              </a:endParaRPr>
            </a:p>
          </p:txBody>
        </p:sp>
        <p:sp>
          <p:nvSpPr>
            <p:cNvPr id="57" name="Arc 56">
              <a:extLst>
                <a:ext uri="{FF2B5EF4-FFF2-40B4-BE49-F238E27FC236}">
                  <a16:creationId xmlns:a16="http://schemas.microsoft.com/office/drawing/2014/main" id="{8DE37FB7-610A-16AB-8A70-7E379ABE51DD}"/>
                </a:ext>
                <a:ext uri="{C183D7F6-B498-43B3-948B-1728B52AA6E4}">
                  <adec:decorative xmlns:adec="http://schemas.microsoft.com/office/drawing/2017/decorative" val="1"/>
                </a:ext>
              </a:extLst>
            </p:cNvPr>
            <p:cNvSpPr/>
            <p:nvPr/>
          </p:nvSpPr>
          <p:spPr>
            <a:xfrm>
              <a:off x="7958004" y="3149510"/>
              <a:ext cx="392792" cy="392792"/>
            </a:xfrm>
            <a:prstGeom prst="arc">
              <a:avLst/>
            </a:prstGeom>
            <a:noFill/>
            <a:ln w="19050" cap="rnd">
              <a:solidFill>
                <a:schemeClr val="accent2"/>
              </a:soli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822960" rIns="91440" bIns="91440" numCol="1" spcCol="0" rtlCol="0" fromWordArt="0" anchor="t" anchorCtr="0" forceAA="0" compatLnSpc="1">
              <a:prstTxWarp prst="textNoShape">
                <a:avLst/>
              </a:prstTxWarp>
              <a:noAutofit/>
            </a:bodyPr>
            <a:lstStyle/>
            <a:p>
              <a:pPr algn="ctr">
                <a:lnSpc>
                  <a:spcPct val="110000"/>
                </a:lnSpc>
                <a:spcBef>
                  <a:spcPts val="1200"/>
                </a:spcBef>
              </a:pPr>
              <a:endParaRPr lang="en-US" sz="2000" kern="0">
                <a:solidFill>
                  <a:srgbClr val="2A446F"/>
                </a:solidFill>
                <a:latin typeface="+mj-lt"/>
                <a:cs typeface="Segoe UI"/>
              </a:endParaRPr>
            </a:p>
          </p:txBody>
        </p:sp>
        <p:cxnSp>
          <p:nvCxnSpPr>
            <p:cNvPr id="59" name="Straight Arrow Connector 58">
              <a:extLst>
                <a:ext uri="{FF2B5EF4-FFF2-40B4-BE49-F238E27FC236}">
                  <a16:creationId xmlns:a16="http://schemas.microsoft.com/office/drawing/2014/main" id="{D764DCE5-2191-F5C1-3CAF-0E0939A3578D}"/>
                </a:ext>
                <a:ext uri="{C183D7F6-B498-43B3-948B-1728B52AA6E4}">
                  <adec:decorative xmlns:adec="http://schemas.microsoft.com/office/drawing/2017/decorative" val="1"/>
                </a:ext>
              </a:extLst>
            </p:cNvPr>
            <p:cNvCxnSpPr>
              <a:cxnSpLocks/>
            </p:cNvCxnSpPr>
            <p:nvPr/>
          </p:nvCxnSpPr>
          <p:spPr>
            <a:xfrm>
              <a:off x="6096000" y="2696879"/>
              <a:ext cx="0" cy="462434"/>
            </a:xfrm>
            <a:prstGeom prst="straightConnector1">
              <a:avLst/>
            </a:prstGeom>
            <a:solidFill>
              <a:schemeClr val="bg1"/>
            </a:solidFill>
            <a:ln w="19050" cap="rnd">
              <a:solidFill>
                <a:schemeClr val="accent2"/>
              </a:soli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cxnSp>
      </p:grpSp>
      <p:sp>
        <p:nvSpPr>
          <p:cNvPr id="10" name="Rectangle: Rounded Corners 43">
            <a:extLst>
              <a:ext uri="{FF2B5EF4-FFF2-40B4-BE49-F238E27FC236}">
                <a16:creationId xmlns:a16="http://schemas.microsoft.com/office/drawing/2014/main" id="{C1F701CA-0EA9-DDDF-360C-3C005686ACFE}"/>
              </a:ext>
              <a:ext uri="{C183D7F6-B498-43B3-948B-1728B52AA6E4}">
                <adec:decorative xmlns:adec="http://schemas.microsoft.com/office/drawing/2017/decorative" val="1"/>
              </a:ext>
            </a:extLst>
          </p:cNvPr>
          <p:cNvSpPr>
            <a:spLocks/>
          </p:cNvSpPr>
          <p:nvPr/>
        </p:nvSpPr>
        <p:spPr bwMode="auto">
          <a:xfrm>
            <a:off x="6283735" y="3899691"/>
            <a:ext cx="4134121" cy="1861082"/>
          </a:xfrm>
          <a:prstGeom prst="roundRect">
            <a:avLst>
              <a:gd name="adj" fmla="val 5000"/>
            </a:avLst>
          </a:prstGeom>
          <a:solidFill>
            <a:schemeClr val="bg1"/>
          </a:solidFill>
          <a:ln w="19050">
            <a:gradFill flip="none" rotWithShape="1">
              <a:gsLst>
                <a:gs pos="3000">
                  <a:srgbClr val="0078D4"/>
                </a:gs>
                <a:gs pos="30000">
                  <a:srgbClr val="2DB4FF"/>
                </a:gs>
                <a:gs pos="70000">
                  <a:srgbClr val="D660FF"/>
                </a:gs>
                <a:gs pos="50000">
                  <a:srgbClr val="818EFF"/>
                </a:gs>
                <a:gs pos="100000">
                  <a:srgbClr val="FEA874"/>
                </a:gs>
              </a:gsLst>
              <a:lin ang="2700000" scaled="1"/>
              <a:tileRect/>
            </a:gradFill>
            <a:headEnd type="none" w="med" len="med"/>
            <a:tailEnd type="none" w="med" len="med"/>
          </a:ln>
          <a:effectLst>
            <a:outerShdw blurRad="127000" dist="127000" dir="2700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182880" numCol="1" spcCol="0" rtlCol="0" fromWordArt="0" anchor="t" anchorCtr="0" forceAA="0" compatLnSpc="1">
            <a:prstTxWarp prst="textNoShape">
              <a:avLst/>
            </a:prstTxWarp>
            <a:noAutofit/>
          </a:bodyPr>
          <a:lstStyle/>
          <a:p>
            <a:pPr algn="ctr">
              <a:lnSpc>
                <a:spcPct val="110000"/>
              </a:lnSpc>
              <a:spcBef>
                <a:spcPts val="1200"/>
              </a:spcBef>
            </a:pPr>
            <a:r>
              <a:rPr lang="en-US" sz="2000" kern="0">
                <a:solidFill>
                  <a:srgbClr val="2A446F"/>
                </a:solidFill>
                <a:latin typeface="+mj-lt"/>
                <a:ea typeface="+mn-ea"/>
                <a:cs typeface="Segoe UI"/>
              </a:rPr>
              <a:t>Microsoft 365 Pay-as-you-go</a:t>
            </a:r>
            <a:endParaRPr lang="en-US" sz="2000">
              <a:solidFill>
                <a:schemeClr val="tx1"/>
              </a:solidFill>
              <a:cs typeface="Segoe Sans Display" pitchFamily="2" charset="0"/>
            </a:endParaRPr>
          </a:p>
          <a:p>
            <a:pPr algn="ctr">
              <a:lnSpc>
                <a:spcPct val="110000"/>
              </a:lnSpc>
              <a:spcBef>
                <a:spcPts val="1200"/>
              </a:spcBef>
            </a:pPr>
            <a:r>
              <a:rPr lang="en-US" sz="1500" b="0" kern="0">
                <a:ln w="3175">
                  <a:noFill/>
                </a:ln>
                <a:solidFill>
                  <a:schemeClr val="tx1"/>
                </a:solidFill>
                <a:latin typeface="Segoe Sans Display Semibold"/>
                <a:cs typeface="Segoe Sans Display Semibold"/>
              </a:rPr>
              <a:t>Pay-as-you-go with Azure subscription </a:t>
            </a:r>
            <a:br>
              <a:rPr lang="en-US" sz="1500" b="0" kern="0">
                <a:ln w="3175">
                  <a:noFill/>
                </a:ln>
                <a:latin typeface="Segoe Sans Display Semibold" pitchFamily="2" charset="0"/>
                <a:cs typeface="Segoe Sans Display Semibold" pitchFamily="2" charset="0"/>
              </a:rPr>
            </a:br>
            <a:r>
              <a:rPr lang="en-US" sz="1500" b="0" kern="0">
                <a:ln w="3175">
                  <a:noFill/>
                </a:ln>
                <a:solidFill>
                  <a:schemeClr val="tx1"/>
                </a:solidFill>
                <a:latin typeface="+mn-lt"/>
                <a:ea typeface="+mn-ea"/>
                <a:cs typeface="Segoe Sans Display Semibold"/>
              </a:rPr>
              <a:t>managed in Microsoft 365 Admin Center</a:t>
            </a:r>
            <a:endParaRPr lang="en-US" sz="1500" b="0" kern="0">
              <a:ln w="3175">
                <a:noFill/>
              </a:ln>
              <a:solidFill>
                <a:schemeClr val="tx1"/>
              </a:solidFill>
              <a:latin typeface="+mn-lt"/>
              <a:cs typeface="Segoe Sans Display Semibold"/>
            </a:endParaRPr>
          </a:p>
        </p:txBody>
      </p:sp>
      <p:sp>
        <p:nvSpPr>
          <p:cNvPr id="4" name="TextBox 3">
            <a:extLst>
              <a:ext uri="{FF2B5EF4-FFF2-40B4-BE49-F238E27FC236}">
                <a16:creationId xmlns:a16="http://schemas.microsoft.com/office/drawing/2014/main" id="{743E2B98-8DA4-9C1E-F2D6-38435319F90D}"/>
              </a:ext>
            </a:extLst>
          </p:cNvPr>
          <p:cNvSpPr txBox="1"/>
          <p:nvPr/>
        </p:nvSpPr>
        <p:spPr>
          <a:xfrm>
            <a:off x="588963" y="6091698"/>
            <a:ext cx="8733408" cy="184666"/>
          </a:xfrm>
          <a:prstGeom prst="rect">
            <a:avLst/>
          </a:prstGeom>
          <a:noFill/>
          <a:ln>
            <a:noFill/>
            <a:prstDash/>
          </a:ln>
          <a:effectLst/>
        </p:spPr>
        <p:txBody>
          <a:bodyPr wrap="square" lIns="0" tIns="0" rIns="0" bIns="0" anchor="b">
            <a:noAutofit/>
          </a:bodyPr>
          <a:lstStyle/>
          <a:p>
            <a:r>
              <a:rPr lang="en-US" sz="1200">
                <a:effectLst/>
                <a:ea typeface="Aptos" panose="020B0004020202020204" pitchFamily="34" charset="0"/>
                <a:cs typeface="Times New Roman" panose="02020603050405020304" pitchFamily="18" charset="0"/>
                <a:hlinkClick r:id="rId3"/>
              </a:rPr>
              <a:t>https://learn.microsoft.com/en-us/SharePoint/microsoft-365-pay-as-you-go-pricing</a:t>
            </a:r>
            <a:r>
              <a:rPr lang="en-US" sz="1200">
                <a:effectLst/>
                <a:ea typeface="Aptos" panose="020B0004020202020204" pitchFamily="34" charset="0"/>
                <a:cs typeface="Times New Roman" panose="02020603050405020304" pitchFamily="18" charset="0"/>
              </a:rPr>
              <a:t> </a:t>
            </a:r>
            <a:endParaRPr lang="en-US" sz="1200" kern="100">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6666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50"/>
                                        <p:tgtEl>
                                          <p:spTgt spid="44"/>
                                        </p:tgtEl>
                                      </p:cBhvr>
                                    </p:animEffect>
                                  </p:childTnLst>
                                </p:cTn>
                              </p:par>
                              <p:par>
                                <p:cTn id="8" presetID="42" presetClass="path" presetSubtype="0" decel="100000" fill="hold" grpId="1" nodeType="withEffect">
                                  <p:stCondLst>
                                    <p:cond delay="0"/>
                                  </p:stCondLst>
                                  <p:childTnLst>
                                    <p:animMotion origin="layout" path="M -1.875E-6 -0.03472 L -1.875E-6 -1.85185E-6 " pathEditMode="relative" rAng="0" ptsTypes="AA">
                                      <p:cBhvr>
                                        <p:cTn id="9" dur="500" fill="hold"/>
                                        <p:tgtEl>
                                          <p:spTgt spid="44"/>
                                        </p:tgtEl>
                                        <p:attrNameLst>
                                          <p:attrName>ppt_x</p:attrName>
                                          <p:attrName>ppt_y</p:attrName>
                                        </p:attrNameLst>
                                      </p:cBhvr>
                                      <p:rCtr x="0" y="1736"/>
                                    </p:animMotion>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250"/>
                                        <p:tgtEl>
                                          <p:spTgt spid="5"/>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875E-6 -0.03472 L -1.875E-6 -1.85185E-6 " pathEditMode="relative" rAng="0" ptsTypes="AA">
                                      <p:cBhvr>
                                        <p:cTn id="19" dur="500" fill="hold"/>
                                        <p:tgtEl>
                                          <p:spTgt spid="7"/>
                                        </p:tgtEl>
                                        <p:attrNameLst>
                                          <p:attrName>ppt_x</p:attrName>
                                          <p:attrName>ppt_y</p:attrName>
                                        </p:attrNameLst>
                                      </p:cBhvr>
                                      <p:rCtr x="0" y="1736"/>
                                    </p:animMotion>
                                  </p:childTnLst>
                                </p:cTn>
                              </p:par>
                              <p:par>
                                <p:cTn id="20" presetID="10" presetClass="entr" presetSubtype="0" fill="hold" grpId="0" nodeType="withEffect">
                                  <p:stCondLst>
                                    <p:cond delay="15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50"/>
                                        <p:tgtEl>
                                          <p:spTgt spid="10"/>
                                        </p:tgtEl>
                                      </p:cBhvr>
                                    </p:animEffect>
                                  </p:childTnLst>
                                </p:cTn>
                              </p:par>
                              <p:par>
                                <p:cTn id="23" presetID="42" presetClass="path" presetSubtype="0" decel="100000" fill="hold" grpId="1" nodeType="withEffect">
                                  <p:stCondLst>
                                    <p:cond delay="150"/>
                                  </p:stCondLst>
                                  <p:childTnLst>
                                    <p:animMotion origin="layout" path="M -1.875E-6 -0.03472 L -1.875E-6 -1.85185E-6 " pathEditMode="relative" rAng="0" ptsTypes="AA">
                                      <p:cBhvr>
                                        <p:cTn id="24" dur="500" fill="hold"/>
                                        <p:tgtEl>
                                          <p:spTgt spid="10"/>
                                        </p:tgtEl>
                                        <p:attrNameLst>
                                          <p:attrName>ppt_x</p:attrName>
                                          <p:attrName>ppt_y</p:attrName>
                                        </p:attrNameLst>
                                      </p:cBhvr>
                                      <p:rCtr x="0" y="1736"/>
                                    </p:animMotion>
                                  </p:childTnLst>
                                </p:cTn>
                              </p:par>
                            </p:childTnLst>
                          </p:cTn>
                        </p:par>
                        <p:par>
                          <p:cTn id="25" fill="hold">
                            <p:stCondLst>
                              <p:cond delay="1400"/>
                            </p:stCondLst>
                            <p:childTnLst>
                              <p:par>
                                <p:cTn id="26" presetID="10" presetClass="entr" presetSubtype="0" fill="hold" grpId="0"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44" grpId="0" animBg="1"/>
      <p:bldP spid="44" grpId="1" animBg="1"/>
      <p:bldP spid="10" grpId="0" animBg="1"/>
      <p:bldP spid="10" grpId="1" animBg="1"/>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3F2BDE4-AFA8-F0AC-9FCD-648AB3A51A40}"/>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370490" y="2017713"/>
            <a:ext cx="9967270" cy="3783998"/>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 name="Title 1">
            <a:extLst>
              <a:ext uri="{FF2B5EF4-FFF2-40B4-BE49-F238E27FC236}">
                <a16:creationId xmlns:a16="http://schemas.microsoft.com/office/drawing/2014/main" id="{E79AF36C-ACB6-0B06-9E2D-43B655796437}"/>
              </a:ext>
            </a:extLst>
          </p:cNvPr>
          <p:cNvSpPr>
            <a:spLocks noGrp="1"/>
          </p:cNvSpPr>
          <p:nvPr>
            <p:ph type="title"/>
          </p:nvPr>
        </p:nvSpPr>
        <p:spPr>
          <a:xfrm>
            <a:off x="588963" y="457200"/>
            <a:ext cx="11017250" cy="1107996"/>
          </a:xfrm>
        </p:spPr>
        <p:txBody>
          <a:bodyPr/>
          <a:lstStyle/>
          <a:p>
            <a:r>
              <a:rPr lang="en-US"/>
              <a:t>Take advantage of our </a:t>
            </a:r>
            <a:br>
              <a:rPr lang="en-US"/>
            </a:br>
            <a:r>
              <a:rPr lang="en-US"/>
              <a:t>SharePoint agent promotion</a:t>
            </a:r>
          </a:p>
        </p:txBody>
      </p:sp>
      <p:sp>
        <p:nvSpPr>
          <p:cNvPr id="5" name="TextBox 4">
            <a:extLst>
              <a:ext uri="{FF2B5EF4-FFF2-40B4-BE49-F238E27FC236}">
                <a16:creationId xmlns:a16="http://schemas.microsoft.com/office/drawing/2014/main" id="{5CBF14F9-D73A-4ABD-B92E-D35188036CA6}"/>
              </a:ext>
            </a:extLst>
          </p:cNvPr>
          <p:cNvSpPr txBox="1"/>
          <p:nvPr/>
        </p:nvSpPr>
        <p:spPr>
          <a:xfrm>
            <a:off x="847090" y="2217087"/>
            <a:ext cx="2281150" cy="2560320"/>
          </a:xfrm>
          <a:prstGeom prst="rect">
            <a:avLst/>
          </a:prstGeom>
          <a:noFill/>
        </p:spPr>
        <p:txBody>
          <a:bodyPr wrap="square" lIns="0" tIns="0" rIns="0" bIns="0" rtlCol="0">
            <a:noAutofit/>
          </a:bodyPr>
          <a:lstStyle/>
          <a:p>
            <a:pPr marL="0" indent="0">
              <a:spcBef>
                <a:spcPts val="1200"/>
              </a:spcBef>
              <a:buNone/>
            </a:pPr>
            <a:r>
              <a:rPr lang="en-US">
                <a:solidFill>
                  <a:schemeClr val="accent2"/>
                </a:solidFill>
                <a:cs typeface="Segoe UI Semibold" panose="020B0702040204020203" pitchFamily="34" charset="0"/>
              </a:rPr>
              <a:t>Allow everyone to experience</a:t>
            </a:r>
          </a:p>
          <a:p>
            <a:pPr marL="0" indent="0">
              <a:lnSpc>
                <a:spcPct val="110000"/>
              </a:lnSpc>
              <a:spcBef>
                <a:spcPts val="600"/>
              </a:spcBef>
              <a:buNone/>
            </a:pPr>
            <a:r>
              <a:rPr lang="en-US" sz="1600">
                <a:latin typeface="Segoe UI" panose="020B0502040204020203" pitchFamily="34" charset="0"/>
              </a:rPr>
              <a:t>For a limited time, anyone in organizations with at least 50 Microsoft 365 Copilot licenses will be able to create, share, and interact with SharePoint agents</a:t>
            </a:r>
            <a:endParaRPr lang="en-US" sz="1600"/>
          </a:p>
        </p:txBody>
      </p:sp>
      <p:pic>
        <p:nvPicPr>
          <p:cNvPr id="6" name="Picture 2" descr="A screenshot of a phone&#10;&#10;Description automatically generated">
            <a:extLst>
              <a:ext uri="{FF2B5EF4-FFF2-40B4-BE49-F238E27FC236}">
                <a16:creationId xmlns:a16="http://schemas.microsoft.com/office/drawing/2014/main" id="{AD11FE99-3582-D4C2-DBF2-911145EE70C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16" r="1934"/>
          <a:stretch/>
        </p:blipFill>
        <p:spPr bwMode="auto">
          <a:xfrm>
            <a:off x="9761441" y="1436688"/>
            <a:ext cx="1808218" cy="4832350"/>
          </a:xfrm>
          <a:prstGeom prst="roundRect">
            <a:avLst>
              <a:gd name="adj" fmla="val 2030"/>
            </a:avLst>
          </a:prstGeom>
          <a:ln w="12700">
            <a:gradFill>
              <a:gsLst>
                <a:gs pos="0">
                  <a:schemeClr val="accent3"/>
                </a:gs>
                <a:gs pos="100000">
                  <a:schemeClr val="accent2"/>
                </a:gs>
              </a:gsLst>
              <a:lin ang="5400000" scaled="1"/>
            </a:gradFill>
          </a:ln>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3F97CDB0-0E3E-CF74-7FF6-F41651EF03BF}"/>
              </a:ext>
            </a:extLst>
          </p:cNvPr>
          <p:cNvSpPr>
            <a:spLocks/>
          </p:cNvSpPr>
          <p:nvPr/>
        </p:nvSpPr>
        <p:spPr bwMode="auto">
          <a:xfrm>
            <a:off x="1854241" y="5031468"/>
            <a:ext cx="5866188" cy="533492"/>
          </a:xfrm>
          <a:prstGeom prst="roundRect">
            <a:avLst>
              <a:gd name="adj" fmla="val 50000"/>
            </a:avLst>
          </a:prstGeom>
          <a:gradFill flip="none" rotWithShape="1">
            <a:gsLst>
              <a:gs pos="34000">
                <a:srgbClr val="0078D4"/>
              </a:gs>
              <a:gs pos="77000">
                <a:srgbClr val="C03BC4"/>
              </a:gs>
              <a:gs pos="100000">
                <a:srgbClr val="FF5C39"/>
              </a:gs>
            </a:gsLst>
            <a:lin ang="3600000" scaled="0"/>
            <a:tileRect/>
          </a:gra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0" rIns="91440" bIns="0" numCol="1" spcCol="0" rtlCol="0" fromWordArt="0" anchor="ctr" anchorCtr="0" forceAA="0" compatLnSpc="1">
            <a:prstTxWarp prst="textNoShape">
              <a:avLst/>
            </a:prstTxWarp>
            <a:noAutofit/>
          </a:bodyPr>
          <a:lstStyle/>
          <a:p>
            <a:pPr algn="ctr" defTabSz="777254">
              <a:buSzPct val="90000"/>
            </a:pPr>
            <a:r>
              <a:rPr lang="en-US" sz="1400">
                <a:solidFill>
                  <a:srgbClr val="FFFFFF"/>
                </a:solidFill>
                <a:latin typeface="Segoe UI Semibold"/>
                <a:cs typeface="Segoe UI Semibold" panose="020B0502040204020203" pitchFamily="34" charset="0"/>
              </a:rPr>
              <a:t>aka.ms/</a:t>
            </a:r>
            <a:r>
              <a:rPr lang="en-US" sz="1400" err="1">
                <a:solidFill>
                  <a:srgbClr val="FFFFFF"/>
                </a:solidFill>
                <a:latin typeface="Segoe UI Semibold"/>
                <a:cs typeface="Segoe UI Semibold" panose="020B0502040204020203" pitchFamily="34" charset="0"/>
              </a:rPr>
              <a:t>agentsinsharepointpromo</a:t>
            </a:r>
            <a:endParaRPr lang="en-US" sz="1400">
              <a:solidFill>
                <a:srgbClr val="FFFFFF"/>
              </a:solidFill>
              <a:latin typeface="Segoe UI Semibold"/>
              <a:cs typeface="Segoe UI Semibold" panose="020B0502040204020203" pitchFamily="34" charset="0"/>
            </a:endParaRPr>
          </a:p>
        </p:txBody>
      </p:sp>
      <p:sp>
        <p:nvSpPr>
          <p:cNvPr id="8" name="TextBox 7">
            <a:extLst>
              <a:ext uri="{FF2B5EF4-FFF2-40B4-BE49-F238E27FC236}">
                <a16:creationId xmlns:a16="http://schemas.microsoft.com/office/drawing/2014/main" id="{00BB683E-AE54-95F2-5472-EB46C5C2D14C}"/>
              </a:ext>
            </a:extLst>
          </p:cNvPr>
          <p:cNvSpPr txBox="1"/>
          <p:nvPr/>
        </p:nvSpPr>
        <p:spPr>
          <a:xfrm>
            <a:off x="4035425" y="2217087"/>
            <a:ext cx="2281150" cy="2560320"/>
          </a:xfrm>
          <a:prstGeom prst="rect">
            <a:avLst/>
          </a:prstGeom>
          <a:noFill/>
        </p:spPr>
        <p:txBody>
          <a:bodyPr wrap="square" lIns="0" tIns="0" rIns="0" bIns="0" rtlCol="0">
            <a:noAutofit/>
          </a:bodyPr>
          <a:lstStyle/>
          <a:p>
            <a:pPr>
              <a:spcBef>
                <a:spcPts val="1200"/>
              </a:spcBef>
            </a:pPr>
            <a:r>
              <a:rPr lang="en-US">
                <a:solidFill>
                  <a:schemeClr val="accent2"/>
                </a:solidFill>
                <a:cs typeface="Segoe UI Semibold" panose="020B0702040204020203" pitchFamily="34" charset="0"/>
              </a:rPr>
              <a:t>Have time to evaluate</a:t>
            </a:r>
          </a:p>
          <a:p>
            <a:pPr>
              <a:lnSpc>
                <a:spcPct val="110000"/>
              </a:lnSpc>
              <a:spcBef>
                <a:spcPts val="600"/>
              </a:spcBef>
            </a:pPr>
            <a:r>
              <a:rPr lang="en-US" sz="1600">
                <a:latin typeface="Segoe UI" panose="020B0502040204020203" pitchFamily="34" charset="0"/>
              </a:rPr>
              <a:t>Organizations will receive credit for 10,000 queries each month until June 30, 2025. Credits refresh on the first of each month</a:t>
            </a:r>
          </a:p>
        </p:txBody>
      </p:sp>
      <p:sp>
        <p:nvSpPr>
          <p:cNvPr id="9" name="TextBox 8">
            <a:extLst>
              <a:ext uri="{FF2B5EF4-FFF2-40B4-BE49-F238E27FC236}">
                <a16:creationId xmlns:a16="http://schemas.microsoft.com/office/drawing/2014/main" id="{EA7295B6-2277-90A0-C579-3C8AC0B065E3}"/>
              </a:ext>
            </a:extLst>
          </p:cNvPr>
          <p:cNvSpPr txBox="1"/>
          <p:nvPr/>
        </p:nvSpPr>
        <p:spPr>
          <a:xfrm>
            <a:off x="7223760" y="2217087"/>
            <a:ext cx="2281150" cy="2560320"/>
          </a:xfrm>
          <a:prstGeom prst="rect">
            <a:avLst/>
          </a:prstGeom>
          <a:noFill/>
        </p:spPr>
        <p:txBody>
          <a:bodyPr wrap="square" lIns="0" tIns="0" rIns="0" bIns="0" rtlCol="0">
            <a:noAutofit/>
          </a:bodyPr>
          <a:lstStyle/>
          <a:p>
            <a:pPr>
              <a:spcBef>
                <a:spcPts val="1200"/>
              </a:spcBef>
            </a:pPr>
            <a:r>
              <a:rPr lang="en-US">
                <a:solidFill>
                  <a:schemeClr val="accent2"/>
                </a:solidFill>
                <a:cs typeface="Segoe UI Semibold" panose="020B0702040204020203" pitchFamily="34" charset="0"/>
              </a:rPr>
              <a:t>Love agents and </a:t>
            </a:r>
            <a:br>
              <a:rPr lang="en-US">
                <a:solidFill>
                  <a:schemeClr val="accent2"/>
                </a:solidFill>
                <a:cs typeface="Segoe UI Semibold" panose="020B0702040204020203" pitchFamily="34" charset="0"/>
              </a:rPr>
            </a:br>
            <a:r>
              <a:rPr lang="en-US">
                <a:solidFill>
                  <a:schemeClr val="accent2"/>
                </a:solidFill>
                <a:cs typeface="Segoe UI Semibold" panose="020B0702040204020203" pitchFamily="34" charset="0"/>
              </a:rPr>
              <a:t>want more?</a:t>
            </a:r>
          </a:p>
          <a:p>
            <a:pPr>
              <a:lnSpc>
                <a:spcPct val="110000"/>
              </a:lnSpc>
              <a:spcBef>
                <a:spcPts val="600"/>
              </a:spcBef>
            </a:pPr>
            <a:r>
              <a:rPr lang="en-US" sz="1600">
                <a:latin typeface="Segoe UI" panose="020B0502040204020203" pitchFamily="34" charset="0"/>
              </a:rPr>
              <a:t>Talk to your organization about getting you a Microsoft 365 Copilot license to interact with SharePoint agents with no limits</a:t>
            </a:r>
          </a:p>
          <a:p>
            <a:pPr algn="l"/>
            <a:endParaRPr lang="en-US"/>
          </a:p>
        </p:txBody>
      </p:sp>
    </p:spTree>
    <p:extLst>
      <p:ext uri="{BB962C8B-B14F-4D97-AF65-F5344CB8AC3E}">
        <p14:creationId xmlns:p14="http://schemas.microsoft.com/office/powerpoint/2010/main" val="965312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grpId="1" nodeType="withEffect">
                                  <p:stCondLst>
                                    <p:cond delay="0"/>
                                  </p:stCondLst>
                                  <p:childTnLst>
                                    <p:animMotion origin="layout" path="M -3.33333E-6 -0.03472 L -3.33333E-6 1.85185E-6 " pathEditMode="relative" rAng="0" ptsTypes="AA">
                                      <p:cBhvr>
                                        <p:cTn id="9" dur="500" fill="hold"/>
                                        <p:tgtEl>
                                          <p:spTgt spid="5"/>
                                        </p:tgtEl>
                                        <p:attrNameLst>
                                          <p:attrName>ppt_x</p:attrName>
                                          <p:attrName>ppt_y</p:attrName>
                                        </p:attrNameLst>
                                      </p:cBhvr>
                                      <p:rCtr x="0" y="1736"/>
                                    </p:animMotion>
                                  </p:childTnLst>
                                </p:cTn>
                              </p:par>
                              <p:par>
                                <p:cTn id="10" presetID="10" presetClass="entr" presetSubtype="0" fill="hold" grpId="0" nodeType="withEffect">
                                  <p:stCondLst>
                                    <p:cond delay="1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decel="100000" fill="hold" grpId="1" nodeType="withEffect">
                                  <p:stCondLst>
                                    <p:cond delay="150"/>
                                  </p:stCondLst>
                                  <p:childTnLst>
                                    <p:animMotion origin="layout" path="M -3.33333E-6 -0.03472 L -3.33333E-6 1.85185E-6 " pathEditMode="relative" rAng="0" ptsTypes="AA">
                                      <p:cBhvr>
                                        <p:cTn id="14" dur="500" fill="hold"/>
                                        <p:tgtEl>
                                          <p:spTgt spid="8"/>
                                        </p:tgtEl>
                                        <p:attrNameLst>
                                          <p:attrName>ppt_x</p:attrName>
                                          <p:attrName>ppt_y</p:attrName>
                                        </p:attrNameLst>
                                      </p:cBhvr>
                                      <p:rCtr x="0" y="1736"/>
                                    </p:animMotion>
                                  </p:childTnLst>
                                </p:cTn>
                              </p:par>
                              <p:par>
                                <p:cTn id="15" presetID="10" presetClass="entr" presetSubtype="0" fill="hold" grpId="0" nodeType="withEffect">
                                  <p:stCondLst>
                                    <p:cond delay="3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childTnLst>
                                </p:cTn>
                              </p:par>
                              <p:par>
                                <p:cTn id="18" presetID="42" presetClass="path" presetSubtype="0" decel="100000" fill="hold" grpId="1" nodeType="withEffect">
                                  <p:stCondLst>
                                    <p:cond delay="300"/>
                                  </p:stCondLst>
                                  <p:childTnLst>
                                    <p:animMotion origin="layout" path="M -3.33333E-6 -0.03472 L -3.33333E-6 1.85185E-6 " pathEditMode="relative" rAng="0" ptsTypes="AA">
                                      <p:cBhvr>
                                        <p:cTn id="19" dur="500" fill="hold"/>
                                        <p:tgtEl>
                                          <p:spTgt spid="9"/>
                                        </p:tgtEl>
                                        <p:attrNameLst>
                                          <p:attrName>ppt_x</p:attrName>
                                          <p:attrName>ppt_y</p:attrName>
                                        </p:attrNameLst>
                                      </p:cBhvr>
                                      <p:rCtr x="0" y="1736"/>
                                    </p:animMotion>
                                  </p:childTnLst>
                                </p:cTn>
                              </p:par>
                              <p:par>
                                <p:cTn id="20" presetID="10" presetClass="entr" presetSubtype="0" fill="hold" grpId="0" nodeType="withEffect">
                                  <p:stCondLst>
                                    <p:cond delay="6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250"/>
                                        <p:tgtEl>
                                          <p:spTgt spid="7"/>
                                        </p:tgtEl>
                                      </p:cBhvr>
                                    </p:animEffect>
                                  </p:childTnLst>
                                </p:cTn>
                              </p:par>
                              <p:par>
                                <p:cTn id="23" presetID="42" presetClass="path" presetSubtype="0" decel="100000" fill="hold" grpId="1" nodeType="withEffect">
                                  <p:stCondLst>
                                    <p:cond delay="600"/>
                                  </p:stCondLst>
                                  <p:childTnLst>
                                    <p:animMotion origin="layout" path="M -3.33333E-6 -0.03472 L -3.33333E-6 1.85185E-6 " pathEditMode="relative" rAng="0" ptsTypes="AA">
                                      <p:cBhvr>
                                        <p:cTn id="24" dur="500" fill="hold"/>
                                        <p:tgtEl>
                                          <p:spTgt spid="7"/>
                                        </p:tgtEl>
                                        <p:attrNameLst>
                                          <p:attrName>ppt_x</p:attrName>
                                          <p:attrName>ppt_y</p:attrName>
                                        </p:attrNameLst>
                                      </p:cBhvr>
                                      <p:rCtr x="0" y="1736"/>
                                    </p:animMotion>
                                  </p:childTnLst>
                                </p:cTn>
                              </p:par>
                              <p:par>
                                <p:cTn id="25" presetID="10" presetClass="entr" presetSubtype="0" fill="hold" nodeType="withEffect">
                                  <p:stCondLst>
                                    <p:cond delay="75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250"/>
                                        <p:tgtEl>
                                          <p:spTgt spid="6"/>
                                        </p:tgtEl>
                                      </p:cBhvr>
                                    </p:animEffect>
                                  </p:childTnLst>
                                </p:cTn>
                              </p:par>
                              <p:par>
                                <p:cTn id="28" presetID="42" presetClass="path" presetSubtype="0" decel="100000" fill="hold" nodeType="withEffect">
                                  <p:stCondLst>
                                    <p:cond delay="750"/>
                                  </p:stCondLst>
                                  <p:childTnLst>
                                    <p:animMotion origin="layout" path="M -3.33333E-6 -0.03472 L -3.33333E-6 1.85185E-6 " pathEditMode="relative" rAng="0" ptsTypes="AA">
                                      <p:cBhvr>
                                        <p:cTn id="29" dur="500" fill="hold"/>
                                        <p:tgtEl>
                                          <p:spTgt spid="6"/>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250"/>
                                        <p:tgtEl>
                                          <p:spTgt spid="11"/>
                                        </p:tgtEl>
                                      </p:cBhvr>
                                    </p:animEffect>
                                  </p:childTnLst>
                                </p:cTn>
                              </p:par>
                              <p:par>
                                <p:cTn id="33" presetID="42" presetClass="path" presetSubtype="0" decel="100000" fill="hold" nodeType="withEffect">
                                  <p:stCondLst>
                                    <p:cond delay="0"/>
                                  </p:stCondLst>
                                  <p:childTnLst>
                                    <p:animMotion origin="layout" path="M -3.33333E-6 -0.03472 L -3.33333E-6 1.85185E-6 " pathEditMode="relative" rAng="0" ptsTypes="AA">
                                      <p:cBhvr>
                                        <p:cTn id="34" dur="500" fill="hold"/>
                                        <p:tgtEl>
                                          <p:spTgt spid="11"/>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7" grpId="0" animBg="1"/>
      <p:bldP spid="7" grpId="1" animBg="1"/>
      <p:bldP spid="8" grpId="0"/>
      <p:bldP spid="8" grpId="1"/>
      <p:bldP spid="9" grpId="0"/>
      <p:bldP spid="9"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A graphic showing the logos of more than 70 ISVs that are building agents in Copilot.">
            <a:extLst>
              <a:ext uri="{FF2B5EF4-FFF2-40B4-BE49-F238E27FC236}">
                <a16:creationId xmlns:a16="http://schemas.microsoft.com/office/drawing/2014/main" id="{29CCF3B7-02F3-C372-1C27-CFA3851DC1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708869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62CD7-FAA6-D571-EACE-D1D0B6F58B76}"/>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876C712-C5D7-CC48-5BCE-E0DB15EDDE55}"/>
              </a:ext>
              <a:ext uri="{C183D7F6-B498-43B3-948B-1728B52AA6E4}">
                <adec:decorative xmlns:adec="http://schemas.microsoft.com/office/drawing/2017/decorative" val="1"/>
              </a:ext>
            </a:extLst>
          </p:cNvPr>
          <p:cNvSpPr>
            <a:spLocks/>
          </p:cNvSpPr>
          <p:nvPr/>
        </p:nvSpPr>
        <p:spPr bwMode="auto">
          <a:xfrm>
            <a:off x="190376" y="1143000"/>
            <a:ext cx="11816166" cy="5354353"/>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17" name="Title 16">
            <a:extLst>
              <a:ext uri="{FF2B5EF4-FFF2-40B4-BE49-F238E27FC236}">
                <a16:creationId xmlns:a16="http://schemas.microsoft.com/office/drawing/2014/main" id="{35442E6D-2B6A-C48F-AE63-EA6963B3C55B}"/>
              </a:ext>
            </a:extLst>
          </p:cNvPr>
          <p:cNvSpPr>
            <a:spLocks noGrp="1"/>
          </p:cNvSpPr>
          <p:nvPr>
            <p:ph type="title"/>
          </p:nvPr>
        </p:nvSpPr>
        <p:spPr>
          <a:xfrm>
            <a:off x="586740" y="457200"/>
            <a:ext cx="11018520" cy="492443"/>
          </a:xfrm>
        </p:spPr>
        <p:txBody>
          <a:bodyPr/>
          <a:lstStyle/>
          <a:p>
            <a:pPr algn="ctr"/>
            <a:r>
              <a:rPr lang="en-US" sz="3200">
                <a:solidFill>
                  <a:schemeClr val="tx1"/>
                </a:solidFill>
                <a:cs typeface="Segoe UI"/>
              </a:rPr>
              <a:t>Build your own agents</a:t>
            </a:r>
          </a:p>
        </p:txBody>
      </p:sp>
      <p:sp>
        <p:nvSpPr>
          <p:cNvPr id="31" name="Freeform: Shape 115">
            <a:extLst>
              <a:ext uri="{FF2B5EF4-FFF2-40B4-BE49-F238E27FC236}">
                <a16:creationId xmlns:a16="http://schemas.microsoft.com/office/drawing/2014/main" id="{FB06033A-ADD0-59A3-DE09-B95C198469D8}"/>
              </a:ext>
              <a:ext uri="{C183D7F6-B498-43B3-948B-1728B52AA6E4}">
                <adec:decorative xmlns:adec="http://schemas.microsoft.com/office/drawing/2017/decorative" val="1"/>
              </a:ext>
            </a:extLst>
          </p:cNvPr>
          <p:cNvSpPr/>
          <p:nvPr/>
        </p:nvSpPr>
        <p:spPr bwMode="auto">
          <a:xfrm>
            <a:off x="3427354" y="1143000"/>
            <a:ext cx="933700" cy="9337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2" name="Freeform: Shape 115">
            <a:extLst>
              <a:ext uri="{FF2B5EF4-FFF2-40B4-BE49-F238E27FC236}">
                <a16:creationId xmlns:a16="http://schemas.microsoft.com/office/drawing/2014/main" id="{0219FA9E-6C9C-4DD3-5720-4AC2D65265CE}"/>
              </a:ext>
              <a:ext uri="{C183D7F6-B498-43B3-948B-1728B52AA6E4}">
                <adec:decorative xmlns:adec="http://schemas.microsoft.com/office/drawing/2017/decorative" val="1"/>
              </a:ext>
            </a:extLst>
          </p:cNvPr>
          <p:cNvSpPr/>
          <p:nvPr/>
        </p:nvSpPr>
        <p:spPr bwMode="auto">
          <a:xfrm>
            <a:off x="8766761" y="1143000"/>
            <a:ext cx="933700" cy="9337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Freeform: Shape 32">
            <a:extLst>
              <a:ext uri="{FF2B5EF4-FFF2-40B4-BE49-F238E27FC236}">
                <a16:creationId xmlns:a16="http://schemas.microsoft.com/office/drawing/2014/main" id="{31ACC5BF-1A56-CB49-2DA9-AE511E072362}"/>
              </a:ext>
              <a:ext uri="{C183D7F6-B498-43B3-948B-1728B52AA6E4}">
                <adec:decorative xmlns:adec="http://schemas.microsoft.com/office/drawing/2017/decorative" val="1"/>
              </a:ext>
            </a:extLst>
          </p:cNvPr>
          <p:cNvSpPr>
            <a:spLocks/>
          </p:cNvSpPr>
          <p:nvPr/>
        </p:nvSpPr>
        <p:spPr>
          <a:xfrm>
            <a:off x="1209473" y="2749757"/>
            <a:ext cx="10688839" cy="3588694"/>
          </a:xfrm>
          <a:custGeom>
            <a:avLst/>
            <a:gdLst>
              <a:gd name="connsiteX0" fmla="*/ 138675 w 10985500"/>
              <a:gd name="connsiteY0" fmla="*/ 0 h 2271868"/>
              <a:gd name="connsiteX1" fmla="*/ 165434 w 10985500"/>
              <a:gd name="connsiteY1" fmla="*/ 0 h 2271868"/>
              <a:gd name="connsiteX2" fmla="*/ 169003 w 10985500"/>
              <a:gd name="connsiteY2" fmla="*/ 35408 h 2271868"/>
              <a:gd name="connsiteX3" fmla="*/ 461093 w 10985500"/>
              <a:gd name="connsiteY3" fmla="*/ 273468 h 2271868"/>
              <a:gd name="connsiteX4" fmla="*/ 4870753 w 10985500"/>
              <a:gd name="connsiteY4" fmla="*/ 273469 h 2271868"/>
              <a:gd name="connsiteX5" fmla="*/ 5162843 w 10985500"/>
              <a:gd name="connsiteY5" fmla="*/ 35409 h 2271868"/>
              <a:gd name="connsiteX6" fmla="*/ 5166413 w 10985500"/>
              <a:gd name="connsiteY6" fmla="*/ 0 h 2271868"/>
              <a:gd name="connsiteX7" fmla="*/ 5820309 w 10985500"/>
              <a:gd name="connsiteY7" fmla="*/ 0 h 2271868"/>
              <a:gd name="connsiteX8" fmla="*/ 5823878 w 10985500"/>
              <a:gd name="connsiteY8" fmla="*/ 35408 h 2271868"/>
              <a:gd name="connsiteX9" fmla="*/ 6115968 w 10985500"/>
              <a:gd name="connsiteY9" fmla="*/ 273468 h 2271868"/>
              <a:gd name="connsiteX10" fmla="*/ 10525628 w 10985500"/>
              <a:gd name="connsiteY10" fmla="*/ 273469 h 2271868"/>
              <a:gd name="connsiteX11" fmla="*/ 10817718 w 10985500"/>
              <a:gd name="connsiteY11" fmla="*/ 35409 h 2271868"/>
              <a:gd name="connsiteX12" fmla="*/ 10821287 w 10985500"/>
              <a:gd name="connsiteY12" fmla="*/ 0 h 2271868"/>
              <a:gd name="connsiteX13" fmla="*/ 10846825 w 10985500"/>
              <a:gd name="connsiteY13" fmla="*/ 0 h 2271868"/>
              <a:gd name="connsiteX14" fmla="*/ 10985500 w 10985500"/>
              <a:gd name="connsiteY14" fmla="*/ 138675 h 2271868"/>
              <a:gd name="connsiteX15" fmla="*/ 10985500 w 10985500"/>
              <a:gd name="connsiteY15" fmla="*/ 2133193 h 2271868"/>
              <a:gd name="connsiteX16" fmla="*/ 10846825 w 10985500"/>
              <a:gd name="connsiteY16" fmla="*/ 2271868 h 2271868"/>
              <a:gd name="connsiteX17" fmla="*/ 138675 w 10985500"/>
              <a:gd name="connsiteY17" fmla="*/ 2271868 h 2271868"/>
              <a:gd name="connsiteX18" fmla="*/ 0 w 10985500"/>
              <a:gd name="connsiteY18" fmla="*/ 2133193 h 2271868"/>
              <a:gd name="connsiteX19" fmla="*/ 0 w 10985500"/>
              <a:gd name="connsiteY19" fmla="*/ 138675 h 2271868"/>
              <a:gd name="connsiteX20" fmla="*/ 138675 w 10985500"/>
              <a:gd name="connsiteY20"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20" fmla="*/ 5915318 w 10985500"/>
              <a:gd name="connsiteY20" fmla="*/ 126848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0" fmla="*/ 5823878 w 10985500"/>
              <a:gd name="connsiteY0" fmla="*/ 35408 h 2271868"/>
              <a:gd name="connsiteX1" fmla="*/ 5827047 w 10985500"/>
              <a:gd name="connsiteY1" fmla="*/ 87412 h 2271868"/>
              <a:gd name="connsiteX2" fmla="*/ 6115968 w 10985500"/>
              <a:gd name="connsiteY2" fmla="*/ 273468 h 2271868"/>
              <a:gd name="connsiteX3" fmla="*/ 10525628 w 10985500"/>
              <a:gd name="connsiteY3" fmla="*/ 273469 h 2271868"/>
              <a:gd name="connsiteX4" fmla="*/ 10817718 w 10985500"/>
              <a:gd name="connsiteY4" fmla="*/ 35409 h 2271868"/>
              <a:gd name="connsiteX5" fmla="*/ 10821287 w 10985500"/>
              <a:gd name="connsiteY5" fmla="*/ 0 h 2271868"/>
              <a:gd name="connsiteX6" fmla="*/ 10846825 w 10985500"/>
              <a:gd name="connsiteY6" fmla="*/ 0 h 2271868"/>
              <a:gd name="connsiteX7" fmla="*/ 10985500 w 10985500"/>
              <a:gd name="connsiteY7" fmla="*/ 138675 h 2271868"/>
              <a:gd name="connsiteX8" fmla="*/ 10985500 w 10985500"/>
              <a:gd name="connsiteY8" fmla="*/ 2133193 h 2271868"/>
              <a:gd name="connsiteX9" fmla="*/ 10846825 w 10985500"/>
              <a:gd name="connsiteY9" fmla="*/ 2271868 h 2271868"/>
              <a:gd name="connsiteX10" fmla="*/ 138675 w 10985500"/>
              <a:gd name="connsiteY10" fmla="*/ 2271868 h 2271868"/>
              <a:gd name="connsiteX11" fmla="*/ 0 w 10985500"/>
              <a:gd name="connsiteY11" fmla="*/ 2133193 h 2271868"/>
              <a:gd name="connsiteX12" fmla="*/ 0 w 10985500"/>
              <a:gd name="connsiteY12" fmla="*/ 138675 h 2271868"/>
              <a:gd name="connsiteX13" fmla="*/ 138675 w 10985500"/>
              <a:gd name="connsiteY13" fmla="*/ 0 h 2271868"/>
              <a:gd name="connsiteX14" fmla="*/ 165434 w 10985500"/>
              <a:gd name="connsiteY14" fmla="*/ 0 h 2271868"/>
              <a:gd name="connsiteX15" fmla="*/ 169003 w 10985500"/>
              <a:gd name="connsiteY15" fmla="*/ 35408 h 2271868"/>
              <a:gd name="connsiteX16" fmla="*/ 461093 w 10985500"/>
              <a:gd name="connsiteY16" fmla="*/ 273468 h 2271868"/>
              <a:gd name="connsiteX17" fmla="*/ 4870753 w 10985500"/>
              <a:gd name="connsiteY17" fmla="*/ 273469 h 2271868"/>
              <a:gd name="connsiteX18" fmla="*/ 5162843 w 10985500"/>
              <a:gd name="connsiteY18" fmla="*/ 35409 h 2271868"/>
              <a:gd name="connsiteX19" fmla="*/ 5166413 w 10985500"/>
              <a:gd name="connsiteY19" fmla="*/ 0 h 2271868"/>
              <a:gd name="connsiteX20" fmla="*/ 5820309 w 10985500"/>
              <a:gd name="connsiteY20"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19" fmla="*/ 5820309 w 10985500"/>
              <a:gd name="connsiteY19" fmla="*/ 0 h 2271868"/>
              <a:gd name="connsiteX0" fmla="*/ 5823878 w 10985500"/>
              <a:gd name="connsiteY0" fmla="*/ 35408 h 2271868"/>
              <a:gd name="connsiteX1" fmla="*/ 6115968 w 10985500"/>
              <a:gd name="connsiteY1" fmla="*/ 273468 h 2271868"/>
              <a:gd name="connsiteX2" fmla="*/ 10525628 w 10985500"/>
              <a:gd name="connsiteY2" fmla="*/ 273469 h 2271868"/>
              <a:gd name="connsiteX3" fmla="*/ 10817718 w 10985500"/>
              <a:gd name="connsiteY3" fmla="*/ 35409 h 2271868"/>
              <a:gd name="connsiteX4" fmla="*/ 10821287 w 10985500"/>
              <a:gd name="connsiteY4" fmla="*/ 0 h 2271868"/>
              <a:gd name="connsiteX5" fmla="*/ 10846825 w 10985500"/>
              <a:gd name="connsiteY5" fmla="*/ 0 h 2271868"/>
              <a:gd name="connsiteX6" fmla="*/ 10985500 w 10985500"/>
              <a:gd name="connsiteY6" fmla="*/ 138675 h 2271868"/>
              <a:gd name="connsiteX7" fmla="*/ 10985500 w 10985500"/>
              <a:gd name="connsiteY7" fmla="*/ 2133193 h 2271868"/>
              <a:gd name="connsiteX8" fmla="*/ 10846825 w 10985500"/>
              <a:gd name="connsiteY8" fmla="*/ 2271868 h 2271868"/>
              <a:gd name="connsiteX9" fmla="*/ 138675 w 10985500"/>
              <a:gd name="connsiteY9" fmla="*/ 2271868 h 2271868"/>
              <a:gd name="connsiteX10" fmla="*/ 0 w 10985500"/>
              <a:gd name="connsiteY10" fmla="*/ 2133193 h 2271868"/>
              <a:gd name="connsiteX11" fmla="*/ 0 w 10985500"/>
              <a:gd name="connsiteY11" fmla="*/ 138675 h 2271868"/>
              <a:gd name="connsiteX12" fmla="*/ 138675 w 10985500"/>
              <a:gd name="connsiteY12" fmla="*/ 0 h 2271868"/>
              <a:gd name="connsiteX13" fmla="*/ 165434 w 10985500"/>
              <a:gd name="connsiteY13" fmla="*/ 0 h 2271868"/>
              <a:gd name="connsiteX14" fmla="*/ 169003 w 10985500"/>
              <a:gd name="connsiteY14" fmla="*/ 35408 h 2271868"/>
              <a:gd name="connsiteX15" fmla="*/ 461093 w 10985500"/>
              <a:gd name="connsiteY15" fmla="*/ 273468 h 2271868"/>
              <a:gd name="connsiteX16" fmla="*/ 4870753 w 10985500"/>
              <a:gd name="connsiteY16" fmla="*/ 273469 h 2271868"/>
              <a:gd name="connsiteX17" fmla="*/ 5162843 w 10985500"/>
              <a:gd name="connsiteY17" fmla="*/ 35409 h 2271868"/>
              <a:gd name="connsiteX18" fmla="*/ 5166413 w 10985500"/>
              <a:gd name="connsiteY18" fmla="*/ 0 h 2271868"/>
              <a:gd name="connsiteX0" fmla="*/ 5823878 w 10985500"/>
              <a:gd name="connsiteY0" fmla="*/ 35408 h 2271868"/>
              <a:gd name="connsiteX1" fmla="*/ 10525628 w 10985500"/>
              <a:gd name="connsiteY1" fmla="*/ 273469 h 2271868"/>
              <a:gd name="connsiteX2" fmla="*/ 10817718 w 10985500"/>
              <a:gd name="connsiteY2" fmla="*/ 35409 h 2271868"/>
              <a:gd name="connsiteX3" fmla="*/ 10821287 w 10985500"/>
              <a:gd name="connsiteY3" fmla="*/ 0 h 2271868"/>
              <a:gd name="connsiteX4" fmla="*/ 10846825 w 10985500"/>
              <a:gd name="connsiteY4" fmla="*/ 0 h 2271868"/>
              <a:gd name="connsiteX5" fmla="*/ 10985500 w 10985500"/>
              <a:gd name="connsiteY5" fmla="*/ 138675 h 2271868"/>
              <a:gd name="connsiteX6" fmla="*/ 10985500 w 10985500"/>
              <a:gd name="connsiteY6" fmla="*/ 2133193 h 2271868"/>
              <a:gd name="connsiteX7" fmla="*/ 10846825 w 10985500"/>
              <a:gd name="connsiteY7" fmla="*/ 2271868 h 2271868"/>
              <a:gd name="connsiteX8" fmla="*/ 138675 w 10985500"/>
              <a:gd name="connsiteY8" fmla="*/ 2271868 h 2271868"/>
              <a:gd name="connsiteX9" fmla="*/ 0 w 10985500"/>
              <a:gd name="connsiteY9" fmla="*/ 2133193 h 2271868"/>
              <a:gd name="connsiteX10" fmla="*/ 0 w 10985500"/>
              <a:gd name="connsiteY10" fmla="*/ 138675 h 2271868"/>
              <a:gd name="connsiteX11" fmla="*/ 138675 w 10985500"/>
              <a:gd name="connsiteY11" fmla="*/ 0 h 2271868"/>
              <a:gd name="connsiteX12" fmla="*/ 165434 w 10985500"/>
              <a:gd name="connsiteY12" fmla="*/ 0 h 2271868"/>
              <a:gd name="connsiteX13" fmla="*/ 169003 w 10985500"/>
              <a:gd name="connsiteY13" fmla="*/ 35408 h 2271868"/>
              <a:gd name="connsiteX14" fmla="*/ 461093 w 10985500"/>
              <a:gd name="connsiteY14" fmla="*/ 273468 h 2271868"/>
              <a:gd name="connsiteX15" fmla="*/ 4870753 w 10985500"/>
              <a:gd name="connsiteY15" fmla="*/ 273469 h 2271868"/>
              <a:gd name="connsiteX16" fmla="*/ 5162843 w 10985500"/>
              <a:gd name="connsiteY16" fmla="*/ 35409 h 2271868"/>
              <a:gd name="connsiteX17" fmla="*/ 5166413 w 10985500"/>
              <a:gd name="connsiteY17" fmla="*/ 0 h 2271868"/>
              <a:gd name="connsiteX0" fmla="*/ 10525628 w 10985500"/>
              <a:gd name="connsiteY0" fmla="*/ 273469 h 2271868"/>
              <a:gd name="connsiteX1" fmla="*/ 10817718 w 10985500"/>
              <a:gd name="connsiteY1" fmla="*/ 35409 h 2271868"/>
              <a:gd name="connsiteX2" fmla="*/ 10821287 w 10985500"/>
              <a:gd name="connsiteY2" fmla="*/ 0 h 2271868"/>
              <a:gd name="connsiteX3" fmla="*/ 10846825 w 10985500"/>
              <a:gd name="connsiteY3" fmla="*/ 0 h 2271868"/>
              <a:gd name="connsiteX4" fmla="*/ 10985500 w 10985500"/>
              <a:gd name="connsiteY4" fmla="*/ 138675 h 2271868"/>
              <a:gd name="connsiteX5" fmla="*/ 10985500 w 10985500"/>
              <a:gd name="connsiteY5" fmla="*/ 2133193 h 2271868"/>
              <a:gd name="connsiteX6" fmla="*/ 10846825 w 10985500"/>
              <a:gd name="connsiteY6" fmla="*/ 2271868 h 2271868"/>
              <a:gd name="connsiteX7" fmla="*/ 138675 w 10985500"/>
              <a:gd name="connsiteY7" fmla="*/ 2271868 h 2271868"/>
              <a:gd name="connsiteX8" fmla="*/ 0 w 10985500"/>
              <a:gd name="connsiteY8" fmla="*/ 2133193 h 2271868"/>
              <a:gd name="connsiteX9" fmla="*/ 0 w 10985500"/>
              <a:gd name="connsiteY9" fmla="*/ 138675 h 2271868"/>
              <a:gd name="connsiteX10" fmla="*/ 138675 w 10985500"/>
              <a:gd name="connsiteY10" fmla="*/ 0 h 2271868"/>
              <a:gd name="connsiteX11" fmla="*/ 165434 w 10985500"/>
              <a:gd name="connsiteY11" fmla="*/ 0 h 2271868"/>
              <a:gd name="connsiteX12" fmla="*/ 169003 w 10985500"/>
              <a:gd name="connsiteY12" fmla="*/ 35408 h 2271868"/>
              <a:gd name="connsiteX13" fmla="*/ 461093 w 10985500"/>
              <a:gd name="connsiteY13" fmla="*/ 273468 h 2271868"/>
              <a:gd name="connsiteX14" fmla="*/ 4870753 w 10985500"/>
              <a:gd name="connsiteY14" fmla="*/ 273469 h 2271868"/>
              <a:gd name="connsiteX15" fmla="*/ 5162843 w 10985500"/>
              <a:gd name="connsiteY15" fmla="*/ 35409 h 2271868"/>
              <a:gd name="connsiteX16" fmla="*/ 5166413 w 10985500"/>
              <a:gd name="connsiteY16" fmla="*/ 0 h 2271868"/>
              <a:gd name="connsiteX0" fmla="*/ 10817718 w 10985500"/>
              <a:gd name="connsiteY0" fmla="*/ 35409 h 2271868"/>
              <a:gd name="connsiteX1" fmla="*/ 10821287 w 10985500"/>
              <a:gd name="connsiteY1" fmla="*/ 0 h 2271868"/>
              <a:gd name="connsiteX2" fmla="*/ 10846825 w 10985500"/>
              <a:gd name="connsiteY2" fmla="*/ 0 h 2271868"/>
              <a:gd name="connsiteX3" fmla="*/ 10985500 w 10985500"/>
              <a:gd name="connsiteY3" fmla="*/ 138675 h 2271868"/>
              <a:gd name="connsiteX4" fmla="*/ 10985500 w 10985500"/>
              <a:gd name="connsiteY4" fmla="*/ 2133193 h 2271868"/>
              <a:gd name="connsiteX5" fmla="*/ 10846825 w 10985500"/>
              <a:gd name="connsiteY5" fmla="*/ 2271868 h 2271868"/>
              <a:gd name="connsiteX6" fmla="*/ 138675 w 10985500"/>
              <a:gd name="connsiteY6" fmla="*/ 2271868 h 2271868"/>
              <a:gd name="connsiteX7" fmla="*/ 0 w 10985500"/>
              <a:gd name="connsiteY7" fmla="*/ 2133193 h 2271868"/>
              <a:gd name="connsiteX8" fmla="*/ 0 w 10985500"/>
              <a:gd name="connsiteY8" fmla="*/ 138675 h 2271868"/>
              <a:gd name="connsiteX9" fmla="*/ 138675 w 10985500"/>
              <a:gd name="connsiteY9" fmla="*/ 0 h 2271868"/>
              <a:gd name="connsiteX10" fmla="*/ 165434 w 10985500"/>
              <a:gd name="connsiteY10" fmla="*/ 0 h 2271868"/>
              <a:gd name="connsiteX11" fmla="*/ 169003 w 10985500"/>
              <a:gd name="connsiteY11" fmla="*/ 35408 h 2271868"/>
              <a:gd name="connsiteX12" fmla="*/ 461093 w 10985500"/>
              <a:gd name="connsiteY12" fmla="*/ 273468 h 2271868"/>
              <a:gd name="connsiteX13" fmla="*/ 4870753 w 10985500"/>
              <a:gd name="connsiteY13" fmla="*/ 273469 h 2271868"/>
              <a:gd name="connsiteX14" fmla="*/ 5162843 w 10985500"/>
              <a:gd name="connsiteY14" fmla="*/ 35409 h 2271868"/>
              <a:gd name="connsiteX15" fmla="*/ 5166413 w 10985500"/>
              <a:gd name="connsiteY15"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13" fmla="*/ 5162843 w 10985500"/>
              <a:gd name="connsiteY13" fmla="*/ 35409 h 2271868"/>
              <a:gd name="connsiteX14" fmla="*/ 5166413 w 10985500"/>
              <a:gd name="connsiteY14"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13" fmla="*/ 5162843 w 10985500"/>
              <a:gd name="connsiteY13" fmla="*/ 35409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12" fmla="*/ 4870753 w 10985500"/>
              <a:gd name="connsiteY12" fmla="*/ 273469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11" fmla="*/ 461093 w 10985500"/>
              <a:gd name="connsiteY11" fmla="*/ 273468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10" fmla="*/ 169003 w 10985500"/>
              <a:gd name="connsiteY10" fmla="*/ 35408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9" fmla="*/ 165434 w 10985500"/>
              <a:gd name="connsiteY9" fmla="*/ 0 h 2271868"/>
              <a:gd name="connsiteX0" fmla="*/ 10821287 w 10985500"/>
              <a:gd name="connsiteY0" fmla="*/ 0 h 2271868"/>
              <a:gd name="connsiteX1" fmla="*/ 10846825 w 10985500"/>
              <a:gd name="connsiteY1" fmla="*/ 0 h 2271868"/>
              <a:gd name="connsiteX2" fmla="*/ 10985500 w 10985500"/>
              <a:gd name="connsiteY2" fmla="*/ 138675 h 2271868"/>
              <a:gd name="connsiteX3" fmla="*/ 10985500 w 10985500"/>
              <a:gd name="connsiteY3" fmla="*/ 2133193 h 2271868"/>
              <a:gd name="connsiteX4" fmla="*/ 10846825 w 10985500"/>
              <a:gd name="connsiteY4" fmla="*/ 2271868 h 2271868"/>
              <a:gd name="connsiteX5" fmla="*/ 138675 w 10985500"/>
              <a:gd name="connsiteY5" fmla="*/ 2271868 h 2271868"/>
              <a:gd name="connsiteX6" fmla="*/ 0 w 10985500"/>
              <a:gd name="connsiteY6" fmla="*/ 2133193 h 2271868"/>
              <a:gd name="connsiteX7" fmla="*/ 0 w 10985500"/>
              <a:gd name="connsiteY7" fmla="*/ 138675 h 2271868"/>
              <a:gd name="connsiteX8" fmla="*/ 138675 w 10985500"/>
              <a:gd name="connsiteY8" fmla="*/ 0 h 2271868"/>
              <a:gd name="connsiteX0" fmla="*/ 10846825 w 10985500"/>
              <a:gd name="connsiteY0" fmla="*/ 0 h 2271868"/>
              <a:gd name="connsiteX1" fmla="*/ 10985500 w 10985500"/>
              <a:gd name="connsiteY1" fmla="*/ 138675 h 2271868"/>
              <a:gd name="connsiteX2" fmla="*/ 10985500 w 10985500"/>
              <a:gd name="connsiteY2" fmla="*/ 2133193 h 2271868"/>
              <a:gd name="connsiteX3" fmla="*/ 10846825 w 10985500"/>
              <a:gd name="connsiteY3" fmla="*/ 2271868 h 2271868"/>
              <a:gd name="connsiteX4" fmla="*/ 138675 w 10985500"/>
              <a:gd name="connsiteY4" fmla="*/ 2271868 h 2271868"/>
              <a:gd name="connsiteX5" fmla="*/ 0 w 10985500"/>
              <a:gd name="connsiteY5" fmla="*/ 2133193 h 2271868"/>
              <a:gd name="connsiteX6" fmla="*/ 0 w 10985500"/>
              <a:gd name="connsiteY6" fmla="*/ 138675 h 2271868"/>
              <a:gd name="connsiteX7" fmla="*/ 138675 w 10985500"/>
              <a:gd name="connsiteY7" fmla="*/ 0 h 227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85500" h="2271868">
                <a:moveTo>
                  <a:pt x="10846825" y="0"/>
                </a:moveTo>
                <a:cubicBezTo>
                  <a:pt x="10923413" y="0"/>
                  <a:pt x="10985500" y="62087"/>
                  <a:pt x="10985500" y="138675"/>
                </a:cubicBezTo>
                <a:lnTo>
                  <a:pt x="10985500" y="2133193"/>
                </a:lnTo>
                <a:cubicBezTo>
                  <a:pt x="10985500" y="2209781"/>
                  <a:pt x="10923413" y="2271868"/>
                  <a:pt x="10846825" y="2271868"/>
                </a:cubicBezTo>
                <a:lnTo>
                  <a:pt x="138675" y="2271868"/>
                </a:lnTo>
                <a:cubicBezTo>
                  <a:pt x="62087" y="2271868"/>
                  <a:pt x="0" y="2209781"/>
                  <a:pt x="0" y="2133193"/>
                </a:cubicBezTo>
                <a:lnTo>
                  <a:pt x="0" y="138675"/>
                </a:lnTo>
                <a:cubicBezTo>
                  <a:pt x="0" y="62087"/>
                  <a:pt x="62087" y="0"/>
                  <a:pt x="138675" y="0"/>
                </a:cubicBezTo>
              </a:path>
            </a:pathLst>
          </a:cu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34" name="Picture 33" descr="Copilot logo">
            <a:extLst>
              <a:ext uri="{FF2B5EF4-FFF2-40B4-BE49-F238E27FC236}">
                <a16:creationId xmlns:a16="http://schemas.microsoft.com/office/drawing/2014/main" id="{8A8DCDD2-387B-21FE-9C95-014EA7BD348B}"/>
              </a:ext>
            </a:extLst>
          </p:cNvPr>
          <p:cNvPicPr>
            <a:picLocks/>
          </p:cNvPicPr>
          <p:nvPr/>
        </p:nvPicPr>
        <p:blipFill>
          <a:blip r:embed="rId3"/>
          <a:srcRect l="20655" r="20655"/>
          <a:stretch/>
        </p:blipFill>
        <p:spPr>
          <a:xfrm>
            <a:off x="3613991" y="1341288"/>
            <a:ext cx="560426" cy="537124"/>
          </a:xfrm>
          <a:prstGeom prst="rect">
            <a:avLst/>
          </a:prstGeom>
        </p:spPr>
      </p:pic>
      <p:sp>
        <p:nvSpPr>
          <p:cNvPr id="35" name="Freeform: Shape 34" descr="Icon od tool">
            <a:extLst>
              <a:ext uri="{FF2B5EF4-FFF2-40B4-BE49-F238E27FC236}">
                <a16:creationId xmlns:a16="http://schemas.microsoft.com/office/drawing/2014/main" id="{CC0C538D-1926-A5B1-B13F-059363D0E898}"/>
              </a:ext>
            </a:extLst>
          </p:cNvPr>
          <p:cNvSpPr/>
          <p:nvPr/>
        </p:nvSpPr>
        <p:spPr>
          <a:xfrm>
            <a:off x="8980064" y="1338900"/>
            <a:ext cx="571238" cy="541900"/>
          </a:xfrm>
          <a:custGeom>
            <a:avLst/>
            <a:gdLst>
              <a:gd name="connsiteX0" fmla="*/ 2780277 w 3304874"/>
              <a:gd name="connsiteY0" fmla="*/ 1098192 h 3135152"/>
              <a:gd name="connsiteX1" fmla="*/ 2855454 w 3304874"/>
              <a:gd name="connsiteY1" fmla="*/ 1106858 h 3135152"/>
              <a:gd name="connsiteX2" fmla="*/ 2596037 w 3304874"/>
              <a:gd name="connsiteY2" fmla="*/ 1555959 h 3135152"/>
              <a:gd name="connsiteX3" fmla="*/ 2655261 w 3304874"/>
              <a:gd name="connsiteY3" fmla="*/ 1808431 h 3135152"/>
              <a:gd name="connsiteX4" fmla="*/ 2907733 w 3304874"/>
              <a:gd name="connsiteY4" fmla="*/ 1749190 h 3135152"/>
              <a:gd name="connsiteX5" fmla="*/ 2913441 w 3304874"/>
              <a:gd name="connsiteY5" fmla="*/ 1739325 h 3135152"/>
              <a:gd name="connsiteX6" fmla="*/ 3172875 w 3304874"/>
              <a:gd name="connsiteY6" fmla="*/ 1290075 h 3135152"/>
              <a:gd name="connsiteX7" fmla="*/ 3112232 w 3304874"/>
              <a:gd name="connsiteY7" fmla="*/ 2065721 h 3135152"/>
              <a:gd name="connsiteX8" fmla="*/ 2705396 w 3304874"/>
              <a:gd name="connsiteY8" fmla="*/ 2195487 h 3135152"/>
              <a:gd name="connsiteX9" fmla="*/ 2229124 w 3304874"/>
              <a:gd name="connsiteY9" fmla="*/ 3020459 h 3135152"/>
              <a:gd name="connsiteX10" fmla="*/ 1916025 w 3304874"/>
              <a:gd name="connsiteY10" fmla="*/ 3104446 h 3135152"/>
              <a:gd name="connsiteX11" fmla="*/ 1832038 w 3304874"/>
              <a:gd name="connsiteY11" fmla="*/ 2791347 h 3135152"/>
              <a:gd name="connsiteX12" fmla="*/ 2307535 w 3304874"/>
              <a:gd name="connsiteY12" fmla="*/ 1967959 h 3135152"/>
              <a:gd name="connsiteX13" fmla="*/ 2434266 w 3304874"/>
              <a:gd name="connsiteY13" fmla="*/ 1200578 h 3135152"/>
              <a:gd name="connsiteX14" fmla="*/ 2704604 w 3304874"/>
              <a:gd name="connsiteY14" fmla="*/ 1099945 h 3135152"/>
              <a:gd name="connsiteX15" fmla="*/ 2780277 w 3304874"/>
              <a:gd name="connsiteY15" fmla="*/ 1098192 h 3135152"/>
              <a:gd name="connsiteX16" fmla="*/ 549981 w 3304874"/>
              <a:gd name="connsiteY16" fmla="*/ 0 h 3135152"/>
              <a:gd name="connsiteX17" fmla="*/ 2278468 w 3304874"/>
              <a:gd name="connsiteY17" fmla="*/ 0 h 3135152"/>
              <a:gd name="connsiteX18" fmla="*/ 2663445 w 3304874"/>
              <a:gd name="connsiteY18" fmla="*/ 157135 h 3135152"/>
              <a:gd name="connsiteX19" fmla="*/ 2671298 w 3304874"/>
              <a:gd name="connsiteY19" fmla="*/ 157135 h 3135152"/>
              <a:gd name="connsiteX20" fmla="*/ 2671298 w 3304874"/>
              <a:gd name="connsiteY20" fmla="*/ 164988 h 3135152"/>
              <a:gd name="connsiteX21" fmla="*/ 2828433 w 3304874"/>
              <a:gd name="connsiteY21" fmla="*/ 549982 h 3135152"/>
              <a:gd name="connsiteX22" fmla="*/ 2828433 w 3304874"/>
              <a:gd name="connsiteY22" fmla="*/ 944230 h 3135152"/>
              <a:gd name="connsiteX23" fmla="*/ 2514162 w 3304874"/>
              <a:gd name="connsiteY23" fmla="*/ 982718 h 3135152"/>
              <a:gd name="connsiteX24" fmla="*/ 2514162 w 3304874"/>
              <a:gd name="connsiteY24" fmla="*/ 785676 h 3135152"/>
              <a:gd name="connsiteX25" fmla="*/ 314270 w 3304874"/>
              <a:gd name="connsiteY25" fmla="*/ 785676 h 3135152"/>
              <a:gd name="connsiteX26" fmla="*/ 314270 w 3304874"/>
              <a:gd name="connsiteY26" fmla="*/ 2278469 h 3135152"/>
              <a:gd name="connsiteX27" fmla="*/ 549981 w 3304874"/>
              <a:gd name="connsiteY27" fmla="*/ 2514163 h 3135152"/>
              <a:gd name="connsiteX28" fmla="*/ 1810824 w 3304874"/>
              <a:gd name="connsiteY28" fmla="*/ 2514163 h 3135152"/>
              <a:gd name="connsiteX29" fmla="*/ 1696119 w 3304874"/>
              <a:gd name="connsiteY29" fmla="*/ 2712789 h 3135152"/>
              <a:gd name="connsiteX30" fmla="*/ 1652121 w 3304874"/>
              <a:gd name="connsiteY30" fmla="*/ 2828433 h 3135152"/>
              <a:gd name="connsiteX31" fmla="*/ 549981 w 3304874"/>
              <a:gd name="connsiteY31" fmla="*/ 2828433 h 3135152"/>
              <a:gd name="connsiteX32" fmla="*/ 0 w 3304874"/>
              <a:gd name="connsiteY32" fmla="*/ 2278469 h 3135152"/>
              <a:gd name="connsiteX33" fmla="*/ 0 w 3304874"/>
              <a:gd name="connsiteY33" fmla="*/ 549982 h 3135152"/>
              <a:gd name="connsiteX34" fmla="*/ 157135 w 3304874"/>
              <a:gd name="connsiteY34" fmla="*/ 164988 h 3135152"/>
              <a:gd name="connsiteX35" fmla="*/ 157135 w 3304874"/>
              <a:gd name="connsiteY35" fmla="*/ 157135 h 3135152"/>
              <a:gd name="connsiteX36" fmla="*/ 164988 w 3304874"/>
              <a:gd name="connsiteY36" fmla="*/ 157135 h 3135152"/>
              <a:gd name="connsiteX37" fmla="*/ 549981 w 3304874"/>
              <a:gd name="connsiteY37" fmla="*/ 0 h 313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04874" h="3135152">
                <a:moveTo>
                  <a:pt x="2780277" y="1098192"/>
                </a:moveTo>
                <a:cubicBezTo>
                  <a:pt x="2805480" y="1099347"/>
                  <a:pt x="2830601" y="1102239"/>
                  <a:pt x="2855454" y="1106858"/>
                </a:cubicBezTo>
                <a:lnTo>
                  <a:pt x="2596037" y="1555959"/>
                </a:lnTo>
                <a:cubicBezTo>
                  <a:pt x="2542668" y="1642025"/>
                  <a:pt x="2569179" y="1755080"/>
                  <a:pt x="2655261" y="1808431"/>
                </a:cubicBezTo>
                <a:cubicBezTo>
                  <a:pt x="2741327" y="1861800"/>
                  <a:pt x="2854382" y="1835272"/>
                  <a:pt x="2907733" y="1749190"/>
                </a:cubicBezTo>
                <a:cubicBezTo>
                  <a:pt x="2909730" y="1745973"/>
                  <a:pt x="2911643" y="1742674"/>
                  <a:pt x="2913441" y="1739325"/>
                </a:cubicBezTo>
                <a:lnTo>
                  <a:pt x="3172875" y="1290075"/>
                </a:lnTo>
                <a:cubicBezTo>
                  <a:pt x="3370313" y="1521002"/>
                  <a:pt x="3343159" y="1868266"/>
                  <a:pt x="3112232" y="2065721"/>
                </a:cubicBezTo>
                <a:cubicBezTo>
                  <a:pt x="2999622" y="2161998"/>
                  <a:pt x="2852947" y="2208784"/>
                  <a:pt x="2705396" y="2195487"/>
                </a:cubicBezTo>
                <a:lnTo>
                  <a:pt x="2229124" y="3020459"/>
                </a:lnTo>
                <a:cubicBezTo>
                  <a:pt x="2165858" y="3130099"/>
                  <a:pt x="2025681" y="3167696"/>
                  <a:pt x="1916025" y="3104446"/>
                </a:cubicBezTo>
                <a:cubicBezTo>
                  <a:pt x="1806385" y="3041179"/>
                  <a:pt x="1768772" y="2901003"/>
                  <a:pt x="1832038" y="2791347"/>
                </a:cubicBezTo>
                <a:lnTo>
                  <a:pt x="2307535" y="1967959"/>
                </a:lnTo>
                <a:cubicBezTo>
                  <a:pt x="2130620" y="1721063"/>
                  <a:pt x="2187370" y="1377477"/>
                  <a:pt x="2434266" y="1200578"/>
                </a:cubicBezTo>
                <a:cubicBezTo>
                  <a:pt x="2513832" y="1143580"/>
                  <a:pt x="2607156" y="1108837"/>
                  <a:pt x="2704604" y="1099945"/>
                </a:cubicBezTo>
                <a:cubicBezTo>
                  <a:pt x="2729787" y="1097619"/>
                  <a:pt x="2755073" y="1097038"/>
                  <a:pt x="2780277" y="1098192"/>
                </a:cubicBezTo>
                <a:close/>
                <a:moveTo>
                  <a:pt x="549981" y="0"/>
                </a:moveTo>
                <a:lnTo>
                  <a:pt x="2278468" y="0"/>
                </a:lnTo>
                <a:cubicBezTo>
                  <a:pt x="2422438" y="-198"/>
                  <a:pt x="2560717" y="56239"/>
                  <a:pt x="2663445" y="157135"/>
                </a:cubicBezTo>
                <a:lnTo>
                  <a:pt x="2671298" y="157135"/>
                </a:lnTo>
                <a:lnTo>
                  <a:pt x="2671298" y="164988"/>
                </a:lnTo>
                <a:cubicBezTo>
                  <a:pt x="2768565" y="264301"/>
                  <a:pt x="2828433" y="400072"/>
                  <a:pt x="2828433" y="549982"/>
                </a:cubicBezTo>
                <a:lnTo>
                  <a:pt x="2828433" y="944230"/>
                </a:lnTo>
                <a:cubicBezTo>
                  <a:pt x="2722109" y="933226"/>
                  <a:pt x="2614679" y="946375"/>
                  <a:pt x="2514162" y="982718"/>
                </a:cubicBezTo>
                <a:lnTo>
                  <a:pt x="2514162" y="785676"/>
                </a:lnTo>
                <a:lnTo>
                  <a:pt x="314270" y="785676"/>
                </a:lnTo>
                <a:lnTo>
                  <a:pt x="314270" y="2278469"/>
                </a:lnTo>
                <a:cubicBezTo>
                  <a:pt x="314270" y="2408631"/>
                  <a:pt x="419802" y="2514163"/>
                  <a:pt x="549981" y="2514163"/>
                </a:cubicBezTo>
                <a:lnTo>
                  <a:pt x="1810824" y="2514163"/>
                </a:lnTo>
                <a:lnTo>
                  <a:pt x="1696119" y="2712789"/>
                </a:lnTo>
                <a:cubicBezTo>
                  <a:pt x="1674739" y="2749874"/>
                  <a:pt x="1660139" y="2788840"/>
                  <a:pt x="1652121" y="2828433"/>
                </a:cubicBezTo>
                <a:lnTo>
                  <a:pt x="549981" y="2828433"/>
                </a:lnTo>
                <a:cubicBezTo>
                  <a:pt x="246236" y="2828433"/>
                  <a:pt x="0" y="2582197"/>
                  <a:pt x="0" y="2278469"/>
                </a:cubicBezTo>
                <a:lnTo>
                  <a:pt x="0" y="549982"/>
                </a:lnTo>
                <a:cubicBezTo>
                  <a:pt x="0" y="400072"/>
                  <a:pt x="59868" y="264301"/>
                  <a:pt x="157135" y="164988"/>
                </a:cubicBezTo>
                <a:lnTo>
                  <a:pt x="157135" y="157135"/>
                </a:lnTo>
                <a:lnTo>
                  <a:pt x="164988" y="157135"/>
                </a:lnTo>
                <a:cubicBezTo>
                  <a:pt x="264300" y="59868"/>
                  <a:pt x="400072" y="0"/>
                  <a:pt x="549981"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36" name="Rectangle: Rounded Corners 35">
            <a:hlinkClick r:id="" action="ppaction://noaction"/>
            <a:extLst>
              <a:ext uri="{FF2B5EF4-FFF2-40B4-BE49-F238E27FC236}">
                <a16:creationId xmlns:a16="http://schemas.microsoft.com/office/drawing/2014/main" id="{01C3D255-95C4-5656-C9A6-33CA129835CD}"/>
              </a:ext>
            </a:extLst>
          </p:cNvPr>
          <p:cNvSpPr>
            <a:spLocks/>
          </p:cNvSpPr>
          <p:nvPr/>
        </p:nvSpPr>
        <p:spPr bwMode="auto">
          <a:xfrm>
            <a:off x="1391227" y="2428706"/>
            <a:ext cx="5005954" cy="47603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Declarative agents</a:t>
            </a:r>
          </a:p>
        </p:txBody>
      </p:sp>
      <p:sp>
        <p:nvSpPr>
          <p:cNvPr id="37" name="Rectangle: Rounded Corners 36">
            <a:hlinkClick r:id="" action="ppaction://noaction"/>
            <a:extLst>
              <a:ext uri="{FF2B5EF4-FFF2-40B4-BE49-F238E27FC236}">
                <a16:creationId xmlns:a16="http://schemas.microsoft.com/office/drawing/2014/main" id="{5BF1BE57-9B8C-21B8-8471-24375FFCC919}"/>
              </a:ext>
            </a:extLst>
          </p:cNvPr>
          <p:cNvSpPr>
            <a:spLocks/>
          </p:cNvSpPr>
          <p:nvPr/>
        </p:nvSpPr>
        <p:spPr bwMode="auto">
          <a:xfrm>
            <a:off x="6730634" y="2428706"/>
            <a:ext cx="5005954" cy="476030"/>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Custom engine agents</a:t>
            </a:r>
            <a:endParaRPr kumimoji="0" lang="en-US" sz="2000" b="0" i="1" u="none" strike="noStrike" kern="1200" cap="none" spc="0" normalizeH="0" baseline="0" noProof="0">
              <a:ln>
                <a:noFill/>
              </a:ln>
              <a:solidFill>
                <a:srgbClr val="FFFFFF"/>
              </a:solidFill>
              <a:effectLst/>
              <a:uLnTx/>
              <a:uFillTx/>
              <a:latin typeface="Segoe UI Semibold"/>
              <a:ea typeface="+mn-ea"/>
              <a:cs typeface="+mn-cs"/>
            </a:endParaRPr>
          </a:p>
        </p:txBody>
      </p:sp>
      <p:sp>
        <p:nvSpPr>
          <p:cNvPr id="38" name="TextBox 37">
            <a:extLst>
              <a:ext uri="{FF2B5EF4-FFF2-40B4-BE49-F238E27FC236}">
                <a16:creationId xmlns:a16="http://schemas.microsoft.com/office/drawing/2014/main" id="{97E7E93F-FBD5-F1FB-192C-25EBFF736693}"/>
              </a:ext>
            </a:extLst>
          </p:cNvPr>
          <p:cNvSpPr txBox="1"/>
          <p:nvPr/>
        </p:nvSpPr>
        <p:spPr>
          <a:xfrm>
            <a:off x="295208" y="3029364"/>
            <a:ext cx="809629"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Build with</a:t>
            </a:r>
          </a:p>
        </p:txBody>
      </p:sp>
      <p:sp>
        <p:nvSpPr>
          <p:cNvPr id="39" name="TextBox 38">
            <a:extLst>
              <a:ext uri="{FF2B5EF4-FFF2-40B4-BE49-F238E27FC236}">
                <a16:creationId xmlns:a16="http://schemas.microsoft.com/office/drawing/2014/main" id="{1EA55A61-297D-D0B4-7517-005BC680B431}"/>
              </a:ext>
            </a:extLst>
          </p:cNvPr>
          <p:cNvSpPr txBox="1"/>
          <p:nvPr/>
        </p:nvSpPr>
        <p:spPr>
          <a:xfrm>
            <a:off x="1910630" y="3015095"/>
            <a:ext cx="4049444" cy="88229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a:ea typeface="+mn-ea"/>
                <a:cs typeface="+mn-cs"/>
              </a:rPr>
              <a:t>Copilot Studio, Agent Builder, SharePoint (no-code and low-code)</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a:ea typeface="+mn-ea"/>
                <a:cs typeface="+mn-cs"/>
              </a:rPr>
              <a:t>Visual Studio Code (code-first)</a:t>
            </a:r>
          </a:p>
        </p:txBody>
      </p:sp>
      <p:sp>
        <p:nvSpPr>
          <p:cNvPr id="40" name="TextBox 39">
            <a:extLst>
              <a:ext uri="{FF2B5EF4-FFF2-40B4-BE49-F238E27FC236}">
                <a16:creationId xmlns:a16="http://schemas.microsoft.com/office/drawing/2014/main" id="{C3B75734-42FC-DD45-46F9-0E4446090183}"/>
              </a:ext>
            </a:extLst>
          </p:cNvPr>
          <p:cNvSpPr txBox="1"/>
          <p:nvPr/>
        </p:nvSpPr>
        <p:spPr>
          <a:xfrm>
            <a:off x="7208889" y="3056037"/>
            <a:ext cx="4049444" cy="60529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a:ea typeface="+mn-ea"/>
                <a:cs typeface="+mn-cs"/>
              </a:rPr>
              <a:t>Copilot Studio (no-code and low-code)</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a:ea typeface="+mn-ea"/>
                <a:cs typeface="+mn-cs"/>
              </a:rPr>
              <a:t>Visual Studio Code (code-first)</a:t>
            </a:r>
          </a:p>
        </p:txBody>
      </p:sp>
      <p:sp>
        <p:nvSpPr>
          <p:cNvPr id="41" name="TextBox 40">
            <a:extLst>
              <a:ext uri="{FF2B5EF4-FFF2-40B4-BE49-F238E27FC236}">
                <a16:creationId xmlns:a16="http://schemas.microsoft.com/office/drawing/2014/main" id="{CFFE16D9-DC89-472D-27D6-6597F5326FD8}"/>
              </a:ext>
            </a:extLst>
          </p:cNvPr>
          <p:cNvSpPr txBox="1"/>
          <p:nvPr/>
        </p:nvSpPr>
        <p:spPr>
          <a:xfrm>
            <a:off x="260404" y="4109121"/>
            <a:ext cx="844433"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Agent runtime</a:t>
            </a:r>
          </a:p>
        </p:txBody>
      </p:sp>
      <p:sp>
        <p:nvSpPr>
          <p:cNvPr id="42" name="TextBox 41">
            <a:extLst>
              <a:ext uri="{FF2B5EF4-FFF2-40B4-BE49-F238E27FC236}">
                <a16:creationId xmlns:a16="http://schemas.microsoft.com/office/drawing/2014/main" id="{48F40AA0-4656-C8C6-FFFC-8192175524AE}"/>
              </a:ext>
            </a:extLst>
          </p:cNvPr>
          <p:cNvSpPr txBox="1"/>
          <p:nvPr/>
        </p:nvSpPr>
        <p:spPr>
          <a:xfrm>
            <a:off x="1910630" y="4246606"/>
            <a:ext cx="4049444" cy="27699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it-IT" sz="1800" b="0" i="0" u="none" strike="noStrike" kern="1200" cap="none" spc="0" normalizeH="0" baseline="0" noProof="0">
                <a:ln>
                  <a:noFill/>
                </a:ln>
                <a:solidFill>
                  <a:srgbClr val="000000"/>
                </a:solidFill>
                <a:effectLst/>
                <a:uLnTx/>
                <a:uFillTx/>
                <a:latin typeface="Segoe UI"/>
                <a:ea typeface="+mn-ea"/>
                <a:cs typeface="+mn-cs"/>
              </a:rPr>
              <a:t>Microsoft Copilot</a:t>
            </a:r>
          </a:p>
        </p:txBody>
      </p:sp>
      <p:sp>
        <p:nvSpPr>
          <p:cNvPr id="43" name="TextBox 42">
            <a:extLst>
              <a:ext uri="{FF2B5EF4-FFF2-40B4-BE49-F238E27FC236}">
                <a16:creationId xmlns:a16="http://schemas.microsoft.com/office/drawing/2014/main" id="{08BA38D4-40F5-944B-3B37-3E1E55E6EF02}"/>
              </a:ext>
            </a:extLst>
          </p:cNvPr>
          <p:cNvSpPr txBox="1"/>
          <p:nvPr/>
        </p:nvSpPr>
        <p:spPr>
          <a:xfrm>
            <a:off x="7208889" y="4094391"/>
            <a:ext cx="4049444"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Bring your own orchestrator and foundational models</a:t>
            </a:r>
          </a:p>
        </p:txBody>
      </p:sp>
      <p:sp>
        <p:nvSpPr>
          <p:cNvPr id="44" name="TextBox 43">
            <a:extLst>
              <a:ext uri="{FF2B5EF4-FFF2-40B4-BE49-F238E27FC236}">
                <a16:creationId xmlns:a16="http://schemas.microsoft.com/office/drawing/2014/main" id="{7CBA5B91-B520-877B-F3D4-935E262E9C1E}"/>
              </a:ext>
            </a:extLst>
          </p:cNvPr>
          <p:cNvSpPr txBox="1"/>
          <p:nvPr/>
        </p:nvSpPr>
        <p:spPr>
          <a:xfrm>
            <a:off x="190376" y="5307427"/>
            <a:ext cx="914461"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Deploy across</a:t>
            </a:r>
          </a:p>
        </p:txBody>
      </p:sp>
      <p:sp>
        <p:nvSpPr>
          <p:cNvPr id="45" name="TextBox 44">
            <a:extLst>
              <a:ext uri="{FF2B5EF4-FFF2-40B4-BE49-F238E27FC236}">
                <a16:creationId xmlns:a16="http://schemas.microsoft.com/office/drawing/2014/main" id="{8587CBD7-B71B-6025-D12F-BEAD1FCD50C1}"/>
              </a:ext>
            </a:extLst>
          </p:cNvPr>
          <p:cNvSpPr txBox="1"/>
          <p:nvPr/>
        </p:nvSpPr>
        <p:spPr>
          <a:xfrm>
            <a:off x="2837313" y="4820981"/>
            <a:ext cx="2196078" cy="126188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icrosoft 365 Copilot</a:t>
            </a:r>
          </a:p>
          <a:p>
            <a:pPr marL="0" marR="0" lvl="0" indent="0" algn="ctr" defTabSz="914400" rtl="0" eaLnBrk="1" fontAlgn="auto" latinLnBrk="0" hangingPunct="1">
              <a:lnSpc>
                <a:spcPct val="100000"/>
              </a:lnSpc>
              <a:spcBef>
                <a:spcPts val="0"/>
              </a:spcBef>
              <a:spcAft>
                <a:spcPts val="400"/>
              </a:spcAft>
              <a:buClrTx/>
              <a:buSzTx/>
              <a:buFontTx/>
              <a:buNone/>
              <a:tabLst/>
              <a:defRPr/>
            </a:pPr>
            <a:r>
              <a:rPr lang="en-US">
                <a:solidFill>
                  <a:srgbClr val="000000"/>
                </a:solidFill>
                <a:latin typeface="Segoe UI"/>
              </a:rPr>
              <a:t>Copilot Cha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icrosoft Teams</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harePoint</a:t>
            </a:r>
          </a:p>
        </p:txBody>
      </p:sp>
      <p:sp>
        <p:nvSpPr>
          <p:cNvPr id="50" name="TextBox 49">
            <a:extLst>
              <a:ext uri="{FF2B5EF4-FFF2-40B4-BE49-F238E27FC236}">
                <a16:creationId xmlns:a16="http://schemas.microsoft.com/office/drawing/2014/main" id="{A537AD3A-8069-6DA2-2E79-83EB7A4D39B4}"/>
              </a:ext>
            </a:extLst>
          </p:cNvPr>
          <p:cNvSpPr txBox="1"/>
          <p:nvPr/>
        </p:nvSpPr>
        <p:spPr>
          <a:xfrm>
            <a:off x="7507705" y="4748272"/>
            <a:ext cx="3750627" cy="1590179"/>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icrosoft 365 Copilo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opilot Cha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icrosoft Teams,</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Web</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10 other channels</a:t>
            </a:r>
          </a:p>
        </p:txBody>
      </p:sp>
      <p:cxnSp>
        <p:nvCxnSpPr>
          <p:cNvPr id="54" name="Straight Connector 53">
            <a:extLst>
              <a:ext uri="{FF2B5EF4-FFF2-40B4-BE49-F238E27FC236}">
                <a16:creationId xmlns:a16="http://schemas.microsoft.com/office/drawing/2014/main" id="{7101F1B9-E84B-BEC6-647D-985C9D02DBFB}"/>
              </a:ext>
              <a:ext uri="{C183D7F6-B498-43B3-948B-1728B52AA6E4}">
                <adec:decorative xmlns:adec="http://schemas.microsoft.com/office/drawing/2017/decorative" val="1"/>
              </a:ext>
            </a:extLst>
          </p:cNvPr>
          <p:cNvCxnSpPr>
            <a:cxnSpLocks/>
          </p:cNvCxnSpPr>
          <p:nvPr/>
        </p:nvCxnSpPr>
        <p:spPr>
          <a:xfrm>
            <a:off x="1391227" y="3929424"/>
            <a:ext cx="1034536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1FEB193-0D67-FFD7-14D0-46190CA02A33}"/>
              </a:ext>
              <a:ext uri="{C183D7F6-B498-43B3-948B-1728B52AA6E4}">
                <adec:decorative xmlns:adec="http://schemas.microsoft.com/office/drawing/2017/decorative" val="1"/>
              </a:ext>
            </a:extLst>
          </p:cNvPr>
          <p:cNvCxnSpPr>
            <a:cxnSpLocks/>
          </p:cNvCxnSpPr>
          <p:nvPr/>
        </p:nvCxnSpPr>
        <p:spPr>
          <a:xfrm>
            <a:off x="1381211" y="4736406"/>
            <a:ext cx="1034536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6" name="Rectangle: Rounded Corners 65">
            <a:extLst>
              <a:ext uri="{FF2B5EF4-FFF2-40B4-BE49-F238E27FC236}">
                <a16:creationId xmlns:a16="http://schemas.microsoft.com/office/drawing/2014/main" id="{1C7C56AC-69CF-FE08-34A7-770C80C62688}"/>
              </a:ext>
            </a:extLst>
          </p:cNvPr>
          <p:cNvSpPr/>
          <p:nvPr/>
        </p:nvSpPr>
        <p:spPr bwMode="auto">
          <a:xfrm>
            <a:off x="10527093" y="4761506"/>
            <a:ext cx="1252067" cy="257398"/>
          </a:xfrm>
          <a:prstGeom prst="roundRect">
            <a:avLst>
              <a:gd name="adj" fmla="val 50000"/>
            </a:avLst>
          </a:prstGeom>
          <a:gradFill>
            <a:gsLst>
              <a:gs pos="75000">
                <a:srgbClr val="0078D4"/>
              </a:gs>
              <a:gs pos="50000">
                <a:srgbClr val="C03BC4"/>
              </a:gs>
              <a:gs pos="100000">
                <a:srgbClr val="14938C"/>
              </a:gs>
              <a:gs pos="25000">
                <a:srgbClr val="F4364C"/>
              </a:gs>
              <a:gs pos="0">
                <a:srgbClr val="FF5C39"/>
              </a:gs>
            </a:gsLst>
            <a:path path="circle">
              <a:fillToRect r="100000" b="100000"/>
            </a:path>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Public Preview</a:t>
            </a:r>
          </a:p>
        </p:txBody>
      </p:sp>
      <p:sp>
        <p:nvSpPr>
          <p:cNvPr id="2" name="Rectangle: Rounded Corners 1">
            <a:extLst>
              <a:ext uri="{FF2B5EF4-FFF2-40B4-BE49-F238E27FC236}">
                <a16:creationId xmlns:a16="http://schemas.microsoft.com/office/drawing/2014/main" id="{151190C9-FE89-3C83-0F87-9DBB1A1C13B0}"/>
              </a:ext>
            </a:extLst>
          </p:cNvPr>
          <p:cNvSpPr/>
          <p:nvPr/>
        </p:nvSpPr>
        <p:spPr bwMode="auto">
          <a:xfrm>
            <a:off x="10110901" y="5106922"/>
            <a:ext cx="1252067" cy="257398"/>
          </a:xfrm>
          <a:prstGeom prst="roundRect">
            <a:avLst>
              <a:gd name="adj" fmla="val 50000"/>
            </a:avLst>
          </a:prstGeom>
          <a:gradFill>
            <a:gsLst>
              <a:gs pos="75000">
                <a:srgbClr val="0078D4"/>
              </a:gs>
              <a:gs pos="50000">
                <a:srgbClr val="C03BC4"/>
              </a:gs>
              <a:gs pos="100000">
                <a:srgbClr val="14938C"/>
              </a:gs>
              <a:gs pos="25000">
                <a:srgbClr val="F4364C"/>
              </a:gs>
              <a:gs pos="0">
                <a:srgbClr val="FF5C39"/>
              </a:gs>
            </a:gsLst>
            <a:path path="circle">
              <a:fillToRect r="100000" b="100000"/>
            </a:path>
          </a:gra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mn-cs"/>
              </a:rPr>
              <a:t>Public Preview</a:t>
            </a:r>
          </a:p>
        </p:txBody>
      </p:sp>
    </p:spTree>
    <p:extLst>
      <p:ext uri="{BB962C8B-B14F-4D97-AF65-F5344CB8AC3E}">
        <p14:creationId xmlns:p14="http://schemas.microsoft.com/office/powerpoint/2010/main" val="2973344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45C52D-7FA2-B94E-BCDC-2C1ECE081C14}"/>
            </a:ext>
          </a:extLst>
        </p:cNvPr>
        <p:cNvGrpSpPr/>
        <p:nvPr/>
      </p:nvGrpSpPr>
      <p:grpSpPr>
        <a:xfrm>
          <a:off x="0" y="0"/>
          <a:ext cx="0" cy="0"/>
          <a:chOff x="0" y="0"/>
          <a:chExt cx="0" cy="0"/>
        </a:xfrm>
      </p:grpSpPr>
      <p:sp>
        <p:nvSpPr>
          <p:cNvPr id="64" name="Title 1">
            <a:extLst>
              <a:ext uri="{FF2B5EF4-FFF2-40B4-BE49-F238E27FC236}">
                <a16:creationId xmlns:a16="http://schemas.microsoft.com/office/drawing/2014/main" id="{AFA85A65-D008-B11D-277A-93E8C987CF34}"/>
              </a:ext>
            </a:extLst>
          </p:cNvPr>
          <p:cNvSpPr txBox="1">
            <a:spLocks noGrp="1"/>
          </p:cNvSpPr>
          <p:nvPr>
            <p:ph type="title"/>
          </p:nvPr>
        </p:nvSpPr>
        <p:spPr>
          <a:xfrm>
            <a:off x="346650" y="3089414"/>
            <a:ext cx="2532306" cy="43088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fontScale="90000"/>
          </a:bodyPr>
          <a:lstStyle>
            <a:lvl1pPr algn="l" defTabSz="914400" rtl="0" eaLnBrk="1" latinLnBrk="0" hangingPunct="1">
              <a:lnSpc>
                <a:spcPct val="90000"/>
              </a:lnSpc>
              <a:spcBef>
                <a:spcPct val="0"/>
              </a:spcBef>
              <a:buNone/>
              <a:defRPr lang="en-US" sz="2000" b="0" i="0" kern="1200" cap="none" spc="-50" baseline="0">
                <a:ln w="3175">
                  <a:noFill/>
                </a:ln>
                <a:solidFill>
                  <a:schemeClr val="tx1"/>
                </a:solidFill>
                <a:effectLst/>
                <a:latin typeface="+mj-lt"/>
                <a:ea typeface="+mj-ea"/>
                <a:cs typeface="Segoe UI Semibold"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4000" b="0" i="0" u="none" strike="noStrike" kern="1200" cap="none" spc="0" normalizeH="0" baseline="0" noProof="0">
                <a:ln>
                  <a:noFill/>
                </a:ln>
                <a:effectLst/>
                <a:uLnTx/>
                <a:uFillTx/>
                <a:latin typeface="Segoe UI Semibold"/>
                <a:ea typeface="+mj-ea"/>
                <a:cs typeface="Segoe UI Semibold" panose="020B0502040204020203" pitchFamily="34" charset="0"/>
              </a:rPr>
              <a:t>Declarative</a:t>
            </a:r>
            <a:br>
              <a:rPr kumimoji="0" lang="en-IN" sz="4000" b="0" i="0" u="none" strike="noStrike" kern="1200" cap="none" spc="0" normalizeH="0" baseline="0" noProof="0">
                <a:ln>
                  <a:noFill/>
                </a:ln>
                <a:effectLst/>
                <a:uLnTx/>
                <a:uFillTx/>
                <a:latin typeface="Segoe UI Semibold"/>
                <a:ea typeface="+mj-ea"/>
                <a:cs typeface="Segoe UI Semibold" panose="020B0502040204020203" pitchFamily="34" charset="0"/>
              </a:rPr>
            </a:br>
            <a:r>
              <a:rPr kumimoji="0" lang="en-IN" sz="4000" b="0" i="0" u="none" strike="noStrike" kern="1200" cap="none" spc="0" normalizeH="0" baseline="0" noProof="0">
                <a:ln>
                  <a:noFill/>
                </a:ln>
                <a:effectLst/>
                <a:uLnTx/>
                <a:uFillTx/>
                <a:latin typeface="Segoe UI Semibold"/>
                <a:ea typeface="+mj-ea"/>
                <a:cs typeface="Segoe UI Semibold" panose="020B0502040204020203" pitchFamily="34" charset="0"/>
              </a:rPr>
              <a:t>agents</a:t>
            </a:r>
            <a:endParaRPr kumimoji="0" lang="en-IN" sz="5400" b="0" i="0" u="none" strike="noStrike" kern="1200" cap="none" spc="0" normalizeH="0" baseline="0" noProof="0">
              <a:ln>
                <a:noFill/>
              </a:ln>
              <a:effectLst/>
              <a:uLnTx/>
              <a:uFillTx/>
              <a:latin typeface="Segoe UI Semibold"/>
              <a:ea typeface="+mj-ea"/>
              <a:cs typeface="Segoe UI Semibold" panose="020B0502040204020203" pitchFamily="34" charset="0"/>
            </a:endParaRPr>
          </a:p>
        </p:txBody>
      </p:sp>
      <p:grpSp>
        <p:nvGrpSpPr>
          <p:cNvPr id="2" name="Group 1">
            <a:extLst>
              <a:ext uri="{FF2B5EF4-FFF2-40B4-BE49-F238E27FC236}">
                <a16:creationId xmlns:a16="http://schemas.microsoft.com/office/drawing/2014/main" id="{DD623407-AC60-DDA7-42F6-69F475DB8372}"/>
              </a:ext>
              <a:ext uri="{C183D7F6-B498-43B3-948B-1728B52AA6E4}">
                <adec:decorative xmlns:adec="http://schemas.microsoft.com/office/drawing/2017/decorative" val="1"/>
              </a:ext>
            </a:extLst>
          </p:cNvPr>
          <p:cNvGrpSpPr/>
          <p:nvPr/>
        </p:nvGrpSpPr>
        <p:grpSpPr>
          <a:xfrm>
            <a:off x="6394310" y="1288275"/>
            <a:ext cx="3273739" cy="1416439"/>
            <a:chOff x="6394310" y="1288275"/>
            <a:chExt cx="3273739" cy="1416439"/>
          </a:xfrm>
          <a:solidFill>
            <a:schemeClr val="accent6">
              <a:lumMod val="25000"/>
            </a:schemeClr>
          </a:solidFill>
        </p:grpSpPr>
        <p:sp>
          <p:nvSpPr>
            <p:cNvPr id="3" name="Freeform: Shape 2">
              <a:extLst>
                <a:ext uri="{FF2B5EF4-FFF2-40B4-BE49-F238E27FC236}">
                  <a16:creationId xmlns:a16="http://schemas.microsoft.com/office/drawing/2014/main" id="{A644DBCE-B2CD-BD4E-F7DD-3DDB8868443A}"/>
                </a:ext>
              </a:extLst>
            </p:cNvPr>
            <p:cNvSpPr/>
            <p:nvPr/>
          </p:nvSpPr>
          <p:spPr>
            <a:xfrm>
              <a:off x="6394310"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 name="Rectangle 3">
              <a:extLst>
                <a:ext uri="{FF2B5EF4-FFF2-40B4-BE49-F238E27FC236}">
                  <a16:creationId xmlns:a16="http://schemas.microsoft.com/office/drawing/2014/main" id="{82ACCD0A-9DBE-2CF7-EA13-3238396B392C}"/>
                </a:ext>
              </a:extLst>
            </p:cNvPr>
            <p:cNvSpPr/>
            <p:nvPr/>
          </p:nvSpPr>
          <p:spPr>
            <a:xfrm>
              <a:off x="6455136" y="1681024"/>
              <a:ext cx="3152085" cy="630942"/>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lang="en-US" sz="2000">
                  <a:ln w="3175">
                    <a:noFill/>
                  </a:ln>
                  <a:solidFill>
                    <a:schemeClr val="bg1"/>
                  </a:solidFill>
                  <a:latin typeface="Segoe UI Semibold"/>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grpSp>
      <p:grpSp>
        <p:nvGrpSpPr>
          <p:cNvPr id="5" name="Group 4">
            <a:extLst>
              <a:ext uri="{FF2B5EF4-FFF2-40B4-BE49-F238E27FC236}">
                <a16:creationId xmlns:a16="http://schemas.microsoft.com/office/drawing/2014/main" id="{9DAA605D-AB36-D524-6D51-979B53D7E41F}"/>
              </a:ext>
              <a:ext uri="{C183D7F6-B498-43B3-948B-1728B52AA6E4}">
                <adec:decorative xmlns:adec="http://schemas.microsoft.com/office/drawing/2017/decorative" val="1"/>
              </a:ext>
            </a:extLst>
          </p:cNvPr>
          <p:cNvGrpSpPr/>
          <p:nvPr/>
        </p:nvGrpSpPr>
        <p:grpSpPr>
          <a:xfrm>
            <a:off x="6394310" y="4121814"/>
            <a:ext cx="3273739" cy="1417099"/>
            <a:chOff x="6394310" y="4121814"/>
            <a:chExt cx="3273739" cy="1417099"/>
          </a:xfrm>
          <a:solidFill>
            <a:schemeClr val="accent6">
              <a:lumMod val="25000"/>
            </a:schemeClr>
          </a:solidFill>
        </p:grpSpPr>
        <p:grpSp>
          <p:nvGrpSpPr>
            <p:cNvPr id="6" name="Group 5">
              <a:extLst>
                <a:ext uri="{FF2B5EF4-FFF2-40B4-BE49-F238E27FC236}">
                  <a16:creationId xmlns:a16="http://schemas.microsoft.com/office/drawing/2014/main" id="{CCC77DA6-4383-3F84-C90F-EFA48A1AEDC4}"/>
                </a:ext>
              </a:extLst>
            </p:cNvPr>
            <p:cNvGrpSpPr/>
            <p:nvPr/>
          </p:nvGrpSpPr>
          <p:grpSpPr>
            <a:xfrm>
              <a:off x="6394310" y="4122474"/>
              <a:ext cx="3273739" cy="1416439"/>
              <a:chOff x="6394310" y="4122474"/>
              <a:chExt cx="3273739" cy="1416439"/>
            </a:xfrm>
            <a:grpFill/>
          </p:grpSpPr>
          <p:sp>
            <p:nvSpPr>
              <p:cNvPr id="8" name="Freeform: Shape 7">
                <a:extLst>
                  <a:ext uri="{FF2B5EF4-FFF2-40B4-BE49-F238E27FC236}">
                    <a16:creationId xmlns:a16="http://schemas.microsoft.com/office/drawing/2014/main" id="{77B31B10-10B6-FEE0-6D29-93FC0417755E}"/>
                  </a:ext>
                </a:extLst>
              </p:cNvPr>
              <p:cNvSpPr/>
              <p:nvPr/>
            </p:nvSpPr>
            <p:spPr>
              <a:xfrm>
                <a:off x="6394310"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chemeClr val="accent6">
                  <a:lumMod val="25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 name="Rectangle 8">
                <a:extLst>
                  <a:ext uri="{FF2B5EF4-FFF2-40B4-BE49-F238E27FC236}">
                    <a16:creationId xmlns:a16="http://schemas.microsoft.com/office/drawing/2014/main" id="{68F64480-1B96-2F04-87BF-32967B6636C6}"/>
                  </a:ext>
                </a:extLst>
              </p:cNvPr>
              <p:cNvSpPr/>
              <p:nvPr/>
            </p:nvSpPr>
            <p:spPr>
              <a:xfrm>
                <a:off x="6547030" y="4392112"/>
                <a:ext cx="2968296" cy="877163"/>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lang="en-US" sz="2000">
                    <a:ln w="3175">
                      <a:noFill/>
                    </a:ln>
                    <a:solidFill>
                      <a:srgbClr val="FFFFFF">
                        <a:alpha val="30000"/>
                      </a:srgbClr>
                    </a:solidFill>
                    <a:latin typeface="Segoe UI Semibold"/>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lang="en-US" sz="1600">
                    <a:ln w="3175">
                      <a:noFill/>
                    </a:ln>
                    <a:solidFill>
                      <a:srgbClr val="FFFFFF">
                        <a:alpha val="30000"/>
                      </a:srgbClr>
                    </a:solidFill>
                    <a:latin typeface="Segoe UI Semibold"/>
                  </a:rPr>
                  <a:t>Planning, exceptions, </a:t>
                </a:r>
                <a:br>
                  <a:rPr lang="en-US" sz="1600">
                    <a:ln w="3175">
                      <a:noFill/>
                    </a:ln>
                    <a:solidFill>
                      <a:srgbClr val="FFFFFF">
                        <a:alpha val="30000"/>
                      </a:srgbClr>
                    </a:solidFill>
                    <a:latin typeface="Segoe UI Semibold"/>
                  </a:rPr>
                </a:br>
                <a:r>
                  <a:rPr lang="en-US" sz="1600">
                    <a:ln w="3175">
                      <a:noFill/>
                    </a:ln>
                    <a:solidFill>
                      <a:srgbClr val="FFFFFF">
                        <a:alpha val="30000"/>
                      </a:srgbClr>
                    </a:solidFill>
                    <a:latin typeface="Segoe UI Semibold"/>
                  </a:rPr>
                  <a:t>self-learning</a:t>
                </a:r>
              </a:p>
            </p:txBody>
          </p:sp>
        </p:grpSp>
        <p:cxnSp>
          <p:nvCxnSpPr>
            <p:cNvPr id="7" name="Straight Connector 6">
              <a:extLst>
                <a:ext uri="{FF2B5EF4-FFF2-40B4-BE49-F238E27FC236}">
                  <a16:creationId xmlns:a16="http://schemas.microsoft.com/office/drawing/2014/main" id="{E4B39C71-44B9-E793-26D8-B100C878FDE5}"/>
                </a:ext>
              </a:extLst>
            </p:cNvPr>
            <p:cNvCxnSpPr/>
            <p:nvPr/>
          </p:nvCxnSpPr>
          <p:spPr>
            <a:xfrm>
              <a:off x="6394310" y="4121814"/>
              <a:ext cx="3273739" cy="0"/>
            </a:xfrm>
            <a:prstGeom prst="line">
              <a:avLst/>
            </a:prstGeom>
            <a:grpFill/>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C6B4C6EE-98AF-1E03-B1E5-CE80627A457C}"/>
              </a:ext>
              <a:ext uri="{C183D7F6-B498-43B3-948B-1728B52AA6E4}">
                <adec:decorative xmlns:adec="http://schemas.microsoft.com/office/drawing/2017/decorative" val="1"/>
              </a:ext>
            </a:extLst>
          </p:cNvPr>
          <p:cNvGrpSpPr/>
          <p:nvPr/>
        </p:nvGrpSpPr>
        <p:grpSpPr>
          <a:xfrm>
            <a:off x="6394310" y="2704714"/>
            <a:ext cx="3273739" cy="1417100"/>
            <a:chOff x="6394310" y="2704714"/>
            <a:chExt cx="3273739" cy="1417100"/>
          </a:xfrm>
          <a:solidFill>
            <a:schemeClr val="accent6">
              <a:lumMod val="25000"/>
            </a:schemeClr>
          </a:solidFill>
        </p:grpSpPr>
        <p:grpSp>
          <p:nvGrpSpPr>
            <p:cNvPr id="11" name="Group 10">
              <a:extLst>
                <a:ext uri="{FF2B5EF4-FFF2-40B4-BE49-F238E27FC236}">
                  <a16:creationId xmlns:a16="http://schemas.microsoft.com/office/drawing/2014/main" id="{17B66754-B673-B31E-03CD-6B1AC64EF589}"/>
                </a:ext>
              </a:extLst>
            </p:cNvPr>
            <p:cNvGrpSpPr/>
            <p:nvPr/>
          </p:nvGrpSpPr>
          <p:grpSpPr>
            <a:xfrm>
              <a:off x="6394310" y="2705375"/>
              <a:ext cx="3273739" cy="1416439"/>
              <a:chOff x="6394310" y="2705375"/>
              <a:chExt cx="3273739" cy="1416439"/>
            </a:xfrm>
            <a:grpFill/>
          </p:grpSpPr>
          <p:sp>
            <p:nvSpPr>
              <p:cNvPr id="13" name="Freeform: Shape 12">
                <a:extLst>
                  <a:ext uri="{FF2B5EF4-FFF2-40B4-BE49-F238E27FC236}">
                    <a16:creationId xmlns:a16="http://schemas.microsoft.com/office/drawing/2014/main" id="{AEFC8134-1B73-6E91-AC6A-26049EF7A9EA}"/>
                  </a:ext>
                </a:extLst>
              </p:cNvPr>
              <p:cNvSpPr/>
              <p:nvPr/>
            </p:nvSpPr>
            <p:spPr>
              <a:xfrm>
                <a:off x="6394310" y="27053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4" name="Rectangle 13">
                <a:extLst>
                  <a:ext uri="{FF2B5EF4-FFF2-40B4-BE49-F238E27FC236}">
                    <a16:creationId xmlns:a16="http://schemas.microsoft.com/office/drawing/2014/main" id="{E6F84627-2257-1972-FDFD-7284D6A9E8D6}"/>
                  </a:ext>
                </a:extLst>
              </p:cNvPr>
              <p:cNvSpPr/>
              <p:nvPr/>
            </p:nvSpPr>
            <p:spPr>
              <a:xfrm>
                <a:off x="6458066" y="2975013"/>
                <a:ext cx="3146225" cy="877163"/>
              </a:xfrm>
              <a:prstGeom prst="rect">
                <a:avLst/>
              </a:prstGeom>
              <a:grp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lang="en-US" sz="2000">
                    <a:ln w="3175">
                      <a:noFill/>
                    </a:ln>
                    <a:solidFill>
                      <a:schemeClr val="bg1"/>
                    </a:solidFill>
                    <a:latin typeface="Segoe UI Semibold"/>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capabilities,                       </a:t>
                </a:r>
                <a:r>
                  <a:rPr lang="en-US" sz="1600">
                    <a:ln w="3175">
                      <a:noFill/>
                    </a:ln>
                    <a:solidFill>
                      <a:srgbClr val="FFFFFF">
                        <a:alpha val="30000"/>
                      </a:srgbClr>
                    </a:solidFill>
                    <a:latin typeface="Segoe UI Semibold"/>
                  </a:rPr>
                  <a:t>triggers, workflows</a:t>
                </a:r>
              </a:p>
            </p:txBody>
          </p:sp>
        </p:grpSp>
        <p:cxnSp>
          <p:nvCxnSpPr>
            <p:cNvPr id="12" name="Straight Connector 11">
              <a:extLst>
                <a:ext uri="{FF2B5EF4-FFF2-40B4-BE49-F238E27FC236}">
                  <a16:creationId xmlns:a16="http://schemas.microsoft.com/office/drawing/2014/main" id="{B1F48398-421B-7025-50AB-A55477AF060E}"/>
                </a:ext>
              </a:extLst>
            </p:cNvPr>
            <p:cNvCxnSpPr/>
            <p:nvPr/>
          </p:nvCxnSpPr>
          <p:spPr>
            <a:xfrm>
              <a:off x="6394310" y="2704714"/>
              <a:ext cx="3273739" cy="0"/>
            </a:xfrm>
            <a:prstGeom prst="line">
              <a:avLst/>
            </a:prstGeom>
            <a:grpFill/>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1119B081-F7EB-C717-C117-0E84768057CA}"/>
              </a:ext>
              <a:ext uri="{C183D7F6-B498-43B3-948B-1728B52AA6E4}">
                <adec:decorative xmlns:adec="http://schemas.microsoft.com/office/drawing/2017/decorative" val="1"/>
              </a:ext>
            </a:extLst>
          </p:cNvPr>
          <p:cNvGrpSpPr/>
          <p:nvPr/>
        </p:nvGrpSpPr>
        <p:grpSpPr>
          <a:xfrm>
            <a:off x="3120570" y="5538913"/>
            <a:ext cx="6547478" cy="968420"/>
            <a:chOff x="3120570" y="5538914"/>
            <a:chExt cx="6547478" cy="968420"/>
          </a:xfrm>
          <a:solidFill>
            <a:schemeClr val="accent1">
              <a:lumMod val="50000"/>
            </a:schemeClr>
          </a:solidFill>
        </p:grpSpPr>
        <p:sp>
          <p:nvSpPr>
            <p:cNvPr id="18" name="Freeform: Shape 17">
              <a:extLst>
                <a:ext uri="{FF2B5EF4-FFF2-40B4-BE49-F238E27FC236}">
                  <a16:creationId xmlns:a16="http://schemas.microsoft.com/office/drawing/2014/main" id="{8B93B413-F425-14FD-4EDB-833965F82ED5}"/>
                </a:ext>
              </a:extLst>
            </p:cNvPr>
            <p:cNvSpPr/>
            <p:nvPr/>
          </p:nvSpPr>
          <p:spPr>
            <a:xfrm>
              <a:off x="3120570"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17" name="Straight Connector 16">
              <a:extLst>
                <a:ext uri="{FF2B5EF4-FFF2-40B4-BE49-F238E27FC236}">
                  <a16:creationId xmlns:a16="http://schemas.microsoft.com/office/drawing/2014/main" id="{46D770A9-545C-CD6F-BB0B-0637233E9E80}"/>
                </a:ext>
              </a:extLst>
            </p:cNvPr>
            <p:cNvCxnSpPr/>
            <p:nvPr/>
          </p:nvCxnSpPr>
          <p:spPr>
            <a:xfrm>
              <a:off x="3120570" y="5538914"/>
              <a:ext cx="6547478" cy="0"/>
            </a:xfrm>
            <a:prstGeom prst="line">
              <a:avLst/>
            </a:prstGeom>
            <a:grpFill/>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AA5E13FE-1257-073C-91DA-F0E04B5927B1}"/>
              </a:ext>
              <a:ext uri="{C183D7F6-B498-43B3-948B-1728B52AA6E4}">
                <adec:decorative xmlns:adec="http://schemas.microsoft.com/office/drawing/2017/decorative" val="1"/>
              </a:ext>
            </a:extLst>
          </p:cNvPr>
          <p:cNvGrpSpPr/>
          <p:nvPr/>
        </p:nvGrpSpPr>
        <p:grpSpPr>
          <a:xfrm>
            <a:off x="3120569" y="1288275"/>
            <a:ext cx="3273740" cy="4250638"/>
            <a:chOff x="3120569" y="1288275"/>
            <a:chExt cx="3273740" cy="4250638"/>
          </a:xfrm>
          <a:solidFill>
            <a:schemeClr val="accent1">
              <a:lumMod val="50000"/>
            </a:schemeClr>
          </a:solidFill>
        </p:grpSpPr>
        <p:sp>
          <p:nvSpPr>
            <p:cNvPr id="23" name="Freeform: Shape 22">
              <a:extLst>
                <a:ext uri="{FF2B5EF4-FFF2-40B4-BE49-F238E27FC236}">
                  <a16:creationId xmlns:a16="http://schemas.microsoft.com/office/drawing/2014/main" id="{57D8F795-70ED-EE92-6AA5-E68E442EBC09}"/>
                </a:ext>
              </a:extLst>
            </p:cNvPr>
            <p:cNvSpPr>
              <a:spLocks/>
            </p:cNvSpPr>
            <p:nvPr/>
          </p:nvSpPr>
          <p:spPr>
            <a:xfrm>
              <a:off x="3120569"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grp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CE293C5D-BFC3-EF9A-CEB7-329984FB9683}"/>
                </a:ext>
              </a:extLst>
            </p:cNvPr>
            <p:cNvCxnSpPr>
              <a:cxnSpLocks/>
            </p:cNvCxnSpPr>
            <p:nvPr/>
          </p:nvCxnSpPr>
          <p:spPr>
            <a:xfrm>
              <a:off x="6394309" y="1288275"/>
              <a:ext cx="0" cy="4250638"/>
            </a:xfrm>
            <a:prstGeom prst="line">
              <a:avLst/>
            </a:prstGeom>
            <a:grpFill/>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AC75A02-DB1C-AC49-05F5-E07D200471F5}"/>
              </a:ext>
              <a:ext uri="{C183D7F6-B498-43B3-948B-1728B52AA6E4}">
                <adec:decorative xmlns:adec="http://schemas.microsoft.com/office/drawing/2017/decorative" val="1"/>
              </a:ext>
            </a:extLst>
          </p:cNvPr>
          <p:cNvGrpSpPr/>
          <p:nvPr/>
        </p:nvGrpSpPr>
        <p:grpSpPr>
          <a:xfrm>
            <a:off x="3120570" y="319856"/>
            <a:ext cx="6547478" cy="968419"/>
            <a:chOff x="3120570" y="319856"/>
            <a:chExt cx="6547478" cy="968419"/>
          </a:xfrm>
          <a:solidFill>
            <a:schemeClr val="accent1">
              <a:lumMod val="50000"/>
            </a:schemeClr>
          </a:solidFill>
        </p:grpSpPr>
        <p:sp>
          <p:nvSpPr>
            <p:cNvPr id="28" name="Freeform: Shape 27">
              <a:extLst>
                <a:ext uri="{FF2B5EF4-FFF2-40B4-BE49-F238E27FC236}">
                  <a16:creationId xmlns:a16="http://schemas.microsoft.com/office/drawing/2014/main" id="{FD839785-D2D1-E225-5CDA-39E67547D0B3}"/>
                </a:ext>
              </a:extLst>
            </p:cNvPr>
            <p:cNvSpPr/>
            <p:nvPr/>
          </p:nvSpPr>
          <p:spPr>
            <a:xfrm>
              <a:off x="3120570" y="319856"/>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grp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cxnSp>
          <p:nvCxnSpPr>
            <p:cNvPr id="27" name="Straight Connector 26">
              <a:extLst>
                <a:ext uri="{FF2B5EF4-FFF2-40B4-BE49-F238E27FC236}">
                  <a16:creationId xmlns:a16="http://schemas.microsoft.com/office/drawing/2014/main" id="{33ABEFBD-1564-4A58-95BE-CE80F8701297}"/>
                </a:ext>
              </a:extLst>
            </p:cNvPr>
            <p:cNvCxnSpPr/>
            <p:nvPr/>
          </p:nvCxnSpPr>
          <p:spPr>
            <a:xfrm>
              <a:off x="3120570" y="1288275"/>
              <a:ext cx="6547478" cy="0"/>
            </a:xfrm>
            <a:prstGeom prst="line">
              <a:avLst/>
            </a:prstGeom>
            <a:grpFill/>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0" name="Rectangle: Rounded Corners 29">
            <a:extLst>
              <a:ext uri="{FF2B5EF4-FFF2-40B4-BE49-F238E27FC236}">
                <a16:creationId xmlns:a16="http://schemas.microsoft.com/office/drawing/2014/main" id="{A0D3B834-7230-E547-A5B5-463BFE469B13}"/>
              </a:ext>
              <a:ext uri="{C183D7F6-B498-43B3-948B-1728B52AA6E4}">
                <adec:decorative xmlns:adec="http://schemas.microsoft.com/office/drawing/2017/decorative" val="1"/>
              </a:ext>
            </a:extLst>
          </p:cNvPr>
          <p:cNvSpPr/>
          <p:nvPr/>
        </p:nvSpPr>
        <p:spPr bwMode="auto">
          <a:xfrm>
            <a:off x="3120570" y="319856"/>
            <a:ext cx="6547478" cy="6187479"/>
          </a:xfrm>
          <a:prstGeom prst="roundRect">
            <a:avLst>
              <a:gd name="adj" fmla="val 2732"/>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cxnSp>
        <p:nvCxnSpPr>
          <p:cNvPr id="31" name="Straight Arrow Connector 30">
            <a:extLst>
              <a:ext uri="{FF2B5EF4-FFF2-40B4-BE49-F238E27FC236}">
                <a16:creationId xmlns:a16="http://schemas.microsoft.com/office/drawing/2014/main" id="{4E4A0255-F91B-3FB4-7EE7-08832B495C45}"/>
              </a:ext>
              <a:ext uri="{C183D7F6-B498-43B3-948B-1728B52AA6E4}">
                <adec:decorative xmlns:adec="http://schemas.microsoft.com/office/drawing/2017/decorative" val="1"/>
              </a:ext>
            </a:extLst>
          </p:cNvPr>
          <p:cNvCxnSpPr>
            <a:cxnSpLocks/>
          </p:cNvCxnSpPr>
          <p:nvPr/>
        </p:nvCxnSpPr>
        <p:spPr>
          <a:xfrm rot="5400000">
            <a:off x="6394309" y="1834570"/>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BE7AB9D4-6ADF-E54A-CD56-AD5A8270DF9C}"/>
              </a:ext>
              <a:ext uri="{C183D7F6-B498-43B3-948B-1728B52AA6E4}">
                <adec:decorative xmlns:adec="http://schemas.microsoft.com/office/drawing/2017/decorative" val="1"/>
              </a:ext>
            </a:extLst>
          </p:cNvPr>
          <p:cNvCxnSpPr>
            <a:cxnSpLocks/>
          </p:cNvCxnSpPr>
          <p:nvPr/>
        </p:nvCxnSpPr>
        <p:spPr>
          <a:xfrm rot="5400000">
            <a:off x="6394309" y="325166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26668C41-AE20-40F3-032F-76D855023BCB}"/>
              </a:ext>
              <a:ext uri="{C183D7F6-B498-43B3-948B-1728B52AA6E4}">
                <adec:decorative xmlns:adec="http://schemas.microsoft.com/office/drawing/2017/decorative" val="1"/>
              </a:ext>
            </a:extLst>
          </p:cNvPr>
          <p:cNvCxnSpPr>
            <a:cxnSpLocks/>
          </p:cNvCxnSpPr>
          <p:nvPr/>
        </p:nvCxnSpPr>
        <p:spPr>
          <a:xfrm rot="5400000">
            <a:off x="6394309" y="466876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917C888-5D02-B07D-8403-5C8E4685A851}"/>
              </a:ext>
              <a:ext uri="{C183D7F6-B498-43B3-948B-1728B52AA6E4}">
                <adec:decorative xmlns:adec="http://schemas.microsoft.com/office/drawing/2017/decorative" val="1"/>
              </a:ext>
            </a:extLst>
          </p:cNvPr>
          <p:cNvCxnSpPr>
            <a:cxnSpLocks/>
          </p:cNvCxnSpPr>
          <p:nvPr/>
        </p:nvCxnSpPr>
        <p:spPr>
          <a:xfrm>
            <a:off x="8031179" y="537698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C9154803-8485-F530-6DEE-23A136D78198}"/>
              </a:ext>
              <a:ext uri="{C183D7F6-B498-43B3-948B-1728B52AA6E4}">
                <adec:decorative xmlns:adec="http://schemas.microsoft.com/office/drawing/2017/decorative" val="1"/>
              </a:ext>
            </a:extLst>
          </p:cNvPr>
          <p:cNvCxnSpPr>
            <a:cxnSpLocks/>
          </p:cNvCxnSpPr>
          <p:nvPr/>
        </p:nvCxnSpPr>
        <p:spPr>
          <a:xfrm>
            <a:off x="4757438" y="1126350"/>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B6E96564-C50B-1A5E-CDE1-FAFEB5C755EF}"/>
              </a:ext>
              <a:ext uri="{C183D7F6-B498-43B3-948B-1728B52AA6E4}">
                <adec:decorative xmlns:adec="http://schemas.microsoft.com/office/drawing/2017/decorative" val="1"/>
              </a:ext>
            </a:extLst>
          </p:cNvPr>
          <p:cNvCxnSpPr>
            <a:cxnSpLocks/>
          </p:cNvCxnSpPr>
          <p:nvPr/>
        </p:nvCxnSpPr>
        <p:spPr>
          <a:xfrm>
            <a:off x="4757438" y="537698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83B690D1-67D3-5441-0E3D-52E27AA1648B}"/>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38" name="Rectangle: Rounded Corners 37">
              <a:extLst>
                <a:ext uri="{FF2B5EF4-FFF2-40B4-BE49-F238E27FC236}">
                  <a16:creationId xmlns:a16="http://schemas.microsoft.com/office/drawing/2014/main" id="{40E670F8-D3A5-254A-2923-78DE7B3FC5D1}"/>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39" name="Group 38">
              <a:extLst>
                <a:ext uri="{FF2B5EF4-FFF2-40B4-BE49-F238E27FC236}">
                  <a16:creationId xmlns:a16="http://schemas.microsoft.com/office/drawing/2014/main" id="{69930796-F4A5-481A-26E8-D456BF90A038}"/>
                </a:ext>
              </a:extLst>
            </p:cNvPr>
            <p:cNvGrpSpPr/>
            <p:nvPr/>
          </p:nvGrpSpPr>
          <p:grpSpPr>
            <a:xfrm>
              <a:off x="10395074" y="2088940"/>
              <a:ext cx="1094325" cy="3217834"/>
              <a:chOff x="10395074" y="2088940"/>
              <a:chExt cx="1094325" cy="3217834"/>
            </a:xfrm>
          </p:grpSpPr>
          <p:sp>
            <p:nvSpPr>
              <p:cNvPr id="41" name="Rectangle: Rounded Corners 40">
                <a:extLst>
                  <a:ext uri="{FF2B5EF4-FFF2-40B4-BE49-F238E27FC236}">
                    <a16:creationId xmlns:a16="http://schemas.microsoft.com/office/drawing/2014/main" id="{0AEB7252-6C1D-CAA2-095C-1F8875685F00}"/>
                  </a:ext>
                </a:extLst>
              </p:cNvPr>
              <p:cNvSpPr/>
              <p:nvPr/>
            </p:nvSpPr>
            <p:spPr bwMode="auto">
              <a:xfrm>
                <a:off x="10398709" y="2088940"/>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42" name="Rectangle: Rounded Corners 41">
                <a:extLst>
                  <a:ext uri="{FF2B5EF4-FFF2-40B4-BE49-F238E27FC236}">
                    <a16:creationId xmlns:a16="http://schemas.microsoft.com/office/drawing/2014/main" id="{B9AB409E-0298-F8EC-42AA-04F94996C14D}"/>
                  </a:ext>
                </a:extLst>
              </p:cNvPr>
              <p:cNvSpPr/>
              <p:nvPr/>
            </p:nvSpPr>
            <p:spPr>
              <a:xfrm>
                <a:off x="10492147" y="2143629"/>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3" name="Rectangle: Rounded Corners 42">
                <a:extLst>
                  <a:ext uri="{FF2B5EF4-FFF2-40B4-BE49-F238E27FC236}">
                    <a16:creationId xmlns:a16="http://schemas.microsoft.com/office/drawing/2014/main" id="{71E71638-B0B1-9EA9-DF92-778C3A7A00D1}"/>
                  </a:ext>
                </a:extLst>
              </p:cNvPr>
              <p:cNvSpPr/>
              <p:nvPr/>
            </p:nvSpPr>
            <p:spPr>
              <a:xfrm>
                <a:off x="10489020" y="2307446"/>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4" name="Rectangle: Rounded Corners 43">
                <a:extLst>
                  <a:ext uri="{FF2B5EF4-FFF2-40B4-BE49-F238E27FC236}">
                    <a16:creationId xmlns:a16="http://schemas.microsoft.com/office/drawing/2014/main" id="{70B0199F-32AD-7763-9774-47CCF38D68B0}"/>
                  </a:ext>
                </a:extLst>
              </p:cNvPr>
              <p:cNvSpPr/>
              <p:nvPr/>
            </p:nvSpPr>
            <p:spPr>
              <a:xfrm>
                <a:off x="10481870" y="2831279"/>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45" name="Rectangle: Rounded Corners 44">
                <a:extLst>
                  <a:ext uri="{FF2B5EF4-FFF2-40B4-BE49-F238E27FC236}">
                    <a16:creationId xmlns:a16="http://schemas.microsoft.com/office/drawing/2014/main" id="{AB78A8F3-6CB7-5CEC-836E-0F84FB4BC37D}"/>
                  </a:ext>
                </a:extLst>
              </p:cNvPr>
              <p:cNvSpPr/>
              <p:nvPr/>
            </p:nvSpPr>
            <p:spPr>
              <a:xfrm>
                <a:off x="10846820" y="2325717"/>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46" name="Rectangle: Rounded Corners 45">
                <a:extLst>
                  <a:ext uri="{FF2B5EF4-FFF2-40B4-BE49-F238E27FC236}">
                    <a16:creationId xmlns:a16="http://schemas.microsoft.com/office/drawing/2014/main" id="{119C7B49-FF3A-EECD-CD79-5BA0B01B61C9}"/>
                  </a:ext>
                </a:extLst>
              </p:cNvPr>
              <p:cNvSpPr/>
              <p:nvPr/>
            </p:nvSpPr>
            <p:spPr>
              <a:xfrm>
                <a:off x="10846820" y="2488895"/>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47" name="Rectangle: Rounded Corners 46">
                <a:extLst>
                  <a:ext uri="{FF2B5EF4-FFF2-40B4-BE49-F238E27FC236}">
                    <a16:creationId xmlns:a16="http://schemas.microsoft.com/office/drawing/2014/main" id="{F0F6A892-0DDC-F8BC-06FF-BAB8EADD9862}"/>
                  </a:ext>
                </a:extLst>
              </p:cNvPr>
              <p:cNvSpPr/>
              <p:nvPr/>
            </p:nvSpPr>
            <p:spPr>
              <a:xfrm>
                <a:off x="10846820" y="2649191"/>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48" name="Rectangle: Rounded Corners 47">
                <a:extLst>
                  <a:ext uri="{FF2B5EF4-FFF2-40B4-BE49-F238E27FC236}">
                    <a16:creationId xmlns:a16="http://schemas.microsoft.com/office/drawing/2014/main" id="{F46E1A16-EEF1-6A41-2DF7-6B2982B7C913}"/>
                  </a:ext>
                </a:extLst>
              </p:cNvPr>
              <p:cNvSpPr/>
              <p:nvPr/>
            </p:nvSpPr>
            <p:spPr bwMode="auto">
              <a:xfrm>
                <a:off x="10395074" y="325016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49" name="Rectangle: Rounded Corners 48">
                <a:extLst>
                  <a:ext uri="{FF2B5EF4-FFF2-40B4-BE49-F238E27FC236}">
                    <a16:creationId xmlns:a16="http://schemas.microsoft.com/office/drawing/2014/main" id="{1BB6837A-BE7D-16B2-B2B9-128D1D4DA57B}"/>
                  </a:ext>
                </a:extLst>
              </p:cNvPr>
              <p:cNvSpPr/>
              <p:nvPr/>
            </p:nvSpPr>
            <p:spPr>
              <a:xfrm>
                <a:off x="10488512" y="330485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0" name="Rectangle: Rounded Corners 49">
                <a:extLst>
                  <a:ext uri="{FF2B5EF4-FFF2-40B4-BE49-F238E27FC236}">
                    <a16:creationId xmlns:a16="http://schemas.microsoft.com/office/drawing/2014/main" id="{F7E0FE0E-96E7-E10E-A608-FCCA405E3B99}"/>
                  </a:ext>
                </a:extLst>
              </p:cNvPr>
              <p:cNvSpPr/>
              <p:nvPr/>
            </p:nvSpPr>
            <p:spPr>
              <a:xfrm>
                <a:off x="10485385" y="346867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1" name="Rectangle: Rounded Corners 50">
                <a:extLst>
                  <a:ext uri="{FF2B5EF4-FFF2-40B4-BE49-F238E27FC236}">
                    <a16:creationId xmlns:a16="http://schemas.microsoft.com/office/drawing/2014/main" id="{4916159A-9338-916A-4205-7276CAB34264}"/>
                  </a:ext>
                </a:extLst>
              </p:cNvPr>
              <p:cNvSpPr/>
              <p:nvPr/>
            </p:nvSpPr>
            <p:spPr>
              <a:xfrm>
                <a:off x="10478235" y="399250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2" name="Rectangle: Rounded Corners 51">
                <a:extLst>
                  <a:ext uri="{FF2B5EF4-FFF2-40B4-BE49-F238E27FC236}">
                    <a16:creationId xmlns:a16="http://schemas.microsoft.com/office/drawing/2014/main" id="{97FCE541-C415-C74C-CA0F-6C9DED87E158}"/>
                  </a:ext>
                </a:extLst>
              </p:cNvPr>
              <p:cNvSpPr/>
              <p:nvPr/>
            </p:nvSpPr>
            <p:spPr>
              <a:xfrm>
                <a:off x="10843185" y="348694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3" name="Rectangle: Rounded Corners 52">
                <a:extLst>
                  <a:ext uri="{FF2B5EF4-FFF2-40B4-BE49-F238E27FC236}">
                    <a16:creationId xmlns:a16="http://schemas.microsoft.com/office/drawing/2014/main" id="{41FC67C3-8B55-6C06-575E-E7A09139457B}"/>
                  </a:ext>
                </a:extLst>
              </p:cNvPr>
              <p:cNvSpPr/>
              <p:nvPr/>
            </p:nvSpPr>
            <p:spPr>
              <a:xfrm>
                <a:off x="10843185" y="365012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4" name="Rectangle: Rounded Corners 53">
                <a:extLst>
                  <a:ext uri="{FF2B5EF4-FFF2-40B4-BE49-F238E27FC236}">
                    <a16:creationId xmlns:a16="http://schemas.microsoft.com/office/drawing/2014/main" id="{3B7E1E51-8500-8D79-49AD-763779693F37}"/>
                  </a:ext>
                </a:extLst>
              </p:cNvPr>
              <p:cNvSpPr/>
              <p:nvPr/>
            </p:nvSpPr>
            <p:spPr>
              <a:xfrm>
                <a:off x="10843185" y="381042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55" name="Rectangle: Rounded Corners 54">
                <a:extLst>
                  <a:ext uri="{FF2B5EF4-FFF2-40B4-BE49-F238E27FC236}">
                    <a16:creationId xmlns:a16="http://schemas.microsoft.com/office/drawing/2014/main" id="{EE3C4490-2584-DE1C-7654-C1256D903E3B}"/>
                  </a:ext>
                </a:extLst>
              </p:cNvPr>
              <p:cNvSpPr/>
              <p:nvPr/>
            </p:nvSpPr>
            <p:spPr bwMode="auto">
              <a:xfrm>
                <a:off x="10395074" y="441139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56" name="Rectangle: Rounded Corners 55">
                <a:extLst>
                  <a:ext uri="{FF2B5EF4-FFF2-40B4-BE49-F238E27FC236}">
                    <a16:creationId xmlns:a16="http://schemas.microsoft.com/office/drawing/2014/main" id="{CF060DB3-B654-1739-9FB9-45E966A0D233}"/>
                  </a:ext>
                </a:extLst>
              </p:cNvPr>
              <p:cNvSpPr/>
              <p:nvPr/>
            </p:nvSpPr>
            <p:spPr>
              <a:xfrm>
                <a:off x="10488512" y="446608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7" name="Rectangle: Rounded Corners 56">
                <a:extLst>
                  <a:ext uri="{FF2B5EF4-FFF2-40B4-BE49-F238E27FC236}">
                    <a16:creationId xmlns:a16="http://schemas.microsoft.com/office/drawing/2014/main" id="{7F7711F1-F995-4A6B-961E-A208917EF934}"/>
                  </a:ext>
                </a:extLst>
              </p:cNvPr>
              <p:cNvSpPr/>
              <p:nvPr/>
            </p:nvSpPr>
            <p:spPr>
              <a:xfrm>
                <a:off x="10485385" y="462990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8" name="Rectangle: Rounded Corners 57">
                <a:extLst>
                  <a:ext uri="{FF2B5EF4-FFF2-40B4-BE49-F238E27FC236}">
                    <a16:creationId xmlns:a16="http://schemas.microsoft.com/office/drawing/2014/main" id="{DC9C483E-7EA2-7D13-7DE5-3FE2A99C4401}"/>
                  </a:ext>
                </a:extLst>
              </p:cNvPr>
              <p:cNvSpPr/>
              <p:nvPr/>
            </p:nvSpPr>
            <p:spPr>
              <a:xfrm>
                <a:off x="10478235" y="515373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59" name="Rectangle: Rounded Corners 58">
                <a:extLst>
                  <a:ext uri="{FF2B5EF4-FFF2-40B4-BE49-F238E27FC236}">
                    <a16:creationId xmlns:a16="http://schemas.microsoft.com/office/drawing/2014/main" id="{632C69CE-5864-2590-F18E-0ED194CDFF96}"/>
                  </a:ext>
                </a:extLst>
              </p:cNvPr>
              <p:cNvSpPr/>
              <p:nvPr/>
            </p:nvSpPr>
            <p:spPr>
              <a:xfrm>
                <a:off x="10843185" y="464817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0" name="Rectangle: Rounded Corners 59">
                <a:extLst>
                  <a:ext uri="{FF2B5EF4-FFF2-40B4-BE49-F238E27FC236}">
                    <a16:creationId xmlns:a16="http://schemas.microsoft.com/office/drawing/2014/main" id="{AA7A5B32-A9ED-1EBA-4D19-C9945DFBAE8A}"/>
                  </a:ext>
                </a:extLst>
              </p:cNvPr>
              <p:cNvSpPr/>
              <p:nvPr/>
            </p:nvSpPr>
            <p:spPr>
              <a:xfrm>
                <a:off x="10843185" y="481135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61" name="Rectangle: Rounded Corners 60">
                <a:extLst>
                  <a:ext uri="{FF2B5EF4-FFF2-40B4-BE49-F238E27FC236}">
                    <a16:creationId xmlns:a16="http://schemas.microsoft.com/office/drawing/2014/main" id="{A1F9A4F0-806C-5CC3-D3CC-1773823BD72F}"/>
                  </a:ext>
                </a:extLst>
              </p:cNvPr>
              <p:cNvSpPr/>
              <p:nvPr/>
            </p:nvSpPr>
            <p:spPr>
              <a:xfrm>
                <a:off x="10843185" y="497165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40" name="TextBox 39">
              <a:extLst>
                <a:ext uri="{FF2B5EF4-FFF2-40B4-BE49-F238E27FC236}">
                  <a16:creationId xmlns:a16="http://schemas.microsoft.com/office/drawing/2014/main" id="{B2F85032-739B-0360-7EFB-54E4566A2CF1}"/>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effectLst/>
                  <a:uLnTx/>
                  <a:uFillTx/>
                  <a:latin typeface="Segoe UI Semibold"/>
                  <a:ea typeface="+mn-ea"/>
                  <a:cs typeface="+mn-cs"/>
                </a:rPr>
                <a:t>Agents</a:t>
              </a:r>
            </a:p>
          </p:txBody>
        </p:sp>
      </p:grpSp>
      <p:cxnSp>
        <p:nvCxnSpPr>
          <p:cNvPr id="62" name="Straight Arrow Connector 61">
            <a:extLst>
              <a:ext uri="{FF2B5EF4-FFF2-40B4-BE49-F238E27FC236}">
                <a16:creationId xmlns:a16="http://schemas.microsoft.com/office/drawing/2014/main" id="{87561ACB-7C3F-CB2D-49C6-5B63535C10BF}"/>
              </a:ext>
              <a:ext uri="{C183D7F6-B498-43B3-948B-1728B52AA6E4}">
                <adec:decorative xmlns:adec="http://schemas.microsoft.com/office/drawing/2017/decorative" val="1"/>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71B00504-379D-D517-8808-ECAE975FC3C8}"/>
              </a:ext>
              <a:ext uri="{C183D7F6-B498-43B3-948B-1728B52AA6E4}">
                <adec:decorative xmlns:adec="http://schemas.microsoft.com/office/drawing/2017/decorative" val="1"/>
              </a:ext>
            </a:extLst>
          </p:cNvPr>
          <p:cNvGrpSpPr/>
          <p:nvPr/>
        </p:nvGrpSpPr>
        <p:grpSpPr>
          <a:xfrm>
            <a:off x="3524106" y="2554188"/>
            <a:ext cx="2466664" cy="1641972"/>
            <a:chOff x="3524106" y="2266951"/>
            <a:chExt cx="2466664" cy="1641972"/>
          </a:xfrm>
        </p:grpSpPr>
        <p:sp>
          <p:nvSpPr>
            <p:cNvPr id="69" name="Rectangle 68">
              <a:extLst>
                <a:ext uri="{FF2B5EF4-FFF2-40B4-BE49-F238E27FC236}">
                  <a16:creationId xmlns:a16="http://schemas.microsoft.com/office/drawing/2014/main" id="{2629CE5B-9C0E-9611-41FD-0981FE8501AE}"/>
                </a:ext>
              </a:extLst>
            </p:cNvPr>
            <p:cNvSpPr>
              <a:spLocks/>
            </p:cNvSpPr>
            <p:nvPr/>
          </p:nvSpPr>
          <p:spPr>
            <a:xfrm>
              <a:off x="3524106" y="3508813"/>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70" name="Oval 69">
              <a:extLst>
                <a:ext uri="{FF2B5EF4-FFF2-40B4-BE49-F238E27FC236}">
                  <a16:creationId xmlns:a16="http://schemas.microsoft.com/office/drawing/2014/main" id="{30DB0033-175C-E837-5668-C766A04F0EB5}"/>
                </a:ext>
              </a:extLst>
            </p:cNvPr>
            <p:cNvSpPr/>
            <p:nvPr/>
          </p:nvSpPr>
          <p:spPr bwMode="auto">
            <a:xfrm>
              <a:off x="4225155" y="2266951"/>
              <a:ext cx="1064566" cy="1064564"/>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71" name="Picture 2">
              <a:extLst>
                <a:ext uri="{FF2B5EF4-FFF2-40B4-BE49-F238E27FC236}">
                  <a16:creationId xmlns:a16="http://schemas.microsoft.com/office/drawing/2014/main" id="{BD9E0842-66CE-C606-5E44-BFFE812FF8B6}"/>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388288" y="2430084"/>
              <a:ext cx="738301" cy="7383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2" name="Group 71">
            <a:extLst>
              <a:ext uri="{FF2B5EF4-FFF2-40B4-BE49-F238E27FC236}">
                <a16:creationId xmlns:a16="http://schemas.microsoft.com/office/drawing/2014/main" id="{0FF2D069-96D2-BDD3-891D-922F1C278E51}"/>
              </a:ext>
              <a:ext uri="{C183D7F6-B498-43B3-948B-1728B52AA6E4}">
                <adec:decorative xmlns:adec="http://schemas.microsoft.com/office/drawing/2017/decorative" val="1"/>
              </a:ext>
            </a:extLst>
          </p:cNvPr>
          <p:cNvGrpSpPr/>
          <p:nvPr/>
        </p:nvGrpSpPr>
        <p:grpSpPr>
          <a:xfrm>
            <a:off x="4714732" y="561336"/>
            <a:ext cx="2912908" cy="485462"/>
            <a:chOff x="4714732" y="561336"/>
            <a:chExt cx="2912908" cy="485462"/>
          </a:xfrm>
        </p:grpSpPr>
        <p:sp>
          <p:nvSpPr>
            <p:cNvPr id="73" name="Rectangle 72">
              <a:extLst>
                <a:ext uri="{FF2B5EF4-FFF2-40B4-BE49-F238E27FC236}">
                  <a16:creationId xmlns:a16="http://schemas.microsoft.com/office/drawing/2014/main" id="{DA53B131-2C69-1764-AF43-97E8F0466018}"/>
                </a:ext>
              </a:extLst>
            </p:cNvPr>
            <p:cNvSpPr>
              <a:spLocks/>
            </p:cNvSpPr>
            <p:nvPr/>
          </p:nvSpPr>
          <p:spPr>
            <a:xfrm>
              <a:off x="5160976" y="604012"/>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p>
          </p:txBody>
        </p:sp>
        <p:grpSp>
          <p:nvGrpSpPr>
            <p:cNvPr id="74" name="Group 73">
              <a:extLst>
                <a:ext uri="{FF2B5EF4-FFF2-40B4-BE49-F238E27FC236}">
                  <a16:creationId xmlns:a16="http://schemas.microsoft.com/office/drawing/2014/main" id="{CF494368-A621-D748-ED57-F3479C57C6EB}"/>
                </a:ext>
              </a:extLst>
            </p:cNvPr>
            <p:cNvGrpSpPr/>
            <p:nvPr/>
          </p:nvGrpSpPr>
          <p:grpSpPr>
            <a:xfrm>
              <a:off x="4714732" y="561336"/>
              <a:ext cx="485462" cy="485462"/>
              <a:chOff x="4372652" y="2128241"/>
              <a:chExt cx="1056233" cy="1056233"/>
            </a:xfrm>
          </p:grpSpPr>
          <p:sp>
            <p:nvSpPr>
              <p:cNvPr id="75" name="Oval 74">
                <a:extLst>
                  <a:ext uri="{FF2B5EF4-FFF2-40B4-BE49-F238E27FC236}">
                    <a16:creationId xmlns:a16="http://schemas.microsoft.com/office/drawing/2014/main" id="{745EF357-8A93-0AF0-06E6-3F841114D643}"/>
                  </a:ext>
                </a:extLst>
              </p:cNvPr>
              <p:cNvSpPr/>
              <p:nvPr/>
            </p:nvSpPr>
            <p:spPr bwMode="auto">
              <a:xfrm>
                <a:off x="4372652" y="2128241"/>
                <a:ext cx="1056233" cy="1056233"/>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76" name="Picture 2">
                <a:extLst>
                  <a:ext uri="{FF2B5EF4-FFF2-40B4-BE49-F238E27FC236}">
                    <a16:creationId xmlns:a16="http://schemas.microsoft.com/office/drawing/2014/main" id="{3AE62184-2414-9974-210D-56AAD4290438}"/>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77" name="Group 76">
            <a:extLst>
              <a:ext uri="{FF2B5EF4-FFF2-40B4-BE49-F238E27FC236}">
                <a16:creationId xmlns:a16="http://schemas.microsoft.com/office/drawing/2014/main" id="{EC4B4C1D-D16B-E7C3-ADCE-F057D8D76F62}"/>
              </a:ext>
              <a:ext uri="{C183D7F6-B498-43B3-948B-1728B52AA6E4}">
                <adec:decorative xmlns:adec="http://schemas.microsoft.com/office/drawing/2017/decorative" val="1"/>
              </a:ext>
            </a:extLst>
          </p:cNvPr>
          <p:cNvGrpSpPr/>
          <p:nvPr/>
        </p:nvGrpSpPr>
        <p:grpSpPr>
          <a:xfrm>
            <a:off x="4657269" y="5780393"/>
            <a:ext cx="2970371" cy="485462"/>
            <a:chOff x="4657269" y="5780393"/>
            <a:chExt cx="2970371" cy="485462"/>
          </a:xfrm>
        </p:grpSpPr>
        <p:sp>
          <p:nvSpPr>
            <p:cNvPr id="78" name="Rectangle 77">
              <a:extLst>
                <a:ext uri="{FF2B5EF4-FFF2-40B4-BE49-F238E27FC236}">
                  <a16:creationId xmlns:a16="http://schemas.microsoft.com/office/drawing/2014/main" id="{B0443A2E-067C-5B71-154A-951AB8AA1924}"/>
                </a:ext>
              </a:extLst>
            </p:cNvPr>
            <p:cNvSpPr>
              <a:spLocks/>
            </p:cNvSpPr>
            <p:nvPr/>
          </p:nvSpPr>
          <p:spPr>
            <a:xfrm>
              <a:off x="5160976"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grpSp>
          <p:nvGrpSpPr>
            <p:cNvPr id="79" name="Group 78">
              <a:extLst>
                <a:ext uri="{FF2B5EF4-FFF2-40B4-BE49-F238E27FC236}">
                  <a16:creationId xmlns:a16="http://schemas.microsoft.com/office/drawing/2014/main" id="{4FC62291-25EE-9793-B84A-F4C152027010}"/>
                </a:ext>
              </a:extLst>
            </p:cNvPr>
            <p:cNvGrpSpPr/>
            <p:nvPr/>
          </p:nvGrpSpPr>
          <p:grpSpPr>
            <a:xfrm>
              <a:off x="4657269" y="5780393"/>
              <a:ext cx="485462" cy="485462"/>
              <a:chOff x="4372652" y="2128241"/>
              <a:chExt cx="1056233" cy="1056233"/>
            </a:xfrm>
          </p:grpSpPr>
          <p:sp>
            <p:nvSpPr>
              <p:cNvPr id="80" name="Oval 79">
                <a:extLst>
                  <a:ext uri="{FF2B5EF4-FFF2-40B4-BE49-F238E27FC236}">
                    <a16:creationId xmlns:a16="http://schemas.microsoft.com/office/drawing/2014/main" id="{931C8C27-0886-9509-9F13-29461CB6ACD5}"/>
                  </a:ext>
                </a:extLst>
              </p:cNvPr>
              <p:cNvSpPr/>
              <p:nvPr/>
            </p:nvSpPr>
            <p:spPr bwMode="auto">
              <a:xfrm>
                <a:off x="4372652" y="2128241"/>
                <a:ext cx="1056233" cy="1056233"/>
              </a:xfrm>
              <a:prstGeom prst="ellipse">
                <a:avLst/>
              </a:prstGeom>
              <a:solidFill>
                <a:schemeClr val="bg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a:ea typeface="Segoe UI" pitchFamily="34" charset="0"/>
                  <a:cs typeface="Segoe UI" pitchFamily="34" charset="0"/>
                </a:endParaRPr>
              </a:p>
            </p:txBody>
          </p:sp>
          <p:pic>
            <p:nvPicPr>
              <p:cNvPr id="81" name="Picture 2">
                <a:extLst>
                  <a:ext uri="{FF2B5EF4-FFF2-40B4-BE49-F238E27FC236}">
                    <a16:creationId xmlns:a16="http://schemas.microsoft.com/office/drawing/2014/main" id="{A68A8FF7-35B9-4BC6-66BA-6080BF95FEFB}"/>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534508" y="2290097"/>
                <a:ext cx="732522" cy="73252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82" name="Rectangle: Rounded Corners 81">
            <a:extLst>
              <a:ext uri="{FF2B5EF4-FFF2-40B4-BE49-F238E27FC236}">
                <a16:creationId xmlns:a16="http://schemas.microsoft.com/office/drawing/2014/main" id="{4CF05983-C9BB-771D-6BAD-A776CDD3C2E1}"/>
              </a:ext>
              <a:ext uri="{C183D7F6-B498-43B3-948B-1728B52AA6E4}">
                <adec:decorative xmlns:adec="http://schemas.microsoft.com/office/drawing/2017/decorative" val="1"/>
              </a:ext>
            </a:extLst>
          </p:cNvPr>
          <p:cNvSpPr/>
          <p:nvPr/>
        </p:nvSpPr>
        <p:spPr bwMode="auto">
          <a:xfrm>
            <a:off x="293688" y="6107113"/>
            <a:ext cx="1828800" cy="457200"/>
          </a:xfrm>
          <a:prstGeom prst="roundRect">
            <a:avLst>
              <a:gd name="adj" fmla="val 11519"/>
            </a:avLst>
          </a:prstGeom>
          <a:solidFill>
            <a:srgbClr val="272551"/>
          </a:solidFill>
          <a:ln w="6350">
            <a:noFill/>
            <a:headEnd type="none" w="med" len="med"/>
            <a:tailEnd type="none" w="med" len="med"/>
          </a:ln>
          <a:effectLst>
            <a:glow rad="63500">
              <a:schemeClr val="accent1">
                <a:satMod val="175000"/>
                <a:alpha val="1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endParaRPr>
          </a:p>
        </p:txBody>
      </p:sp>
      <p:sp>
        <p:nvSpPr>
          <p:cNvPr id="83" name="Rectangle: Rounded Corners 82">
            <a:extLst>
              <a:ext uri="{FF2B5EF4-FFF2-40B4-BE49-F238E27FC236}">
                <a16:creationId xmlns:a16="http://schemas.microsoft.com/office/drawing/2014/main" id="{AD78C5BD-27B6-457C-A779-841F1625F4D2}"/>
              </a:ext>
            </a:extLst>
          </p:cNvPr>
          <p:cNvSpPr/>
          <p:nvPr/>
        </p:nvSpPr>
        <p:spPr>
          <a:xfrm>
            <a:off x="293688" y="5566493"/>
            <a:ext cx="1828800" cy="457200"/>
          </a:xfrm>
          <a:prstGeom prst="roundRect">
            <a:avLst>
              <a:gd name="adj" fmla="val 8328"/>
            </a:avLst>
          </a:prstGeom>
          <a:solidFill>
            <a:srgbClr val="06385E"/>
          </a:solidFill>
          <a:ln w="6350">
            <a:noFill/>
            <a:headEnd type="none" w="med" len="med"/>
            <a:tailEnd type="none" w="med" len="med"/>
          </a:ln>
          <a:effectLst>
            <a:glow rad="63500">
              <a:schemeClr val="accent3">
                <a:satMod val="175000"/>
                <a:alpha val="1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mn-cs"/>
              </a:rPr>
              <a:t>Microsoft provided</a:t>
            </a:r>
          </a:p>
        </p:txBody>
      </p:sp>
      <p:sp>
        <p:nvSpPr>
          <p:cNvPr id="84" name="Rectangle: Rounded Corners 83">
            <a:extLst>
              <a:ext uri="{FF2B5EF4-FFF2-40B4-BE49-F238E27FC236}">
                <a16:creationId xmlns:a16="http://schemas.microsoft.com/office/drawing/2014/main" id="{4B68C9DC-0C34-D2D0-A265-21F426C75E2A}"/>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rgbClr val="8661C5">
                    <a:lumMod val="20000"/>
                    <a:lumOff val="80000"/>
                  </a:srgbClr>
                </a:solidFill>
                <a:effectLst/>
                <a:uLnTx/>
                <a:uFillTx/>
                <a:latin typeface="Segoe UI Semibold"/>
                <a:ea typeface="+mn-ea"/>
                <a:cs typeface="+mn-cs"/>
              </a:rPr>
              <a:t>Developer provided</a:t>
            </a:r>
          </a:p>
        </p:txBody>
      </p:sp>
      <p:pic>
        <p:nvPicPr>
          <p:cNvPr id="85" name="Picture 2">
            <a:extLst>
              <a:ext uri="{FF2B5EF4-FFF2-40B4-BE49-F238E27FC236}">
                <a16:creationId xmlns:a16="http://schemas.microsoft.com/office/drawing/2014/main" id="{DEFD88FF-CA02-32EE-F799-EB05574D0ACC}"/>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60362" y="5705587"/>
            <a:ext cx="192088" cy="192086"/>
          </a:xfrm>
          <a:prstGeom prst="rect">
            <a:avLst/>
          </a:prstGeom>
          <a:noFill/>
          <a:extLst>
            <a:ext uri="{909E8E84-426E-40DD-AFC4-6F175D3DCCD1}">
              <a14:hiddenFill xmlns:a14="http://schemas.microsoft.com/office/drawing/2010/main">
                <a:solidFill>
                  <a:srgbClr val="FFFFFF"/>
                </a:solidFill>
              </a14:hiddenFill>
            </a:ext>
          </a:extLst>
        </p:spPr>
      </p:pic>
      <p:sp>
        <p:nvSpPr>
          <p:cNvPr id="86" name="Rectangle: Rounded Corners 85">
            <a:extLst>
              <a:ext uri="{FF2B5EF4-FFF2-40B4-BE49-F238E27FC236}">
                <a16:creationId xmlns:a16="http://schemas.microsoft.com/office/drawing/2014/main" id="{BA485825-3AF5-4F0A-F2D8-C02868DAB05F}"/>
              </a:ext>
            </a:extLst>
          </p:cNvPr>
          <p:cNvSpPr/>
          <p:nvPr/>
        </p:nvSpPr>
        <p:spPr bwMode="auto">
          <a:xfrm>
            <a:off x="6619990" y="3312001"/>
            <a:ext cx="2895336"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Actions / tools, capabilities</a:t>
            </a:r>
          </a:p>
        </p:txBody>
      </p:sp>
      <p:sp>
        <p:nvSpPr>
          <p:cNvPr id="87" name="Rectangle: Rounded Corners 86">
            <a:extLst>
              <a:ext uri="{FF2B5EF4-FFF2-40B4-BE49-F238E27FC236}">
                <a16:creationId xmlns:a16="http://schemas.microsoft.com/office/drawing/2014/main" id="{473BCC28-B9B3-D10A-19A6-DA53519C6492}"/>
              </a:ext>
            </a:extLst>
          </p:cNvPr>
          <p:cNvSpPr/>
          <p:nvPr/>
        </p:nvSpPr>
        <p:spPr bwMode="auto">
          <a:xfrm>
            <a:off x="6711964" y="2086257"/>
            <a:ext cx="2638425" cy="283042"/>
          </a:xfrm>
          <a:prstGeom prst="roundRect">
            <a:avLst/>
          </a:prstGeom>
          <a:solidFill>
            <a:srgbClr val="0B2030"/>
          </a:solidFill>
          <a:ln w="15875" cap="rnd">
            <a:solidFill>
              <a:schemeClr val="accent1">
                <a:lumMod val="20000"/>
                <a:lumOff val="8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8661C5">
                    <a:lumMod val="20000"/>
                    <a:lumOff val="80000"/>
                  </a:srgbClr>
                </a:solidFill>
                <a:effectLst/>
                <a:uLnTx/>
                <a:uFillTx/>
                <a:latin typeface="Segoe UI Semibold"/>
                <a:ea typeface="+mn-ea"/>
                <a:cs typeface="+mn-cs"/>
              </a:rPr>
              <a:t>Instructions and Grounding</a:t>
            </a:r>
          </a:p>
        </p:txBody>
      </p:sp>
    </p:spTree>
    <p:extLst>
      <p:ext uri="{BB962C8B-B14F-4D97-AF65-F5344CB8AC3E}">
        <p14:creationId xmlns:p14="http://schemas.microsoft.com/office/powerpoint/2010/main" val="77984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AABB372D-6E53-6845-4894-3D4BEFFB8205}"/>
              </a:ext>
              <a:ext uri="{C183D7F6-B498-43B3-948B-1728B52AA6E4}">
                <adec:decorative xmlns:adec="http://schemas.microsoft.com/office/drawing/2017/decorative" val="1"/>
              </a:ext>
            </a:extLst>
          </p:cNvPr>
          <p:cNvSpPr/>
          <p:nvPr/>
        </p:nvSpPr>
        <p:spPr bwMode="auto">
          <a:xfrm flipV="1">
            <a:off x="0" y="5088826"/>
            <a:ext cx="12192000" cy="1769173"/>
          </a:xfrm>
          <a:prstGeom prst="rect">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err="1">
              <a:ln>
                <a:noFill/>
              </a:ln>
              <a:solidFill>
                <a:srgbClr val="000000"/>
              </a:solidFill>
              <a:effectLst/>
              <a:uLnTx/>
              <a:uFillTx/>
              <a:latin typeface="Segoe UI"/>
              <a:ea typeface="+mn-ea"/>
              <a:cs typeface="Segoe UI Semibold" panose="020B0502040204020203" pitchFamily="34" charset="0"/>
            </a:endParaRPr>
          </a:p>
        </p:txBody>
      </p:sp>
      <p:sp>
        <p:nvSpPr>
          <p:cNvPr id="13" name="Rectangle: Rounded Corners 12">
            <a:extLst>
              <a:ext uri="{FF2B5EF4-FFF2-40B4-BE49-F238E27FC236}">
                <a16:creationId xmlns:a16="http://schemas.microsoft.com/office/drawing/2014/main" id="{539BB390-CC02-C5AF-0296-BA639F97B63E}"/>
              </a:ext>
              <a:ext uri="{C183D7F6-B498-43B3-948B-1728B52AA6E4}">
                <adec:decorative xmlns:adec="http://schemas.microsoft.com/office/drawing/2017/decorative" val="1"/>
              </a:ext>
            </a:extLst>
          </p:cNvPr>
          <p:cNvSpPr>
            <a:spLocks/>
          </p:cNvSpPr>
          <p:nvPr/>
        </p:nvSpPr>
        <p:spPr bwMode="auto">
          <a:xfrm>
            <a:off x="585787" y="1332448"/>
            <a:ext cx="5463540" cy="4193105"/>
          </a:xfrm>
          <a:prstGeom prst="roundRect">
            <a:avLst>
              <a:gd name="adj" fmla="val 2140"/>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DC0F6EB2-287E-9B35-41C6-47D1C340AC3E}"/>
              </a:ext>
              <a:ext uri="{C183D7F6-B498-43B3-948B-1728B52AA6E4}">
                <adec:decorative xmlns:adec="http://schemas.microsoft.com/office/drawing/2017/decorative" val="1"/>
              </a:ext>
            </a:extLst>
          </p:cNvPr>
          <p:cNvSpPr>
            <a:spLocks/>
          </p:cNvSpPr>
          <p:nvPr/>
        </p:nvSpPr>
        <p:spPr bwMode="auto">
          <a:xfrm>
            <a:off x="699780" y="2468101"/>
            <a:ext cx="5235554" cy="2941210"/>
          </a:xfrm>
          <a:prstGeom prst="roundRect">
            <a:avLst>
              <a:gd name="adj" fmla="val 29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15" name="Rectangle: Rounded Corners 14">
            <a:extLst>
              <a:ext uri="{FF2B5EF4-FFF2-40B4-BE49-F238E27FC236}">
                <a16:creationId xmlns:a16="http://schemas.microsoft.com/office/drawing/2014/main" id="{EED6FB6D-8C53-687D-3FA5-A8F8BDF0D054}"/>
              </a:ext>
              <a:ext uri="{C183D7F6-B498-43B3-948B-1728B52AA6E4}">
                <adec:decorative xmlns:adec="http://schemas.microsoft.com/office/drawing/2017/decorative" val="1"/>
              </a:ext>
            </a:extLst>
          </p:cNvPr>
          <p:cNvSpPr>
            <a:spLocks/>
          </p:cNvSpPr>
          <p:nvPr/>
        </p:nvSpPr>
        <p:spPr bwMode="auto">
          <a:xfrm>
            <a:off x="699780" y="1448692"/>
            <a:ext cx="5235554" cy="864832"/>
          </a:xfrm>
          <a:prstGeom prst="roundRect">
            <a:avLst>
              <a:gd name="adj" fmla="val 1238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l"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During the presentation</a:t>
            </a:r>
          </a:p>
        </p:txBody>
      </p:sp>
      <p:sp>
        <p:nvSpPr>
          <p:cNvPr id="20" name="TextBox 19">
            <a:extLst>
              <a:ext uri="{FF2B5EF4-FFF2-40B4-BE49-F238E27FC236}">
                <a16:creationId xmlns:a16="http://schemas.microsoft.com/office/drawing/2014/main" id="{41DBE938-19C0-D214-9A4D-75D01389A0CB}"/>
              </a:ext>
            </a:extLst>
          </p:cNvPr>
          <p:cNvSpPr txBox="1">
            <a:spLocks/>
          </p:cNvSpPr>
          <p:nvPr/>
        </p:nvSpPr>
        <p:spPr>
          <a:xfrm>
            <a:off x="1912540" y="2854109"/>
            <a:ext cx="3942759" cy="56618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We will mute your microphone for the first part of today’s call</a:t>
            </a:r>
          </a:p>
        </p:txBody>
      </p:sp>
      <p:sp>
        <p:nvSpPr>
          <p:cNvPr id="21" name="TextBox 20">
            <a:extLst>
              <a:ext uri="{FF2B5EF4-FFF2-40B4-BE49-F238E27FC236}">
                <a16:creationId xmlns:a16="http://schemas.microsoft.com/office/drawing/2014/main" id="{BCD81EA7-7991-77E7-66AB-B8D8A4AF070F}"/>
              </a:ext>
            </a:extLst>
          </p:cNvPr>
          <p:cNvSpPr txBox="1">
            <a:spLocks/>
          </p:cNvSpPr>
          <p:nvPr/>
        </p:nvSpPr>
        <p:spPr>
          <a:xfrm>
            <a:off x="1912540" y="4192307"/>
            <a:ext cx="3942759" cy="83099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Ask your questions via chat, we will get to all of them, live or after. Common questions will get addressed out loud</a:t>
            </a:r>
          </a:p>
        </p:txBody>
      </p:sp>
      <p:sp>
        <p:nvSpPr>
          <p:cNvPr id="49" name="Freeform: Shape 33">
            <a:extLst>
              <a:ext uri="{FF2B5EF4-FFF2-40B4-BE49-F238E27FC236}">
                <a16:creationId xmlns:a16="http://schemas.microsoft.com/office/drawing/2014/main" id="{BF28198C-504A-88FD-FD39-DE1C985ECDC1}"/>
              </a:ext>
              <a:ext uri="{C183D7F6-B498-43B3-948B-1728B52AA6E4}">
                <adec:decorative xmlns:adec="http://schemas.microsoft.com/office/drawing/2017/decorative" val="1"/>
              </a:ext>
            </a:extLst>
          </p:cNvPr>
          <p:cNvSpPr>
            <a:spLocks/>
          </p:cNvSpPr>
          <p:nvPr/>
        </p:nvSpPr>
        <p:spPr bwMode="auto">
          <a:xfrm>
            <a:off x="991548" y="2776094"/>
            <a:ext cx="722212" cy="7222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50" name="Freeform: Shape 33">
            <a:extLst>
              <a:ext uri="{FF2B5EF4-FFF2-40B4-BE49-F238E27FC236}">
                <a16:creationId xmlns:a16="http://schemas.microsoft.com/office/drawing/2014/main" id="{FB51A455-521C-093E-F316-844B8A4AA1DB}"/>
              </a:ext>
              <a:ext uri="{C183D7F6-B498-43B3-948B-1728B52AA6E4}">
                <adec:decorative xmlns:adec="http://schemas.microsoft.com/office/drawing/2017/decorative" val="1"/>
              </a:ext>
            </a:extLst>
          </p:cNvPr>
          <p:cNvSpPr>
            <a:spLocks/>
          </p:cNvSpPr>
          <p:nvPr/>
        </p:nvSpPr>
        <p:spPr bwMode="auto">
          <a:xfrm>
            <a:off x="991548" y="4246700"/>
            <a:ext cx="722212" cy="7222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54" name="Straight Connector 53">
            <a:extLst>
              <a:ext uri="{FF2B5EF4-FFF2-40B4-BE49-F238E27FC236}">
                <a16:creationId xmlns:a16="http://schemas.microsoft.com/office/drawing/2014/main" id="{C69511E7-2DAC-98A3-DF10-1B0FC7DC3F8B}"/>
              </a:ext>
            </a:extLst>
          </p:cNvPr>
          <p:cNvCxnSpPr>
            <a:cxnSpLocks/>
          </p:cNvCxnSpPr>
          <p:nvPr/>
        </p:nvCxnSpPr>
        <p:spPr>
          <a:xfrm>
            <a:off x="885682" y="3806300"/>
            <a:ext cx="486375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0" name="Rectangle: Rounded Corners 59">
            <a:extLst>
              <a:ext uri="{FF2B5EF4-FFF2-40B4-BE49-F238E27FC236}">
                <a16:creationId xmlns:a16="http://schemas.microsoft.com/office/drawing/2014/main" id="{DD53A37B-D48D-FE32-67CF-369AD824FC0D}"/>
              </a:ext>
              <a:ext uri="{C183D7F6-B498-43B3-948B-1728B52AA6E4}">
                <adec:decorative xmlns:adec="http://schemas.microsoft.com/office/drawing/2017/decorative" val="1"/>
              </a:ext>
            </a:extLst>
          </p:cNvPr>
          <p:cNvSpPr>
            <a:spLocks/>
          </p:cNvSpPr>
          <p:nvPr/>
        </p:nvSpPr>
        <p:spPr bwMode="auto">
          <a:xfrm>
            <a:off x="6145848" y="1332448"/>
            <a:ext cx="5463540" cy="4193105"/>
          </a:xfrm>
          <a:prstGeom prst="roundRect">
            <a:avLst>
              <a:gd name="adj" fmla="val 2140"/>
            </a:avLst>
          </a:prstGeom>
          <a:solidFill>
            <a:schemeClr val="bg1"/>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1" name="Rectangle: Rounded Corners 60">
            <a:extLst>
              <a:ext uri="{FF2B5EF4-FFF2-40B4-BE49-F238E27FC236}">
                <a16:creationId xmlns:a16="http://schemas.microsoft.com/office/drawing/2014/main" id="{51BB6117-4830-D7EC-CD40-A0FA3E7547DE}"/>
              </a:ext>
              <a:ext uri="{C183D7F6-B498-43B3-948B-1728B52AA6E4}">
                <adec:decorative xmlns:adec="http://schemas.microsoft.com/office/drawing/2017/decorative" val="1"/>
              </a:ext>
            </a:extLst>
          </p:cNvPr>
          <p:cNvSpPr>
            <a:spLocks/>
          </p:cNvSpPr>
          <p:nvPr/>
        </p:nvSpPr>
        <p:spPr bwMode="auto">
          <a:xfrm>
            <a:off x="6259841" y="2468101"/>
            <a:ext cx="5235554" cy="2941210"/>
          </a:xfrm>
          <a:prstGeom prst="roundRect">
            <a:avLst>
              <a:gd name="adj" fmla="val 29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62" name="Rectangle: Rounded Corners 61">
            <a:extLst>
              <a:ext uri="{FF2B5EF4-FFF2-40B4-BE49-F238E27FC236}">
                <a16:creationId xmlns:a16="http://schemas.microsoft.com/office/drawing/2014/main" id="{A52B5879-2D36-0F37-D2F2-442148D0B9AA}"/>
              </a:ext>
              <a:ext uri="{C183D7F6-B498-43B3-948B-1728B52AA6E4}">
                <adec:decorative xmlns:adec="http://schemas.microsoft.com/office/drawing/2017/decorative" val="1"/>
              </a:ext>
            </a:extLst>
          </p:cNvPr>
          <p:cNvSpPr>
            <a:spLocks/>
          </p:cNvSpPr>
          <p:nvPr/>
        </p:nvSpPr>
        <p:spPr bwMode="auto">
          <a:xfrm>
            <a:off x="6259841" y="1448692"/>
            <a:ext cx="5235554" cy="864832"/>
          </a:xfrm>
          <a:prstGeom prst="roundRect">
            <a:avLst>
              <a:gd name="adj" fmla="val 1238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l" defTabSz="77725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rPr>
              <a:t>After the presentation</a:t>
            </a:r>
          </a:p>
        </p:txBody>
      </p:sp>
      <p:sp>
        <p:nvSpPr>
          <p:cNvPr id="63" name="TextBox 62">
            <a:extLst>
              <a:ext uri="{FF2B5EF4-FFF2-40B4-BE49-F238E27FC236}">
                <a16:creationId xmlns:a16="http://schemas.microsoft.com/office/drawing/2014/main" id="{11BC63DC-8D9B-65FC-F645-EBAC71CDC500}"/>
              </a:ext>
            </a:extLst>
          </p:cNvPr>
          <p:cNvSpPr txBox="1">
            <a:spLocks/>
          </p:cNvSpPr>
          <p:nvPr/>
        </p:nvSpPr>
        <p:spPr>
          <a:xfrm>
            <a:off x="7472601" y="2860201"/>
            <a:ext cx="394275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Raise your hand and we will</a:t>
            </a:r>
            <a:b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b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call on you</a:t>
            </a:r>
          </a:p>
        </p:txBody>
      </p:sp>
      <p:sp>
        <p:nvSpPr>
          <p:cNvPr id="64" name="TextBox 63">
            <a:extLst>
              <a:ext uri="{FF2B5EF4-FFF2-40B4-BE49-F238E27FC236}">
                <a16:creationId xmlns:a16="http://schemas.microsoft.com/office/drawing/2014/main" id="{503FA75B-7E35-8B41-7189-46A1BE5288F0}"/>
              </a:ext>
            </a:extLst>
          </p:cNvPr>
          <p:cNvSpPr txBox="1">
            <a:spLocks/>
          </p:cNvSpPr>
          <p:nvPr/>
        </p:nvSpPr>
        <p:spPr>
          <a:xfrm>
            <a:off x="7472601" y="4330807"/>
            <a:ext cx="3942759" cy="55399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Open mic 🙌 Come off mute and </a:t>
            </a:r>
            <a:b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br>
            <a:r>
              <a:rPr kumimoji="0" lang="en-US" sz="1800" b="0" i="0" u="none" strike="noStrike" kern="1200" cap="none" spc="0" normalizeH="0" baseline="0" noProof="0">
                <a:ln>
                  <a:noFill/>
                </a:ln>
                <a:solidFill>
                  <a:srgbClr val="000000"/>
                </a:solidFill>
                <a:effectLst/>
                <a:uLnTx/>
                <a:uFillTx/>
                <a:latin typeface="Segoe UI"/>
                <a:ea typeface="+mn-ea"/>
                <a:cs typeface="Segoe UI Light" panose="020B0502040204020203" pitchFamily="34" charset="0"/>
              </a:rPr>
              <a:t>ask away!</a:t>
            </a:r>
          </a:p>
        </p:txBody>
      </p:sp>
      <p:sp>
        <p:nvSpPr>
          <p:cNvPr id="65" name="Freeform: Shape 33">
            <a:extLst>
              <a:ext uri="{FF2B5EF4-FFF2-40B4-BE49-F238E27FC236}">
                <a16:creationId xmlns:a16="http://schemas.microsoft.com/office/drawing/2014/main" id="{8579F29A-849A-392F-08B9-F0D119C28FC9}"/>
              </a:ext>
              <a:ext uri="{C183D7F6-B498-43B3-948B-1728B52AA6E4}">
                <adec:decorative xmlns:adec="http://schemas.microsoft.com/office/drawing/2017/decorative" val="1"/>
              </a:ext>
            </a:extLst>
          </p:cNvPr>
          <p:cNvSpPr>
            <a:spLocks/>
          </p:cNvSpPr>
          <p:nvPr/>
        </p:nvSpPr>
        <p:spPr bwMode="auto">
          <a:xfrm>
            <a:off x="6551609" y="2776094"/>
            <a:ext cx="722212" cy="7222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6" name="Freeform: Shape 33">
            <a:extLst>
              <a:ext uri="{FF2B5EF4-FFF2-40B4-BE49-F238E27FC236}">
                <a16:creationId xmlns:a16="http://schemas.microsoft.com/office/drawing/2014/main" id="{C6EFB1A3-D3FC-28C5-9168-778C220C12D5}"/>
              </a:ext>
              <a:ext uri="{C183D7F6-B498-43B3-948B-1728B52AA6E4}">
                <adec:decorative xmlns:adec="http://schemas.microsoft.com/office/drawing/2017/decorative" val="1"/>
              </a:ext>
            </a:extLst>
          </p:cNvPr>
          <p:cNvSpPr>
            <a:spLocks/>
          </p:cNvSpPr>
          <p:nvPr/>
        </p:nvSpPr>
        <p:spPr bwMode="auto">
          <a:xfrm>
            <a:off x="6551609" y="4246700"/>
            <a:ext cx="722212" cy="7222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68" name="Straight Connector 67">
            <a:extLst>
              <a:ext uri="{FF2B5EF4-FFF2-40B4-BE49-F238E27FC236}">
                <a16:creationId xmlns:a16="http://schemas.microsoft.com/office/drawing/2014/main" id="{A19929C3-1533-6D8E-0424-35064806D5C7}"/>
              </a:ext>
            </a:extLst>
          </p:cNvPr>
          <p:cNvCxnSpPr>
            <a:cxnSpLocks/>
          </p:cNvCxnSpPr>
          <p:nvPr/>
        </p:nvCxnSpPr>
        <p:spPr>
          <a:xfrm>
            <a:off x="6445743" y="3806300"/>
            <a:ext cx="4863751" cy="0"/>
          </a:xfrm>
          <a:prstGeom prst="line">
            <a:avLst/>
          </a:prstGeom>
          <a:ln w="63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5" name="Graphic 73">
            <a:extLst>
              <a:ext uri="{FF2B5EF4-FFF2-40B4-BE49-F238E27FC236}">
                <a16:creationId xmlns:a16="http://schemas.microsoft.com/office/drawing/2014/main" id="{ABBAD305-2D44-8FBF-A4BC-D584DE0F0EBA}"/>
              </a:ext>
            </a:extLst>
          </p:cNvPr>
          <p:cNvSpPr/>
          <p:nvPr/>
        </p:nvSpPr>
        <p:spPr>
          <a:xfrm>
            <a:off x="1177789" y="2962335"/>
            <a:ext cx="349234" cy="349401"/>
          </a:xfrm>
          <a:custGeom>
            <a:avLst/>
            <a:gdLst>
              <a:gd name="connsiteX0" fmla="*/ 22668 w 349234"/>
              <a:gd name="connsiteY0" fmla="*/ 4166 h 349401"/>
              <a:gd name="connsiteX1" fmla="*/ 4166 w 349234"/>
              <a:gd name="connsiteY1" fmla="*/ 3513 h 349401"/>
              <a:gd name="connsiteX2" fmla="*/ 3513 w 349234"/>
              <a:gd name="connsiteY2" fmla="*/ 22014 h 349401"/>
              <a:gd name="connsiteX3" fmla="*/ 4166 w 349234"/>
              <a:gd name="connsiteY3" fmla="*/ 22668 h 349401"/>
              <a:gd name="connsiteX4" fmla="*/ 105050 w 349234"/>
              <a:gd name="connsiteY4" fmla="*/ 123551 h 349401"/>
              <a:gd name="connsiteX5" fmla="*/ 105050 w 349234"/>
              <a:gd name="connsiteY5" fmla="*/ 174865 h 349401"/>
              <a:gd name="connsiteX6" fmla="*/ 174856 w 349234"/>
              <a:gd name="connsiteY6" fmla="*/ 244689 h 349401"/>
              <a:gd name="connsiteX7" fmla="*/ 214101 w 349234"/>
              <a:gd name="connsiteY7" fmla="*/ 232620 h 349401"/>
              <a:gd name="connsiteX8" fmla="*/ 234103 w 349234"/>
              <a:gd name="connsiteY8" fmla="*/ 252622 h 349401"/>
              <a:gd name="connsiteX9" fmla="*/ 179228 w 349234"/>
              <a:gd name="connsiteY9" fmla="*/ 270861 h 349401"/>
              <a:gd name="connsiteX10" fmla="*/ 170501 w 349234"/>
              <a:gd name="connsiteY10" fmla="*/ 270861 h 349401"/>
              <a:gd name="connsiteX11" fmla="*/ 166731 w 349234"/>
              <a:gd name="connsiteY11" fmla="*/ 270791 h 349401"/>
              <a:gd name="connsiteX12" fmla="*/ 78869 w 349234"/>
              <a:gd name="connsiteY12" fmla="*/ 179228 h 349401"/>
              <a:gd name="connsiteX13" fmla="*/ 78869 w 349234"/>
              <a:gd name="connsiteY13" fmla="*/ 170501 h 349401"/>
              <a:gd name="connsiteX14" fmla="*/ 78747 w 349234"/>
              <a:gd name="connsiteY14" fmla="*/ 168721 h 349401"/>
              <a:gd name="connsiteX15" fmla="*/ 63994 w 349234"/>
              <a:gd name="connsiteY15" fmla="*/ 157537 h 349401"/>
              <a:gd name="connsiteX16" fmla="*/ 52688 w 349234"/>
              <a:gd name="connsiteY16" fmla="*/ 170501 h 349401"/>
              <a:gd name="connsiteX17" fmla="*/ 52688 w 349234"/>
              <a:gd name="connsiteY17" fmla="*/ 179228 h 349401"/>
              <a:gd name="connsiteX18" fmla="*/ 52758 w 349234"/>
              <a:gd name="connsiteY18" fmla="*/ 183348 h 349401"/>
              <a:gd name="connsiteX19" fmla="*/ 161775 w 349234"/>
              <a:gd name="connsiteY19" fmla="*/ 296728 h 349401"/>
              <a:gd name="connsiteX20" fmla="*/ 161775 w 349234"/>
              <a:gd name="connsiteY20" fmla="*/ 336313 h 349401"/>
              <a:gd name="connsiteX21" fmla="*/ 161897 w 349234"/>
              <a:gd name="connsiteY21" fmla="*/ 338093 h 349401"/>
              <a:gd name="connsiteX22" fmla="*/ 176649 w 349234"/>
              <a:gd name="connsiteY22" fmla="*/ 349278 h 349401"/>
              <a:gd name="connsiteX23" fmla="*/ 187955 w 349234"/>
              <a:gd name="connsiteY23" fmla="*/ 336313 h 349401"/>
              <a:gd name="connsiteX24" fmla="*/ 187973 w 349234"/>
              <a:gd name="connsiteY24" fmla="*/ 296728 h 349401"/>
              <a:gd name="connsiteX25" fmla="*/ 252761 w 349234"/>
              <a:gd name="connsiteY25" fmla="*/ 271280 h 349401"/>
              <a:gd name="connsiteX26" fmla="*/ 327045 w 349234"/>
              <a:gd name="connsiteY26" fmla="*/ 345563 h 349401"/>
              <a:gd name="connsiteX27" fmla="*/ 345555 w 349234"/>
              <a:gd name="connsiteY27" fmla="*/ 345251 h 349401"/>
              <a:gd name="connsiteX28" fmla="*/ 345563 w 349234"/>
              <a:gd name="connsiteY28" fmla="*/ 327062 h 349401"/>
              <a:gd name="connsiteX29" fmla="*/ 22668 w 349234"/>
              <a:gd name="connsiteY29" fmla="*/ 4166 h 349401"/>
              <a:gd name="connsiteX30" fmla="*/ 265555 w 349234"/>
              <a:gd name="connsiteY30" fmla="*/ 210017 h 349401"/>
              <a:gd name="connsiteX31" fmla="*/ 285557 w 349234"/>
              <a:gd name="connsiteY31" fmla="*/ 230019 h 349401"/>
              <a:gd name="connsiteX32" fmla="*/ 297042 w 349234"/>
              <a:gd name="connsiteY32" fmla="*/ 179228 h 349401"/>
              <a:gd name="connsiteX33" fmla="*/ 297042 w 349234"/>
              <a:gd name="connsiteY33" fmla="*/ 170501 h 349401"/>
              <a:gd name="connsiteX34" fmla="*/ 296920 w 349234"/>
              <a:gd name="connsiteY34" fmla="*/ 168721 h 349401"/>
              <a:gd name="connsiteX35" fmla="*/ 282168 w 349234"/>
              <a:gd name="connsiteY35" fmla="*/ 157537 h 349401"/>
              <a:gd name="connsiteX36" fmla="*/ 270861 w 349234"/>
              <a:gd name="connsiteY36" fmla="*/ 170501 h 349401"/>
              <a:gd name="connsiteX37" fmla="*/ 270861 w 349234"/>
              <a:gd name="connsiteY37" fmla="*/ 179228 h 349401"/>
              <a:gd name="connsiteX38" fmla="*/ 270791 w 349234"/>
              <a:gd name="connsiteY38" fmla="*/ 182998 h 349401"/>
              <a:gd name="connsiteX39" fmla="*/ 265555 w 349234"/>
              <a:gd name="connsiteY39" fmla="*/ 210017 h 349401"/>
              <a:gd name="connsiteX40" fmla="*/ 107458 w 349234"/>
              <a:gd name="connsiteY40" fmla="*/ 51920 h 349401"/>
              <a:gd name="connsiteX41" fmla="*/ 243459 w 349234"/>
              <a:gd name="connsiteY41" fmla="*/ 187920 h 349401"/>
              <a:gd name="connsiteX42" fmla="*/ 244680 w 349234"/>
              <a:gd name="connsiteY42" fmla="*/ 174865 h 349401"/>
              <a:gd name="connsiteX43" fmla="*/ 244680 w 349234"/>
              <a:gd name="connsiteY43" fmla="*/ 70142 h 349401"/>
              <a:gd name="connsiteX44" fmla="*/ 174907 w 349234"/>
              <a:gd name="connsiteY44" fmla="*/ 285 h 349401"/>
              <a:gd name="connsiteX45" fmla="*/ 107458 w 349234"/>
              <a:gd name="connsiteY45" fmla="*/ 51920 h 3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9234" h="349401">
                <a:moveTo>
                  <a:pt x="22668" y="4166"/>
                </a:moveTo>
                <a:cubicBezTo>
                  <a:pt x="17739" y="-1123"/>
                  <a:pt x="9456" y="-1415"/>
                  <a:pt x="4166" y="3513"/>
                </a:cubicBezTo>
                <a:cubicBezTo>
                  <a:pt x="-1123" y="8442"/>
                  <a:pt x="-1415" y="16725"/>
                  <a:pt x="3513" y="22014"/>
                </a:cubicBezTo>
                <a:cubicBezTo>
                  <a:pt x="3723" y="22240"/>
                  <a:pt x="3941" y="22458"/>
                  <a:pt x="4166" y="22668"/>
                </a:cubicBezTo>
                <a:lnTo>
                  <a:pt x="105050" y="123551"/>
                </a:lnTo>
                <a:lnTo>
                  <a:pt x="105050" y="174865"/>
                </a:lnTo>
                <a:cubicBezTo>
                  <a:pt x="105045" y="213422"/>
                  <a:pt x="136299" y="244684"/>
                  <a:pt x="174856" y="244689"/>
                </a:cubicBezTo>
                <a:cubicBezTo>
                  <a:pt x="188852" y="244689"/>
                  <a:pt x="202526" y="240484"/>
                  <a:pt x="214101" y="232620"/>
                </a:cubicBezTo>
                <a:lnTo>
                  <a:pt x="234103" y="252622"/>
                </a:lnTo>
                <a:cubicBezTo>
                  <a:pt x="218273" y="264490"/>
                  <a:pt x="199014" y="270892"/>
                  <a:pt x="179228" y="270861"/>
                </a:cubicBezTo>
                <a:lnTo>
                  <a:pt x="170501" y="270861"/>
                </a:lnTo>
                <a:lnTo>
                  <a:pt x="166731" y="270791"/>
                </a:lnTo>
                <a:cubicBezTo>
                  <a:pt x="117629" y="268770"/>
                  <a:pt x="78865" y="228371"/>
                  <a:pt x="78869" y="179228"/>
                </a:cubicBezTo>
                <a:lnTo>
                  <a:pt x="78869" y="170501"/>
                </a:lnTo>
                <a:lnTo>
                  <a:pt x="78747" y="168721"/>
                </a:lnTo>
                <a:cubicBezTo>
                  <a:pt x="77761" y="161560"/>
                  <a:pt x="71156" y="156552"/>
                  <a:pt x="63994" y="157537"/>
                </a:cubicBezTo>
                <a:cubicBezTo>
                  <a:pt x="57517" y="158429"/>
                  <a:pt x="52690" y="163963"/>
                  <a:pt x="52688" y="170501"/>
                </a:cubicBezTo>
                <a:lnTo>
                  <a:pt x="52688" y="179228"/>
                </a:lnTo>
                <a:lnTo>
                  <a:pt x="52758" y="183348"/>
                </a:lnTo>
                <a:cubicBezTo>
                  <a:pt x="54855" y="243417"/>
                  <a:pt x="101834" y="292277"/>
                  <a:pt x="161775" y="296728"/>
                </a:cubicBezTo>
                <a:lnTo>
                  <a:pt x="161775" y="336313"/>
                </a:lnTo>
                <a:lnTo>
                  <a:pt x="161897" y="338093"/>
                </a:lnTo>
                <a:cubicBezTo>
                  <a:pt x="162883" y="345255"/>
                  <a:pt x="169487" y="350262"/>
                  <a:pt x="176649" y="349278"/>
                </a:cubicBezTo>
                <a:cubicBezTo>
                  <a:pt x="183128" y="348386"/>
                  <a:pt x="187954" y="342851"/>
                  <a:pt x="187955" y="336313"/>
                </a:cubicBezTo>
                <a:lnTo>
                  <a:pt x="187973" y="296728"/>
                </a:lnTo>
                <a:cubicBezTo>
                  <a:pt x="211647" y="294998"/>
                  <a:pt x="234239" y="286124"/>
                  <a:pt x="252761" y="271280"/>
                </a:cubicBezTo>
                <a:lnTo>
                  <a:pt x="327045" y="345563"/>
                </a:lnTo>
                <a:cubicBezTo>
                  <a:pt x="332243" y="350588"/>
                  <a:pt x="340530" y="350449"/>
                  <a:pt x="345555" y="345251"/>
                </a:cubicBezTo>
                <a:cubicBezTo>
                  <a:pt x="350457" y="340181"/>
                  <a:pt x="350461" y="332138"/>
                  <a:pt x="345563" y="327062"/>
                </a:cubicBezTo>
                <a:lnTo>
                  <a:pt x="22668" y="4166"/>
                </a:lnTo>
                <a:close/>
                <a:moveTo>
                  <a:pt x="265555" y="210017"/>
                </a:moveTo>
                <a:lnTo>
                  <a:pt x="285557" y="230019"/>
                </a:lnTo>
                <a:cubicBezTo>
                  <a:pt x="293139" y="214162"/>
                  <a:pt x="297064" y="196804"/>
                  <a:pt x="297042" y="179228"/>
                </a:cubicBezTo>
                <a:lnTo>
                  <a:pt x="297042" y="170501"/>
                </a:lnTo>
                <a:lnTo>
                  <a:pt x="296920" y="168721"/>
                </a:lnTo>
                <a:cubicBezTo>
                  <a:pt x="295933" y="161560"/>
                  <a:pt x="289329" y="156552"/>
                  <a:pt x="282168" y="157537"/>
                </a:cubicBezTo>
                <a:cubicBezTo>
                  <a:pt x="275689" y="158429"/>
                  <a:pt x="270863" y="163963"/>
                  <a:pt x="270861" y="170501"/>
                </a:cubicBezTo>
                <a:lnTo>
                  <a:pt x="270861" y="179228"/>
                </a:lnTo>
                <a:lnTo>
                  <a:pt x="270791" y="182998"/>
                </a:lnTo>
                <a:cubicBezTo>
                  <a:pt x="270421" y="192218"/>
                  <a:pt x="268655" y="201327"/>
                  <a:pt x="265555" y="210017"/>
                </a:cubicBezTo>
                <a:close/>
                <a:moveTo>
                  <a:pt x="107458" y="51920"/>
                </a:moveTo>
                <a:lnTo>
                  <a:pt x="243459" y="187920"/>
                </a:lnTo>
                <a:cubicBezTo>
                  <a:pt x="244261" y="183697"/>
                  <a:pt x="244680" y="179333"/>
                  <a:pt x="244680" y="174865"/>
                </a:cubicBezTo>
                <a:lnTo>
                  <a:pt x="244680" y="70142"/>
                </a:lnTo>
                <a:cubicBezTo>
                  <a:pt x="244703" y="31584"/>
                  <a:pt x="213464" y="308"/>
                  <a:pt x="174907" y="285"/>
                </a:cubicBezTo>
                <a:cubicBezTo>
                  <a:pt x="143335" y="266"/>
                  <a:pt x="115680" y="21438"/>
                  <a:pt x="107458" y="5192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86" name="Graphic 82">
            <a:extLst>
              <a:ext uri="{FF2B5EF4-FFF2-40B4-BE49-F238E27FC236}">
                <a16:creationId xmlns:a16="http://schemas.microsoft.com/office/drawing/2014/main" id="{BBC2DCBA-0942-6787-9A33-597644F918E6}"/>
              </a:ext>
            </a:extLst>
          </p:cNvPr>
          <p:cNvSpPr/>
          <p:nvPr/>
        </p:nvSpPr>
        <p:spPr>
          <a:xfrm>
            <a:off x="1178077" y="4450721"/>
            <a:ext cx="350252" cy="314234"/>
          </a:xfrm>
          <a:custGeom>
            <a:avLst/>
            <a:gdLst>
              <a:gd name="connsiteX0" fmla="*/ 130942 w 350252"/>
              <a:gd name="connsiteY0" fmla="*/ 0 h 314234"/>
              <a:gd name="connsiteX1" fmla="*/ 0 w 350252"/>
              <a:gd name="connsiteY1" fmla="*/ 130865 h 314234"/>
              <a:gd name="connsiteX2" fmla="*/ 12308 w 350252"/>
              <a:gd name="connsiteY2" fmla="*/ 186320 h 314234"/>
              <a:gd name="connsiteX3" fmla="*/ 422 w 350252"/>
              <a:gd name="connsiteY3" fmla="*/ 241160 h 314234"/>
              <a:gd name="connsiteX4" fmla="*/ 14181 w 350252"/>
              <a:gd name="connsiteY4" fmla="*/ 261533 h 314234"/>
              <a:gd name="connsiteX5" fmla="*/ 20546 w 350252"/>
              <a:gd name="connsiteY5" fmla="*/ 261581 h 314234"/>
              <a:gd name="connsiteX6" fmla="*/ 77027 w 350252"/>
              <a:gd name="connsiteY6" fmla="*/ 250236 h 314234"/>
              <a:gd name="connsiteX7" fmla="*/ 250171 w 350252"/>
              <a:gd name="connsiteY7" fmla="*/ 184716 h 314234"/>
              <a:gd name="connsiteX8" fmla="*/ 184651 w 350252"/>
              <a:gd name="connsiteY8" fmla="*/ 11572 h 314234"/>
              <a:gd name="connsiteX9" fmla="*/ 130942 w 350252"/>
              <a:gd name="connsiteY9" fmla="*/ 0 h 314234"/>
              <a:gd name="connsiteX10" fmla="*/ 130279 w 350252"/>
              <a:gd name="connsiteY10" fmla="*/ 279261 h 314234"/>
              <a:gd name="connsiteX11" fmla="*/ 219293 w 350252"/>
              <a:gd name="connsiteY11" fmla="*/ 314169 h 314234"/>
              <a:gd name="connsiteX12" fmla="*/ 273191 w 350252"/>
              <a:gd name="connsiteY12" fmla="*/ 302597 h 314234"/>
              <a:gd name="connsiteX13" fmla="*/ 324034 w 350252"/>
              <a:gd name="connsiteY13" fmla="*/ 313768 h 314234"/>
              <a:gd name="connsiteX14" fmla="*/ 349743 w 350252"/>
              <a:gd name="connsiteY14" fmla="*/ 296977 h 314234"/>
              <a:gd name="connsiteX15" fmla="*/ 349639 w 350252"/>
              <a:gd name="connsiteY15" fmla="*/ 287587 h 314234"/>
              <a:gd name="connsiteX16" fmla="*/ 337927 w 350252"/>
              <a:gd name="connsiteY16" fmla="*/ 238664 h 314234"/>
              <a:gd name="connsiteX17" fmla="*/ 274660 w 350252"/>
              <a:gd name="connsiteY17" fmla="*/ 64605 h 314234"/>
              <a:gd name="connsiteX18" fmla="*/ 262108 w 350252"/>
              <a:gd name="connsiteY18" fmla="*/ 59518 h 314234"/>
              <a:gd name="connsiteX19" fmla="*/ 276071 w 350252"/>
              <a:gd name="connsiteY19" fmla="*/ 95263 h 314234"/>
              <a:gd name="connsiteX20" fmla="*/ 324016 w 350252"/>
              <a:gd name="connsiteY20" fmla="*/ 183265 h 314234"/>
              <a:gd name="connsiteX21" fmla="*/ 312409 w 350252"/>
              <a:gd name="connsiteY21" fmla="*/ 231211 h 314234"/>
              <a:gd name="connsiteX22" fmla="*/ 310141 w 350252"/>
              <a:gd name="connsiteY22" fmla="*/ 235627 h 314234"/>
              <a:gd name="connsiteX23" fmla="*/ 311362 w 350252"/>
              <a:gd name="connsiteY23" fmla="*/ 240444 h 314234"/>
              <a:gd name="connsiteX24" fmla="*/ 322568 w 350252"/>
              <a:gd name="connsiteY24" fmla="*/ 286697 h 314234"/>
              <a:gd name="connsiteX25" fmla="*/ 274744 w 350252"/>
              <a:gd name="connsiteY25" fmla="*/ 276050 h 314234"/>
              <a:gd name="connsiteX26" fmla="*/ 270136 w 350252"/>
              <a:gd name="connsiteY26" fmla="*/ 274968 h 314234"/>
              <a:gd name="connsiteX27" fmla="*/ 265895 w 350252"/>
              <a:gd name="connsiteY27" fmla="*/ 277080 h 314234"/>
              <a:gd name="connsiteX28" fmla="*/ 219293 w 350252"/>
              <a:gd name="connsiteY28" fmla="*/ 287988 h 314234"/>
              <a:gd name="connsiteX29" fmla="*/ 168328 w 350252"/>
              <a:gd name="connsiteY29" fmla="*/ 274793 h 314234"/>
              <a:gd name="connsiteX30" fmla="*/ 130279 w 350252"/>
              <a:gd name="connsiteY30" fmla="*/ 279261 h 31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50252" h="314234">
                <a:moveTo>
                  <a:pt x="130942" y="0"/>
                </a:moveTo>
                <a:cubicBezTo>
                  <a:pt x="58646" y="-21"/>
                  <a:pt x="21" y="58569"/>
                  <a:pt x="0" y="130865"/>
                </a:cubicBezTo>
                <a:cubicBezTo>
                  <a:pt x="-6" y="150028"/>
                  <a:pt x="4196" y="168958"/>
                  <a:pt x="12308" y="186320"/>
                </a:cubicBezTo>
                <a:cubicBezTo>
                  <a:pt x="7915" y="204503"/>
                  <a:pt x="3952" y="222789"/>
                  <a:pt x="422" y="241160"/>
                </a:cubicBezTo>
                <a:cubicBezTo>
                  <a:pt x="-1405" y="250585"/>
                  <a:pt x="4755" y="259708"/>
                  <a:pt x="14181" y="261533"/>
                </a:cubicBezTo>
                <a:cubicBezTo>
                  <a:pt x="16282" y="261942"/>
                  <a:pt x="18440" y="261958"/>
                  <a:pt x="20546" y="261581"/>
                </a:cubicBezTo>
                <a:cubicBezTo>
                  <a:pt x="31420" y="259661"/>
                  <a:pt x="55070" y="255297"/>
                  <a:pt x="77027" y="250236"/>
                </a:cubicBezTo>
                <a:cubicBezTo>
                  <a:pt x="142933" y="279954"/>
                  <a:pt x="220450" y="250621"/>
                  <a:pt x="250171" y="184716"/>
                </a:cubicBezTo>
                <a:cubicBezTo>
                  <a:pt x="279890" y="118810"/>
                  <a:pt x="250555" y="41291"/>
                  <a:pt x="184651" y="11572"/>
                </a:cubicBezTo>
                <a:cubicBezTo>
                  <a:pt x="167768" y="3959"/>
                  <a:pt x="149462" y="15"/>
                  <a:pt x="130942" y="0"/>
                </a:cubicBezTo>
                <a:close/>
                <a:moveTo>
                  <a:pt x="130279" y="279261"/>
                </a:moveTo>
                <a:cubicBezTo>
                  <a:pt x="154463" y="301745"/>
                  <a:pt x="186272" y="314220"/>
                  <a:pt x="219293" y="314169"/>
                </a:cubicBezTo>
                <a:cubicBezTo>
                  <a:pt x="238493" y="314169"/>
                  <a:pt x="256732" y="310032"/>
                  <a:pt x="273191" y="302597"/>
                </a:cubicBezTo>
                <a:cubicBezTo>
                  <a:pt x="291395" y="306856"/>
                  <a:pt x="311345" y="311115"/>
                  <a:pt x="324034" y="313768"/>
                </a:cubicBezTo>
                <a:cubicBezTo>
                  <a:pt x="335770" y="316230"/>
                  <a:pt x="347281" y="308713"/>
                  <a:pt x="349743" y="296977"/>
                </a:cubicBezTo>
                <a:cubicBezTo>
                  <a:pt x="350394" y="293877"/>
                  <a:pt x="350358" y="290673"/>
                  <a:pt x="349639" y="287587"/>
                </a:cubicBezTo>
                <a:cubicBezTo>
                  <a:pt x="346811" y="275317"/>
                  <a:pt x="342343" y="256257"/>
                  <a:pt x="337927" y="238664"/>
                </a:cubicBezTo>
                <a:cubicBezTo>
                  <a:pt x="368522" y="173128"/>
                  <a:pt x="340196" y="95200"/>
                  <a:pt x="274660" y="64605"/>
                </a:cubicBezTo>
                <a:cubicBezTo>
                  <a:pt x="270567" y="62694"/>
                  <a:pt x="266377" y="60996"/>
                  <a:pt x="262108" y="59518"/>
                </a:cubicBezTo>
                <a:cubicBezTo>
                  <a:pt x="268300" y="70773"/>
                  <a:pt x="272995" y="82790"/>
                  <a:pt x="276071" y="95263"/>
                </a:cubicBezTo>
                <a:cubicBezTo>
                  <a:pt x="305974" y="114538"/>
                  <a:pt x="324036" y="147687"/>
                  <a:pt x="324016" y="183265"/>
                </a:cubicBezTo>
                <a:cubicBezTo>
                  <a:pt x="324016" y="200579"/>
                  <a:pt x="319827" y="216864"/>
                  <a:pt x="312409" y="231211"/>
                </a:cubicBezTo>
                <a:lnTo>
                  <a:pt x="310141" y="235627"/>
                </a:lnTo>
                <a:lnTo>
                  <a:pt x="311362" y="240444"/>
                </a:lnTo>
                <a:cubicBezTo>
                  <a:pt x="315342" y="256065"/>
                  <a:pt x="319513" y="273606"/>
                  <a:pt x="322568" y="286697"/>
                </a:cubicBezTo>
                <a:cubicBezTo>
                  <a:pt x="309058" y="283852"/>
                  <a:pt x="290837" y="279890"/>
                  <a:pt x="274744" y="276050"/>
                </a:cubicBezTo>
                <a:lnTo>
                  <a:pt x="270136" y="274968"/>
                </a:lnTo>
                <a:lnTo>
                  <a:pt x="265895" y="277080"/>
                </a:lnTo>
                <a:cubicBezTo>
                  <a:pt x="251862" y="284061"/>
                  <a:pt x="236049" y="287988"/>
                  <a:pt x="219293" y="287988"/>
                </a:cubicBezTo>
                <a:cubicBezTo>
                  <a:pt x="201455" y="288021"/>
                  <a:pt x="183907" y="283478"/>
                  <a:pt x="168328" y="274793"/>
                </a:cubicBezTo>
                <a:cubicBezTo>
                  <a:pt x="155891" y="277917"/>
                  <a:pt x="143102" y="279420"/>
                  <a:pt x="130279" y="279261"/>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84" name="Graphic 80">
            <a:extLst>
              <a:ext uri="{FF2B5EF4-FFF2-40B4-BE49-F238E27FC236}">
                <a16:creationId xmlns:a16="http://schemas.microsoft.com/office/drawing/2014/main" id="{D1FF5E11-438F-3957-EEBB-995B1024CE30}"/>
              </a:ext>
            </a:extLst>
          </p:cNvPr>
          <p:cNvSpPr/>
          <p:nvPr/>
        </p:nvSpPr>
        <p:spPr>
          <a:xfrm>
            <a:off x="6790537" y="2962609"/>
            <a:ext cx="279261" cy="349163"/>
          </a:xfrm>
          <a:custGeom>
            <a:avLst/>
            <a:gdLst>
              <a:gd name="connsiteX0" fmla="*/ 87269 w 279261"/>
              <a:gd name="connsiteY0" fmla="*/ 39323 h 349163"/>
              <a:gd name="connsiteX1" fmla="*/ 69815 w 279261"/>
              <a:gd name="connsiteY1" fmla="*/ 21870 h 349163"/>
              <a:gd name="connsiteX2" fmla="*/ 52362 w 279261"/>
              <a:gd name="connsiteY2" fmla="*/ 39323 h 349163"/>
              <a:gd name="connsiteX3" fmla="*/ 52362 w 279261"/>
              <a:gd name="connsiteY3" fmla="*/ 157102 h 349163"/>
              <a:gd name="connsiteX4" fmla="*/ 43635 w 279261"/>
              <a:gd name="connsiteY4" fmla="*/ 165829 h 349163"/>
              <a:gd name="connsiteX5" fmla="*/ 34908 w 279261"/>
              <a:gd name="connsiteY5" fmla="*/ 157102 h 349163"/>
              <a:gd name="connsiteX6" fmla="*/ 34908 w 279261"/>
              <a:gd name="connsiteY6" fmla="*/ 69833 h 349163"/>
              <a:gd name="connsiteX7" fmla="*/ 17454 w 279261"/>
              <a:gd name="connsiteY7" fmla="*/ 52379 h 349163"/>
              <a:gd name="connsiteX8" fmla="*/ 0 w 279261"/>
              <a:gd name="connsiteY8" fmla="*/ 69833 h 349163"/>
              <a:gd name="connsiteX9" fmla="*/ 0 w 279261"/>
              <a:gd name="connsiteY9" fmla="*/ 222659 h 349163"/>
              <a:gd name="connsiteX10" fmla="*/ 33407 w 279261"/>
              <a:gd name="connsiteY10" fmla="*/ 323699 h 349163"/>
              <a:gd name="connsiteX11" fmla="*/ 79188 w 279261"/>
              <a:gd name="connsiteY11" fmla="*/ 349164 h 349163"/>
              <a:gd name="connsiteX12" fmla="*/ 117028 w 279261"/>
              <a:gd name="connsiteY12" fmla="*/ 349164 h 349163"/>
              <a:gd name="connsiteX13" fmla="*/ 167766 w 279261"/>
              <a:gd name="connsiteY13" fmla="*/ 317799 h 349163"/>
              <a:gd name="connsiteX14" fmla="*/ 170088 w 279261"/>
              <a:gd name="connsiteY14" fmla="*/ 313139 h 349163"/>
              <a:gd name="connsiteX15" fmla="*/ 197350 w 279261"/>
              <a:gd name="connsiteY15" fmla="*/ 272315 h 349163"/>
              <a:gd name="connsiteX16" fmla="*/ 235958 w 279261"/>
              <a:gd name="connsiteY16" fmla="*/ 227773 h 349163"/>
              <a:gd name="connsiteX17" fmla="*/ 274217 w 279261"/>
              <a:gd name="connsiteY17" fmla="*/ 198014 h 349163"/>
              <a:gd name="connsiteX18" fmla="*/ 279261 w 279261"/>
              <a:gd name="connsiteY18" fmla="*/ 187681 h 349163"/>
              <a:gd name="connsiteX19" fmla="*/ 268929 w 279261"/>
              <a:gd name="connsiteY19" fmla="*/ 169180 h 349163"/>
              <a:gd name="connsiteX20" fmla="*/ 252138 w 279261"/>
              <a:gd name="connsiteY20" fmla="*/ 163769 h 349163"/>
              <a:gd name="connsiteX21" fmla="*/ 215677 w 279261"/>
              <a:gd name="connsiteY21" fmla="*/ 166108 h 349163"/>
              <a:gd name="connsiteX22" fmla="*/ 191992 w 279261"/>
              <a:gd name="connsiteY22" fmla="*/ 174905 h 349163"/>
              <a:gd name="connsiteX23" fmla="*/ 191992 w 279261"/>
              <a:gd name="connsiteY23" fmla="*/ 39323 h 349163"/>
              <a:gd name="connsiteX24" fmla="*/ 174538 w 279261"/>
              <a:gd name="connsiteY24" fmla="*/ 21870 h 349163"/>
              <a:gd name="connsiteX25" fmla="*/ 157085 w 279261"/>
              <a:gd name="connsiteY25" fmla="*/ 39323 h 349163"/>
              <a:gd name="connsiteX26" fmla="*/ 157085 w 279261"/>
              <a:gd name="connsiteY26" fmla="*/ 148410 h 349163"/>
              <a:gd name="connsiteX27" fmla="*/ 148358 w 279261"/>
              <a:gd name="connsiteY27" fmla="*/ 157137 h 349163"/>
              <a:gd name="connsiteX28" fmla="*/ 139631 w 279261"/>
              <a:gd name="connsiteY28" fmla="*/ 148410 h 349163"/>
              <a:gd name="connsiteX29" fmla="*/ 139631 w 279261"/>
              <a:gd name="connsiteY29" fmla="*/ 17454 h 349163"/>
              <a:gd name="connsiteX30" fmla="*/ 122177 w 279261"/>
              <a:gd name="connsiteY30" fmla="*/ 0 h 349163"/>
              <a:gd name="connsiteX31" fmla="*/ 104723 w 279261"/>
              <a:gd name="connsiteY31" fmla="*/ 17454 h 349163"/>
              <a:gd name="connsiteX32" fmla="*/ 104723 w 279261"/>
              <a:gd name="connsiteY32" fmla="*/ 148410 h 349163"/>
              <a:gd name="connsiteX33" fmla="*/ 95996 w 279261"/>
              <a:gd name="connsiteY33" fmla="*/ 157137 h 349163"/>
              <a:gd name="connsiteX34" fmla="*/ 87269 w 279261"/>
              <a:gd name="connsiteY34" fmla="*/ 148410 h 349163"/>
              <a:gd name="connsiteX35" fmla="*/ 87269 w 279261"/>
              <a:gd name="connsiteY35" fmla="*/ 39323 h 349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9261" h="349163">
                <a:moveTo>
                  <a:pt x="87269" y="39323"/>
                </a:moveTo>
                <a:cubicBezTo>
                  <a:pt x="87269" y="29684"/>
                  <a:pt x="79455" y="21870"/>
                  <a:pt x="69815" y="21870"/>
                </a:cubicBezTo>
                <a:cubicBezTo>
                  <a:pt x="60176" y="21870"/>
                  <a:pt x="52362" y="29684"/>
                  <a:pt x="52362" y="39323"/>
                </a:cubicBezTo>
                <a:lnTo>
                  <a:pt x="52362" y="157102"/>
                </a:lnTo>
                <a:cubicBezTo>
                  <a:pt x="52362" y="161921"/>
                  <a:pt x="48454" y="165829"/>
                  <a:pt x="43635" y="165829"/>
                </a:cubicBezTo>
                <a:cubicBezTo>
                  <a:pt x="38815" y="165829"/>
                  <a:pt x="34908" y="161921"/>
                  <a:pt x="34908" y="157102"/>
                </a:cubicBezTo>
                <a:lnTo>
                  <a:pt x="34908" y="69833"/>
                </a:lnTo>
                <a:cubicBezTo>
                  <a:pt x="34908" y="60193"/>
                  <a:pt x="27093" y="52379"/>
                  <a:pt x="17454" y="52379"/>
                </a:cubicBezTo>
                <a:cubicBezTo>
                  <a:pt x="7814" y="52379"/>
                  <a:pt x="0" y="60193"/>
                  <a:pt x="0" y="69833"/>
                </a:cubicBezTo>
                <a:lnTo>
                  <a:pt x="0" y="222659"/>
                </a:lnTo>
                <a:cubicBezTo>
                  <a:pt x="0" y="260708"/>
                  <a:pt x="20386" y="301375"/>
                  <a:pt x="33407" y="323699"/>
                </a:cubicBezTo>
                <a:cubicBezTo>
                  <a:pt x="43111" y="340350"/>
                  <a:pt x="60984" y="349164"/>
                  <a:pt x="79188" y="349164"/>
                </a:cubicBezTo>
                <a:lnTo>
                  <a:pt x="117028" y="349164"/>
                </a:lnTo>
                <a:cubicBezTo>
                  <a:pt x="138515" y="349164"/>
                  <a:pt x="158160" y="337021"/>
                  <a:pt x="167766" y="317799"/>
                </a:cubicBezTo>
                <a:lnTo>
                  <a:pt x="170088" y="313139"/>
                </a:lnTo>
                <a:cubicBezTo>
                  <a:pt x="177418" y="298443"/>
                  <a:pt x="186581" y="284724"/>
                  <a:pt x="197350" y="272315"/>
                </a:cubicBezTo>
                <a:lnTo>
                  <a:pt x="235958" y="227773"/>
                </a:lnTo>
                <a:lnTo>
                  <a:pt x="274217" y="198014"/>
                </a:lnTo>
                <a:cubicBezTo>
                  <a:pt x="277403" y="195532"/>
                  <a:pt x="279263" y="191718"/>
                  <a:pt x="279261" y="187681"/>
                </a:cubicBezTo>
                <a:cubicBezTo>
                  <a:pt x="279261" y="179216"/>
                  <a:pt x="274723" y="172933"/>
                  <a:pt x="268929" y="169180"/>
                </a:cubicBezTo>
                <a:cubicBezTo>
                  <a:pt x="263762" y="165864"/>
                  <a:pt x="257584" y="164433"/>
                  <a:pt x="252138" y="163769"/>
                </a:cubicBezTo>
                <a:cubicBezTo>
                  <a:pt x="241037" y="162460"/>
                  <a:pt x="227528" y="163804"/>
                  <a:pt x="215677" y="166108"/>
                </a:cubicBezTo>
                <a:cubicBezTo>
                  <a:pt x="207376" y="167799"/>
                  <a:pt x="199386" y="170767"/>
                  <a:pt x="191992" y="174905"/>
                </a:cubicBezTo>
                <a:lnTo>
                  <a:pt x="191992" y="39323"/>
                </a:lnTo>
                <a:cubicBezTo>
                  <a:pt x="191992" y="29684"/>
                  <a:pt x="184178" y="21870"/>
                  <a:pt x="174538" y="21870"/>
                </a:cubicBezTo>
                <a:cubicBezTo>
                  <a:pt x="164899" y="21870"/>
                  <a:pt x="157085" y="29684"/>
                  <a:pt x="157085" y="39323"/>
                </a:cubicBezTo>
                <a:lnTo>
                  <a:pt x="157085" y="148410"/>
                </a:lnTo>
                <a:cubicBezTo>
                  <a:pt x="157085" y="153229"/>
                  <a:pt x="153177" y="157137"/>
                  <a:pt x="148358" y="157137"/>
                </a:cubicBezTo>
                <a:cubicBezTo>
                  <a:pt x="143539" y="157137"/>
                  <a:pt x="139631" y="153229"/>
                  <a:pt x="139631" y="148410"/>
                </a:cubicBezTo>
                <a:lnTo>
                  <a:pt x="139631" y="17454"/>
                </a:lnTo>
                <a:cubicBezTo>
                  <a:pt x="139631" y="7814"/>
                  <a:pt x="131817" y="0"/>
                  <a:pt x="122177" y="0"/>
                </a:cubicBezTo>
                <a:cubicBezTo>
                  <a:pt x="112537" y="0"/>
                  <a:pt x="104723" y="7814"/>
                  <a:pt x="104723" y="17454"/>
                </a:cubicBezTo>
                <a:lnTo>
                  <a:pt x="104723" y="148410"/>
                </a:lnTo>
                <a:cubicBezTo>
                  <a:pt x="104723" y="153229"/>
                  <a:pt x="100815" y="157137"/>
                  <a:pt x="95996" y="157137"/>
                </a:cubicBezTo>
                <a:cubicBezTo>
                  <a:pt x="91177" y="157137"/>
                  <a:pt x="87269" y="153229"/>
                  <a:pt x="87269" y="148410"/>
                </a:cubicBezTo>
                <a:lnTo>
                  <a:pt x="87269" y="39323"/>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87" name="Graphic 78">
            <a:extLst>
              <a:ext uri="{FF2B5EF4-FFF2-40B4-BE49-F238E27FC236}">
                <a16:creationId xmlns:a16="http://schemas.microsoft.com/office/drawing/2014/main" id="{266A082D-6831-2A27-A6A0-FBC231523C3B}"/>
              </a:ext>
            </a:extLst>
          </p:cNvPr>
          <p:cNvSpPr/>
          <p:nvPr/>
        </p:nvSpPr>
        <p:spPr>
          <a:xfrm>
            <a:off x="6790537" y="4433267"/>
            <a:ext cx="244353" cy="349073"/>
          </a:xfrm>
          <a:custGeom>
            <a:avLst/>
            <a:gdLst>
              <a:gd name="connsiteX0" fmla="*/ 231263 w 244353"/>
              <a:gd name="connsiteY0" fmla="*/ 157085 h 349073"/>
              <a:gd name="connsiteX1" fmla="*/ 244231 w 244353"/>
              <a:gd name="connsiteY1" fmla="*/ 168395 h 349073"/>
              <a:gd name="connsiteX2" fmla="*/ 244354 w 244353"/>
              <a:gd name="connsiteY2" fmla="*/ 170175 h 349073"/>
              <a:gd name="connsiteX3" fmla="*/ 244354 w 244353"/>
              <a:gd name="connsiteY3" fmla="*/ 178902 h 349073"/>
              <a:gd name="connsiteX4" fmla="*/ 135285 w 244353"/>
              <a:gd name="connsiteY4" fmla="*/ 296401 h 349073"/>
              <a:gd name="connsiteX5" fmla="*/ 135267 w 244353"/>
              <a:gd name="connsiteY5" fmla="*/ 335986 h 349073"/>
              <a:gd name="connsiteX6" fmla="*/ 122173 w 244353"/>
              <a:gd name="connsiteY6" fmla="*/ 349073 h 349073"/>
              <a:gd name="connsiteX7" fmla="*/ 109209 w 244353"/>
              <a:gd name="connsiteY7" fmla="*/ 337767 h 349073"/>
              <a:gd name="connsiteX8" fmla="*/ 109086 w 244353"/>
              <a:gd name="connsiteY8" fmla="*/ 335986 h 349073"/>
              <a:gd name="connsiteX9" fmla="*/ 109086 w 244353"/>
              <a:gd name="connsiteY9" fmla="*/ 296401 h 349073"/>
              <a:gd name="connsiteX10" fmla="*/ 70 w 244353"/>
              <a:gd name="connsiteY10" fmla="*/ 183021 h 349073"/>
              <a:gd name="connsiteX11" fmla="*/ 0 w 244353"/>
              <a:gd name="connsiteY11" fmla="*/ 178902 h 349073"/>
              <a:gd name="connsiteX12" fmla="*/ 0 w 244353"/>
              <a:gd name="connsiteY12" fmla="*/ 170175 h 349073"/>
              <a:gd name="connsiteX13" fmla="*/ 13094 w 244353"/>
              <a:gd name="connsiteY13" fmla="*/ 157088 h 349073"/>
              <a:gd name="connsiteX14" fmla="*/ 26059 w 244353"/>
              <a:gd name="connsiteY14" fmla="*/ 168395 h 349073"/>
              <a:gd name="connsiteX15" fmla="*/ 26181 w 244353"/>
              <a:gd name="connsiteY15" fmla="*/ 170175 h 349073"/>
              <a:gd name="connsiteX16" fmla="*/ 26181 w 244353"/>
              <a:gd name="connsiteY16" fmla="*/ 178902 h 349073"/>
              <a:gd name="connsiteX17" fmla="*/ 114043 w 244353"/>
              <a:gd name="connsiteY17" fmla="*/ 270465 h 349073"/>
              <a:gd name="connsiteX18" fmla="*/ 117813 w 244353"/>
              <a:gd name="connsiteY18" fmla="*/ 270534 h 349073"/>
              <a:gd name="connsiteX19" fmla="*/ 126540 w 244353"/>
              <a:gd name="connsiteY19" fmla="*/ 270534 h 349073"/>
              <a:gd name="connsiteX20" fmla="*/ 218103 w 244353"/>
              <a:gd name="connsiteY20" fmla="*/ 182672 h 349073"/>
              <a:gd name="connsiteX21" fmla="*/ 218173 w 244353"/>
              <a:gd name="connsiteY21" fmla="*/ 178902 h 349073"/>
              <a:gd name="connsiteX22" fmla="*/ 218173 w 244353"/>
              <a:gd name="connsiteY22" fmla="*/ 170175 h 349073"/>
              <a:gd name="connsiteX23" fmla="*/ 231263 w 244353"/>
              <a:gd name="connsiteY23" fmla="*/ 157085 h 349073"/>
              <a:gd name="connsiteX24" fmla="*/ 122177 w 244353"/>
              <a:gd name="connsiteY24" fmla="*/ 0 h 349073"/>
              <a:gd name="connsiteX25" fmla="*/ 191992 w 244353"/>
              <a:gd name="connsiteY25" fmla="*/ 69815 h 349073"/>
              <a:gd name="connsiteX26" fmla="*/ 191992 w 244353"/>
              <a:gd name="connsiteY26" fmla="*/ 174538 h 349073"/>
              <a:gd name="connsiteX27" fmla="*/ 122177 w 244353"/>
              <a:gd name="connsiteY27" fmla="*/ 244354 h 349073"/>
              <a:gd name="connsiteX28" fmla="*/ 52362 w 244353"/>
              <a:gd name="connsiteY28" fmla="*/ 174538 h 349073"/>
              <a:gd name="connsiteX29" fmla="*/ 52362 w 244353"/>
              <a:gd name="connsiteY29" fmla="*/ 69815 h 349073"/>
              <a:gd name="connsiteX30" fmla="*/ 122177 w 244353"/>
              <a:gd name="connsiteY30" fmla="*/ 0 h 34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4353" h="349073">
                <a:moveTo>
                  <a:pt x="231263" y="157085"/>
                </a:moveTo>
                <a:cubicBezTo>
                  <a:pt x="237805" y="157085"/>
                  <a:pt x="243341" y="161914"/>
                  <a:pt x="244231" y="168395"/>
                </a:cubicBezTo>
                <a:lnTo>
                  <a:pt x="244354" y="170175"/>
                </a:lnTo>
                <a:lnTo>
                  <a:pt x="244354" y="178902"/>
                </a:lnTo>
                <a:cubicBezTo>
                  <a:pt x="244359" y="240580"/>
                  <a:pt x="196794" y="291823"/>
                  <a:pt x="135285" y="296401"/>
                </a:cubicBezTo>
                <a:lnTo>
                  <a:pt x="135267" y="335986"/>
                </a:lnTo>
                <a:cubicBezTo>
                  <a:pt x="135265" y="343216"/>
                  <a:pt x="129403" y="349075"/>
                  <a:pt x="122173" y="349073"/>
                </a:cubicBezTo>
                <a:cubicBezTo>
                  <a:pt x="115633" y="349071"/>
                  <a:pt x="110101" y="344244"/>
                  <a:pt x="109209" y="337767"/>
                </a:cubicBezTo>
                <a:lnTo>
                  <a:pt x="109086" y="335986"/>
                </a:lnTo>
                <a:lnTo>
                  <a:pt x="109086" y="296401"/>
                </a:lnTo>
                <a:cubicBezTo>
                  <a:pt x="49146" y="291950"/>
                  <a:pt x="2167" y="243090"/>
                  <a:pt x="70" y="183021"/>
                </a:cubicBezTo>
                <a:lnTo>
                  <a:pt x="0" y="178902"/>
                </a:lnTo>
                <a:lnTo>
                  <a:pt x="0" y="170175"/>
                </a:lnTo>
                <a:cubicBezTo>
                  <a:pt x="2" y="162946"/>
                  <a:pt x="5865" y="157086"/>
                  <a:pt x="13094" y="157088"/>
                </a:cubicBezTo>
                <a:cubicBezTo>
                  <a:pt x="19633" y="157090"/>
                  <a:pt x="25167" y="161917"/>
                  <a:pt x="26059" y="168395"/>
                </a:cubicBezTo>
                <a:lnTo>
                  <a:pt x="26181" y="170175"/>
                </a:lnTo>
                <a:lnTo>
                  <a:pt x="26181" y="178902"/>
                </a:lnTo>
                <a:cubicBezTo>
                  <a:pt x="26177" y="228045"/>
                  <a:pt x="64941" y="268443"/>
                  <a:pt x="114043" y="270465"/>
                </a:cubicBezTo>
                <a:lnTo>
                  <a:pt x="117813" y="270534"/>
                </a:lnTo>
                <a:lnTo>
                  <a:pt x="126540" y="270534"/>
                </a:lnTo>
                <a:cubicBezTo>
                  <a:pt x="175683" y="270538"/>
                  <a:pt x="216082" y="231775"/>
                  <a:pt x="218103" y="182672"/>
                </a:cubicBezTo>
                <a:lnTo>
                  <a:pt x="218173" y="178902"/>
                </a:lnTo>
                <a:lnTo>
                  <a:pt x="218173" y="170175"/>
                </a:lnTo>
                <a:cubicBezTo>
                  <a:pt x="218173" y="162946"/>
                  <a:pt x="224034" y="157085"/>
                  <a:pt x="231263" y="157085"/>
                </a:cubicBezTo>
                <a:close/>
                <a:moveTo>
                  <a:pt x="122177" y="0"/>
                </a:moveTo>
                <a:cubicBezTo>
                  <a:pt x="160734" y="0"/>
                  <a:pt x="191992" y="31257"/>
                  <a:pt x="191992" y="69815"/>
                </a:cubicBezTo>
                <a:lnTo>
                  <a:pt x="191992" y="174538"/>
                </a:lnTo>
                <a:cubicBezTo>
                  <a:pt x="191992" y="213096"/>
                  <a:pt x="160734" y="244354"/>
                  <a:pt x="122177" y="244354"/>
                </a:cubicBezTo>
                <a:cubicBezTo>
                  <a:pt x="83619" y="244354"/>
                  <a:pt x="52362" y="213096"/>
                  <a:pt x="52362" y="174538"/>
                </a:cubicBezTo>
                <a:lnTo>
                  <a:pt x="52362" y="69815"/>
                </a:lnTo>
                <a:cubicBezTo>
                  <a:pt x="52362" y="31257"/>
                  <a:pt x="83619" y="0"/>
                  <a:pt x="122177"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Tree>
    <p:extLst>
      <p:ext uri="{BB962C8B-B14F-4D97-AF65-F5344CB8AC3E}">
        <p14:creationId xmlns:p14="http://schemas.microsoft.com/office/powerpoint/2010/main" val="15043487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grpId="1" nodeType="withEffect">
                                  <p:stCondLst>
                                    <p:cond delay="0"/>
                                  </p:stCondLst>
                                  <p:childTnLst>
                                    <p:animMotion origin="layout" path="M -3.75E-6 -0.03472 L -3.75E-6 1.85185E-6 " pathEditMode="relative" rAng="0" ptsTypes="AA">
                                      <p:cBhvr>
                                        <p:cTn id="9" dur="500" fill="hold"/>
                                        <p:tgtEl>
                                          <p:spTgt spid="13"/>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250"/>
                                        <p:tgtEl>
                                          <p:spTgt spid="18"/>
                                        </p:tgtEl>
                                      </p:cBhvr>
                                    </p:animEffect>
                                  </p:childTnLst>
                                </p:cTn>
                              </p:par>
                              <p:par>
                                <p:cTn id="13" presetID="42" presetClass="path" presetSubtype="0" decel="100000" fill="hold" grpId="1" nodeType="withEffect">
                                  <p:stCondLst>
                                    <p:cond delay="0"/>
                                  </p:stCondLst>
                                  <p:childTnLst>
                                    <p:animMotion origin="layout" path="M -3.75E-6 -0.03472 L -3.75E-6 1.85185E-6 " pathEditMode="relative" rAng="0" ptsTypes="AA">
                                      <p:cBhvr>
                                        <p:cTn id="14" dur="500" fill="hold"/>
                                        <p:tgtEl>
                                          <p:spTgt spid="18"/>
                                        </p:tgtEl>
                                        <p:attrNameLst>
                                          <p:attrName>ppt_x</p:attrName>
                                          <p:attrName>ppt_y</p:attrName>
                                        </p:attrNameLst>
                                      </p:cBhvr>
                                      <p:rCtr x="0" y="1736"/>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250"/>
                                        <p:tgtEl>
                                          <p:spTgt spid="15"/>
                                        </p:tgtEl>
                                      </p:cBhvr>
                                    </p:animEffect>
                                  </p:childTnLst>
                                </p:cTn>
                              </p:par>
                              <p:par>
                                <p:cTn id="18" presetID="42" presetClass="path" presetSubtype="0" decel="100000" fill="hold" grpId="1" nodeType="withEffect">
                                  <p:stCondLst>
                                    <p:cond delay="0"/>
                                  </p:stCondLst>
                                  <p:childTnLst>
                                    <p:animMotion origin="layout" path="M -3.75E-6 -0.03472 L -3.75E-6 1.85185E-6 " pathEditMode="relative" rAng="0" ptsTypes="AA">
                                      <p:cBhvr>
                                        <p:cTn id="19" dur="500" fill="hold"/>
                                        <p:tgtEl>
                                          <p:spTgt spid="15"/>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250"/>
                                        <p:tgtEl>
                                          <p:spTgt spid="20"/>
                                        </p:tgtEl>
                                      </p:cBhvr>
                                    </p:animEffect>
                                  </p:childTnLst>
                                </p:cTn>
                              </p:par>
                              <p:par>
                                <p:cTn id="23" presetID="42" presetClass="path" presetSubtype="0" decel="100000" fill="hold" grpId="1" nodeType="withEffect">
                                  <p:stCondLst>
                                    <p:cond delay="0"/>
                                  </p:stCondLst>
                                  <p:childTnLst>
                                    <p:animMotion origin="layout" path="M -3.75E-6 -0.03472 L -3.75E-6 1.85185E-6 " pathEditMode="relative" rAng="0" ptsTypes="AA">
                                      <p:cBhvr>
                                        <p:cTn id="24" dur="500" fill="hold"/>
                                        <p:tgtEl>
                                          <p:spTgt spid="20"/>
                                        </p:tgtEl>
                                        <p:attrNameLst>
                                          <p:attrName>ppt_x</p:attrName>
                                          <p:attrName>ppt_y</p:attrName>
                                        </p:attrNameLst>
                                      </p:cBhvr>
                                      <p:rCtr x="0" y="1736"/>
                                    </p:animMotion>
                                  </p:childTnLst>
                                </p:cTn>
                              </p:par>
                              <p:par>
                                <p:cTn id="25" presetID="10"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250"/>
                                        <p:tgtEl>
                                          <p:spTgt spid="21"/>
                                        </p:tgtEl>
                                      </p:cBhvr>
                                    </p:animEffect>
                                  </p:childTnLst>
                                </p:cTn>
                              </p:par>
                              <p:par>
                                <p:cTn id="28" presetID="42" presetClass="path" presetSubtype="0" decel="100000" fill="hold" grpId="1" nodeType="withEffect">
                                  <p:stCondLst>
                                    <p:cond delay="0"/>
                                  </p:stCondLst>
                                  <p:childTnLst>
                                    <p:animMotion origin="layout" path="M -3.75E-6 -0.03472 L -3.75E-6 1.85185E-6 " pathEditMode="relative" rAng="0" ptsTypes="AA">
                                      <p:cBhvr>
                                        <p:cTn id="29" dur="500" fill="hold"/>
                                        <p:tgtEl>
                                          <p:spTgt spid="21"/>
                                        </p:tgtEl>
                                        <p:attrNameLst>
                                          <p:attrName>ppt_x</p:attrName>
                                          <p:attrName>ppt_y</p:attrName>
                                        </p:attrNameLst>
                                      </p:cBhvr>
                                      <p:rCtr x="0" y="1736"/>
                                    </p:animMotion>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250"/>
                                        <p:tgtEl>
                                          <p:spTgt spid="49"/>
                                        </p:tgtEl>
                                      </p:cBhvr>
                                    </p:animEffect>
                                  </p:childTnLst>
                                </p:cTn>
                              </p:par>
                              <p:par>
                                <p:cTn id="33" presetID="42" presetClass="path" presetSubtype="0" decel="100000" fill="hold" grpId="1" nodeType="withEffect">
                                  <p:stCondLst>
                                    <p:cond delay="0"/>
                                  </p:stCondLst>
                                  <p:childTnLst>
                                    <p:animMotion origin="layout" path="M -3.75E-6 -0.03472 L -3.75E-6 1.85185E-6 " pathEditMode="relative" rAng="0" ptsTypes="AA">
                                      <p:cBhvr>
                                        <p:cTn id="34" dur="500" fill="hold"/>
                                        <p:tgtEl>
                                          <p:spTgt spid="49"/>
                                        </p:tgtEl>
                                        <p:attrNameLst>
                                          <p:attrName>ppt_x</p:attrName>
                                          <p:attrName>ppt_y</p:attrName>
                                        </p:attrNameLst>
                                      </p:cBhvr>
                                      <p:rCtr x="0" y="1736"/>
                                    </p:animMotion>
                                  </p:childTnLst>
                                </p:cTn>
                              </p:par>
                              <p:par>
                                <p:cTn id="35" presetID="10" presetClass="entr" presetSubtype="0" fill="hold" grpId="0" nodeType="with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250"/>
                                        <p:tgtEl>
                                          <p:spTgt spid="50"/>
                                        </p:tgtEl>
                                      </p:cBhvr>
                                    </p:animEffect>
                                  </p:childTnLst>
                                </p:cTn>
                              </p:par>
                              <p:par>
                                <p:cTn id="38" presetID="42" presetClass="path" presetSubtype="0" decel="100000" fill="hold" grpId="1" nodeType="withEffect">
                                  <p:stCondLst>
                                    <p:cond delay="0"/>
                                  </p:stCondLst>
                                  <p:childTnLst>
                                    <p:animMotion origin="layout" path="M -3.75E-6 -0.03472 L -3.75E-6 1.85185E-6 " pathEditMode="relative" rAng="0" ptsTypes="AA">
                                      <p:cBhvr>
                                        <p:cTn id="39" dur="500" fill="hold"/>
                                        <p:tgtEl>
                                          <p:spTgt spid="50"/>
                                        </p:tgtEl>
                                        <p:attrNameLst>
                                          <p:attrName>ppt_x</p:attrName>
                                          <p:attrName>ppt_y</p:attrName>
                                        </p:attrNameLst>
                                      </p:cBhvr>
                                      <p:rCtr x="0" y="1736"/>
                                    </p:animMotion>
                                  </p:childTnLst>
                                </p:cTn>
                              </p:par>
                              <p:par>
                                <p:cTn id="40" presetID="10" presetClass="entr" presetSubtype="0" fill="hold"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250"/>
                                        <p:tgtEl>
                                          <p:spTgt spid="54"/>
                                        </p:tgtEl>
                                      </p:cBhvr>
                                    </p:animEffect>
                                  </p:childTnLst>
                                </p:cTn>
                              </p:par>
                              <p:par>
                                <p:cTn id="43" presetID="42" presetClass="path" presetSubtype="0" decel="100000" fill="hold" nodeType="withEffect">
                                  <p:stCondLst>
                                    <p:cond delay="0"/>
                                  </p:stCondLst>
                                  <p:childTnLst>
                                    <p:animMotion origin="layout" path="M -3.75E-6 -0.03472 L -3.75E-6 1.85185E-6 " pathEditMode="relative" rAng="0" ptsTypes="AA">
                                      <p:cBhvr>
                                        <p:cTn id="44" dur="500" fill="hold"/>
                                        <p:tgtEl>
                                          <p:spTgt spid="54"/>
                                        </p:tgtEl>
                                        <p:attrNameLst>
                                          <p:attrName>ppt_x</p:attrName>
                                          <p:attrName>ppt_y</p:attrName>
                                        </p:attrNameLst>
                                      </p:cBhvr>
                                      <p:rCtr x="0" y="1736"/>
                                    </p:animMotion>
                                  </p:childTnLst>
                                </p:cTn>
                              </p:par>
                              <p:par>
                                <p:cTn id="45" presetID="10" presetClass="entr" presetSubtype="0" fill="hold" grpId="0" nodeType="with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fade">
                                      <p:cBhvr>
                                        <p:cTn id="47" dur="250"/>
                                        <p:tgtEl>
                                          <p:spTgt spid="85"/>
                                        </p:tgtEl>
                                      </p:cBhvr>
                                    </p:animEffect>
                                  </p:childTnLst>
                                </p:cTn>
                              </p:par>
                              <p:par>
                                <p:cTn id="48" presetID="42" presetClass="path" presetSubtype="0" decel="100000" fill="hold" grpId="1" nodeType="withEffect">
                                  <p:stCondLst>
                                    <p:cond delay="0"/>
                                  </p:stCondLst>
                                  <p:childTnLst>
                                    <p:animMotion origin="layout" path="M -3.75E-6 -0.03472 L -3.75E-6 1.85185E-6 " pathEditMode="relative" rAng="0" ptsTypes="AA">
                                      <p:cBhvr>
                                        <p:cTn id="49" dur="500" fill="hold"/>
                                        <p:tgtEl>
                                          <p:spTgt spid="85"/>
                                        </p:tgtEl>
                                        <p:attrNameLst>
                                          <p:attrName>ppt_x</p:attrName>
                                          <p:attrName>ppt_y</p:attrName>
                                        </p:attrNameLst>
                                      </p:cBhvr>
                                      <p:rCtr x="0" y="1736"/>
                                    </p:animMotion>
                                  </p:childTnLst>
                                </p:cTn>
                              </p:par>
                              <p:par>
                                <p:cTn id="50" presetID="10" presetClass="entr" presetSubtype="0" fill="hold" grpId="0" nodeType="withEffect">
                                  <p:stCondLst>
                                    <p:cond delay="0"/>
                                  </p:stCondLst>
                                  <p:childTnLst>
                                    <p:set>
                                      <p:cBhvr>
                                        <p:cTn id="51" dur="1" fill="hold">
                                          <p:stCondLst>
                                            <p:cond delay="0"/>
                                          </p:stCondLst>
                                        </p:cTn>
                                        <p:tgtEl>
                                          <p:spTgt spid="86"/>
                                        </p:tgtEl>
                                        <p:attrNameLst>
                                          <p:attrName>style.visibility</p:attrName>
                                        </p:attrNameLst>
                                      </p:cBhvr>
                                      <p:to>
                                        <p:strVal val="visible"/>
                                      </p:to>
                                    </p:set>
                                    <p:animEffect transition="in" filter="fade">
                                      <p:cBhvr>
                                        <p:cTn id="52" dur="250"/>
                                        <p:tgtEl>
                                          <p:spTgt spid="86"/>
                                        </p:tgtEl>
                                      </p:cBhvr>
                                    </p:animEffect>
                                  </p:childTnLst>
                                </p:cTn>
                              </p:par>
                              <p:par>
                                <p:cTn id="53" presetID="42" presetClass="path" presetSubtype="0" decel="100000" fill="hold" grpId="1" nodeType="withEffect">
                                  <p:stCondLst>
                                    <p:cond delay="0"/>
                                  </p:stCondLst>
                                  <p:childTnLst>
                                    <p:animMotion origin="layout" path="M -3.75E-6 -0.03472 L -3.75E-6 1.85185E-6 " pathEditMode="relative" rAng="0" ptsTypes="AA">
                                      <p:cBhvr>
                                        <p:cTn id="54" dur="500" fill="hold"/>
                                        <p:tgtEl>
                                          <p:spTgt spid="86"/>
                                        </p:tgtEl>
                                        <p:attrNameLst>
                                          <p:attrName>ppt_x</p:attrName>
                                          <p:attrName>ppt_y</p:attrName>
                                        </p:attrNameLst>
                                      </p:cBhvr>
                                      <p:rCtr x="0" y="1736"/>
                                    </p:animMotion>
                                  </p:childTnLst>
                                </p:cTn>
                              </p:par>
                              <p:par>
                                <p:cTn id="55" presetID="10" presetClass="entr" presetSubtype="0" fill="hold" grpId="0" nodeType="withEffect">
                                  <p:stCondLst>
                                    <p:cond delay="0"/>
                                  </p:stCondLst>
                                  <p:childTnLst>
                                    <p:set>
                                      <p:cBhvr>
                                        <p:cTn id="56" dur="1" fill="hold">
                                          <p:stCondLst>
                                            <p:cond delay="0"/>
                                          </p:stCondLst>
                                        </p:cTn>
                                        <p:tgtEl>
                                          <p:spTgt spid="71"/>
                                        </p:tgtEl>
                                        <p:attrNameLst>
                                          <p:attrName>style.visibility</p:attrName>
                                        </p:attrNameLst>
                                      </p:cBhvr>
                                      <p:to>
                                        <p:strVal val="visible"/>
                                      </p:to>
                                    </p:set>
                                    <p:animEffect transition="in" filter="fade">
                                      <p:cBhvr>
                                        <p:cTn id="57" dur="250"/>
                                        <p:tgtEl>
                                          <p:spTgt spid="71"/>
                                        </p:tgtEl>
                                      </p:cBhvr>
                                    </p:animEffect>
                                  </p:childTnLst>
                                </p:cTn>
                              </p:par>
                              <p:par>
                                <p:cTn id="58" presetID="42" presetClass="path" presetSubtype="0" decel="100000" fill="hold" grpId="1" nodeType="withEffect">
                                  <p:stCondLst>
                                    <p:cond delay="0"/>
                                  </p:stCondLst>
                                  <p:childTnLst>
                                    <p:animMotion origin="layout" path="M 0 -0.03472 L 0 -4.81481E-6 " pathEditMode="relative" rAng="0" ptsTypes="AA">
                                      <p:cBhvr>
                                        <p:cTn id="59" dur="500" fill="hold"/>
                                        <p:tgtEl>
                                          <p:spTgt spid="71"/>
                                        </p:tgtEl>
                                        <p:attrNameLst>
                                          <p:attrName>ppt_x</p:attrName>
                                          <p:attrName>ppt_y</p:attrName>
                                        </p:attrNameLst>
                                      </p:cBhvr>
                                      <p:rCtr x="0" y="1736"/>
                                    </p:animMotion>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250"/>
                                        <p:tgtEl>
                                          <p:spTgt spid="60"/>
                                        </p:tgtEl>
                                      </p:cBhvr>
                                    </p:animEffect>
                                  </p:childTnLst>
                                </p:cTn>
                              </p:par>
                              <p:par>
                                <p:cTn id="64" presetID="42" presetClass="path" presetSubtype="0" decel="100000" fill="hold" grpId="1" nodeType="withEffect">
                                  <p:stCondLst>
                                    <p:cond delay="0"/>
                                  </p:stCondLst>
                                  <p:childTnLst>
                                    <p:animMotion origin="layout" path="M -3.75E-6 -0.03472 L -3.75E-6 1.85185E-6 " pathEditMode="relative" rAng="0" ptsTypes="AA">
                                      <p:cBhvr>
                                        <p:cTn id="65" dur="500" fill="hold"/>
                                        <p:tgtEl>
                                          <p:spTgt spid="60"/>
                                        </p:tgtEl>
                                        <p:attrNameLst>
                                          <p:attrName>ppt_x</p:attrName>
                                          <p:attrName>ppt_y</p:attrName>
                                        </p:attrNameLst>
                                      </p:cBhvr>
                                      <p:rCtr x="0" y="1736"/>
                                    </p:animMotion>
                                  </p:childTnLst>
                                </p:cTn>
                              </p:par>
                              <p:par>
                                <p:cTn id="66" presetID="10" presetClass="entr" presetSubtype="0" fill="hold" grpId="0" nodeType="with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250"/>
                                        <p:tgtEl>
                                          <p:spTgt spid="61"/>
                                        </p:tgtEl>
                                      </p:cBhvr>
                                    </p:animEffect>
                                  </p:childTnLst>
                                </p:cTn>
                              </p:par>
                              <p:par>
                                <p:cTn id="69" presetID="42" presetClass="path" presetSubtype="0" decel="100000" fill="hold" grpId="1" nodeType="withEffect">
                                  <p:stCondLst>
                                    <p:cond delay="0"/>
                                  </p:stCondLst>
                                  <p:childTnLst>
                                    <p:animMotion origin="layout" path="M -3.75E-6 -0.03472 L -3.75E-6 1.85185E-6 " pathEditMode="relative" rAng="0" ptsTypes="AA">
                                      <p:cBhvr>
                                        <p:cTn id="70" dur="500" fill="hold"/>
                                        <p:tgtEl>
                                          <p:spTgt spid="61"/>
                                        </p:tgtEl>
                                        <p:attrNameLst>
                                          <p:attrName>ppt_x</p:attrName>
                                          <p:attrName>ppt_y</p:attrName>
                                        </p:attrNameLst>
                                      </p:cBhvr>
                                      <p:rCtr x="0" y="1736"/>
                                    </p:animMotion>
                                  </p:childTnLst>
                                </p:cTn>
                              </p:par>
                              <p:par>
                                <p:cTn id="71" presetID="10" presetClass="entr" presetSubtype="0" fill="hold" grpId="0" nodeType="with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250"/>
                                        <p:tgtEl>
                                          <p:spTgt spid="62"/>
                                        </p:tgtEl>
                                      </p:cBhvr>
                                    </p:animEffect>
                                  </p:childTnLst>
                                </p:cTn>
                              </p:par>
                              <p:par>
                                <p:cTn id="74" presetID="42" presetClass="path" presetSubtype="0" decel="100000" fill="hold" grpId="1" nodeType="withEffect">
                                  <p:stCondLst>
                                    <p:cond delay="0"/>
                                  </p:stCondLst>
                                  <p:childTnLst>
                                    <p:animMotion origin="layout" path="M -3.75E-6 -0.03472 L -3.75E-6 1.85185E-6 " pathEditMode="relative" rAng="0" ptsTypes="AA">
                                      <p:cBhvr>
                                        <p:cTn id="75" dur="500" fill="hold"/>
                                        <p:tgtEl>
                                          <p:spTgt spid="62"/>
                                        </p:tgtEl>
                                        <p:attrNameLst>
                                          <p:attrName>ppt_x</p:attrName>
                                          <p:attrName>ppt_y</p:attrName>
                                        </p:attrNameLst>
                                      </p:cBhvr>
                                      <p:rCtr x="0" y="1736"/>
                                    </p:animMotion>
                                  </p:childTnLst>
                                </p:cTn>
                              </p:par>
                              <p:par>
                                <p:cTn id="76" presetID="10" presetClass="entr" presetSubtype="0" fill="hold" grpId="0" nodeType="withEffect">
                                  <p:stCondLst>
                                    <p:cond delay="0"/>
                                  </p:stCondLst>
                                  <p:childTnLst>
                                    <p:set>
                                      <p:cBhvr>
                                        <p:cTn id="77" dur="1" fill="hold">
                                          <p:stCondLst>
                                            <p:cond delay="0"/>
                                          </p:stCondLst>
                                        </p:cTn>
                                        <p:tgtEl>
                                          <p:spTgt spid="63"/>
                                        </p:tgtEl>
                                        <p:attrNameLst>
                                          <p:attrName>style.visibility</p:attrName>
                                        </p:attrNameLst>
                                      </p:cBhvr>
                                      <p:to>
                                        <p:strVal val="visible"/>
                                      </p:to>
                                    </p:set>
                                    <p:animEffect transition="in" filter="fade">
                                      <p:cBhvr>
                                        <p:cTn id="78" dur="250"/>
                                        <p:tgtEl>
                                          <p:spTgt spid="63"/>
                                        </p:tgtEl>
                                      </p:cBhvr>
                                    </p:animEffect>
                                  </p:childTnLst>
                                </p:cTn>
                              </p:par>
                              <p:par>
                                <p:cTn id="79" presetID="42" presetClass="path" presetSubtype="0" decel="100000" fill="hold" grpId="1" nodeType="withEffect">
                                  <p:stCondLst>
                                    <p:cond delay="0"/>
                                  </p:stCondLst>
                                  <p:childTnLst>
                                    <p:animMotion origin="layout" path="M -3.75E-6 -0.03472 L -3.75E-6 1.85185E-6 " pathEditMode="relative" rAng="0" ptsTypes="AA">
                                      <p:cBhvr>
                                        <p:cTn id="80" dur="500" fill="hold"/>
                                        <p:tgtEl>
                                          <p:spTgt spid="63"/>
                                        </p:tgtEl>
                                        <p:attrNameLst>
                                          <p:attrName>ppt_x</p:attrName>
                                          <p:attrName>ppt_y</p:attrName>
                                        </p:attrNameLst>
                                      </p:cBhvr>
                                      <p:rCtr x="0" y="1736"/>
                                    </p:animMotion>
                                  </p:childTnLst>
                                </p:cTn>
                              </p:par>
                              <p:par>
                                <p:cTn id="81" presetID="10" presetClass="entr" presetSubtype="0" fill="hold" grpId="0" nodeType="withEffect">
                                  <p:stCondLst>
                                    <p:cond delay="0"/>
                                  </p:stCondLst>
                                  <p:childTnLst>
                                    <p:set>
                                      <p:cBhvr>
                                        <p:cTn id="82" dur="1" fill="hold">
                                          <p:stCondLst>
                                            <p:cond delay="0"/>
                                          </p:stCondLst>
                                        </p:cTn>
                                        <p:tgtEl>
                                          <p:spTgt spid="64"/>
                                        </p:tgtEl>
                                        <p:attrNameLst>
                                          <p:attrName>style.visibility</p:attrName>
                                        </p:attrNameLst>
                                      </p:cBhvr>
                                      <p:to>
                                        <p:strVal val="visible"/>
                                      </p:to>
                                    </p:set>
                                    <p:animEffect transition="in" filter="fade">
                                      <p:cBhvr>
                                        <p:cTn id="83" dur="250"/>
                                        <p:tgtEl>
                                          <p:spTgt spid="64"/>
                                        </p:tgtEl>
                                      </p:cBhvr>
                                    </p:animEffect>
                                  </p:childTnLst>
                                </p:cTn>
                              </p:par>
                              <p:par>
                                <p:cTn id="84" presetID="42" presetClass="path" presetSubtype="0" decel="100000" fill="hold" grpId="1" nodeType="withEffect">
                                  <p:stCondLst>
                                    <p:cond delay="0"/>
                                  </p:stCondLst>
                                  <p:childTnLst>
                                    <p:animMotion origin="layout" path="M -3.75E-6 -0.03472 L -3.75E-6 1.85185E-6 " pathEditMode="relative" rAng="0" ptsTypes="AA">
                                      <p:cBhvr>
                                        <p:cTn id="85" dur="500" fill="hold"/>
                                        <p:tgtEl>
                                          <p:spTgt spid="64"/>
                                        </p:tgtEl>
                                        <p:attrNameLst>
                                          <p:attrName>ppt_x</p:attrName>
                                          <p:attrName>ppt_y</p:attrName>
                                        </p:attrNameLst>
                                      </p:cBhvr>
                                      <p:rCtr x="0" y="1736"/>
                                    </p:animMotion>
                                  </p:childTnLst>
                                </p:cTn>
                              </p:par>
                              <p:par>
                                <p:cTn id="86" presetID="10" presetClass="entr" presetSubtype="0" fill="hold" grpId="0" nodeType="withEffect">
                                  <p:stCondLst>
                                    <p:cond delay="0"/>
                                  </p:stCondLst>
                                  <p:childTnLst>
                                    <p:set>
                                      <p:cBhvr>
                                        <p:cTn id="87" dur="1" fill="hold">
                                          <p:stCondLst>
                                            <p:cond delay="0"/>
                                          </p:stCondLst>
                                        </p:cTn>
                                        <p:tgtEl>
                                          <p:spTgt spid="65"/>
                                        </p:tgtEl>
                                        <p:attrNameLst>
                                          <p:attrName>style.visibility</p:attrName>
                                        </p:attrNameLst>
                                      </p:cBhvr>
                                      <p:to>
                                        <p:strVal val="visible"/>
                                      </p:to>
                                    </p:set>
                                    <p:animEffect transition="in" filter="fade">
                                      <p:cBhvr>
                                        <p:cTn id="88" dur="250"/>
                                        <p:tgtEl>
                                          <p:spTgt spid="65"/>
                                        </p:tgtEl>
                                      </p:cBhvr>
                                    </p:animEffect>
                                  </p:childTnLst>
                                </p:cTn>
                              </p:par>
                              <p:par>
                                <p:cTn id="89" presetID="42" presetClass="path" presetSubtype="0" decel="100000" fill="hold" grpId="1" nodeType="withEffect">
                                  <p:stCondLst>
                                    <p:cond delay="0"/>
                                  </p:stCondLst>
                                  <p:childTnLst>
                                    <p:animMotion origin="layout" path="M -3.75E-6 -0.03472 L -3.75E-6 1.85185E-6 " pathEditMode="relative" rAng="0" ptsTypes="AA">
                                      <p:cBhvr>
                                        <p:cTn id="90" dur="500" fill="hold"/>
                                        <p:tgtEl>
                                          <p:spTgt spid="65"/>
                                        </p:tgtEl>
                                        <p:attrNameLst>
                                          <p:attrName>ppt_x</p:attrName>
                                          <p:attrName>ppt_y</p:attrName>
                                        </p:attrNameLst>
                                      </p:cBhvr>
                                      <p:rCtr x="0" y="1736"/>
                                    </p:animMotion>
                                  </p:childTnLst>
                                </p:cTn>
                              </p:par>
                              <p:par>
                                <p:cTn id="91" presetID="10" presetClass="entr" presetSubtype="0" fill="hold" grpId="0" nodeType="withEffect">
                                  <p:stCondLst>
                                    <p:cond delay="0"/>
                                  </p:stCondLst>
                                  <p:childTnLst>
                                    <p:set>
                                      <p:cBhvr>
                                        <p:cTn id="92" dur="1" fill="hold">
                                          <p:stCondLst>
                                            <p:cond delay="0"/>
                                          </p:stCondLst>
                                        </p:cTn>
                                        <p:tgtEl>
                                          <p:spTgt spid="66"/>
                                        </p:tgtEl>
                                        <p:attrNameLst>
                                          <p:attrName>style.visibility</p:attrName>
                                        </p:attrNameLst>
                                      </p:cBhvr>
                                      <p:to>
                                        <p:strVal val="visible"/>
                                      </p:to>
                                    </p:set>
                                    <p:animEffect transition="in" filter="fade">
                                      <p:cBhvr>
                                        <p:cTn id="93" dur="250"/>
                                        <p:tgtEl>
                                          <p:spTgt spid="66"/>
                                        </p:tgtEl>
                                      </p:cBhvr>
                                    </p:animEffect>
                                  </p:childTnLst>
                                </p:cTn>
                              </p:par>
                              <p:par>
                                <p:cTn id="94" presetID="42" presetClass="path" presetSubtype="0" decel="100000" fill="hold" grpId="1" nodeType="withEffect">
                                  <p:stCondLst>
                                    <p:cond delay="0"/>
                                  </p:stCondLst>
                                  <p:childTnLst>
                                    <p:animMotion origin="layout" path="M -3.75E-6 -0.03472 L -3.75E-6 1.85185E-6 " pathEditMode="relative" rAng="0" ptsTypes="AA">
                                      <p:cBhvr>
                                        <p:cTn id="95" dur="500" fill="hold"/>
                                        <p:tgtEl>
                                          <p:spTgt spid="66"/>
                                        </p:tgtEl>
                                        <p:attrNameLst>
                                          <p:attrName>ppt_x</p:attrName>
                                          <p:attrName>ppt_y</p:attrName>
                                        </p:attrNameLst>
                                      </p:cBhvr>
                                      <p:rCtr x="0" y="1736"/>
                                    </p:animMotion>
                                  </p:childTnLst>
                                </p:cTn>
                              </p:par>
                              <p:par>
                                <p:cTn id="96" presetID="10" presetClass="entr" presetSubtype="0" fill="hold" nodeType="withEffect">
                                  <p:stCondLst>
                                    <p:cond delay="0"/>
                                  </p:stCondLst>
                                  <p:childTnLst>
                                    <p:set>
                                      <p:cBhvr>
                                        <p:cTn id="97" dur="1" fill="hold">
                                          <p:stCondLst>
                                            <p:cond delay="0"/>
                                          </p:stCondLst>
                                        </p:cTn>
                                        <p:tgtEl>
                                          <p:spTgt spid="68"/>
                                        </p:tgtEl>
                                        <p:attrNameLst>
                                          <p:attrName>style.visibility</p:attrName>
                                        </p:attrNameLst>
                                      </p:cBhvr>
                                      <p:to>
                                        <p:strVal val="visible"/>
                                      </p:to>
                                    </p:set>
                                    <p:animEffect transition="in" filter="fade">
                                      <p:cBhvr>
                                        <p:cTn id="98" dur="250"/>
                                        <p:tgtEl>
                                          <p:spTgt spid="68"/>
                                        </p:tgtEl>
                                      </p:cBhvr>
                                    </p:animEffect>
                                  </p:childTnLst>
                                </p:cTn>
                              </p:par>
                              <p:par>
                                <p:cTn id="99" presetID="42" presetClass="path" presetSubtype="0" decel="100000" fill="hold" nodeType="withEffect">
                                  <p:stCondLst>
                                    <p:cond delay="0"/>
                                  </p:stCondLst>
                                  <p:childTnLst>
                                    <p:animMotion origin="layout" path="M -3.75E-6 -0.03472 L -3.75E-6 1.85185E-6 " pathEditMode="relative" rAng="0" ptsTypes="AA">
                                      <p:cBhvr>
                                        <p:cTn id="100" dur="500" fill="hold"/>
                                        <p:tgtEl>
                                          <p:spTgt spid="68"/>
                                        </p:tgtEl>
                                        <p:attrNameLst>
                                          <p:attrName>ppt_x</p:attrName>
                                          <p:attrName>ppt_y</p:attrName>
                                        </p:attrNameLst>
                                      </p:cBhvr>
                                      <p:rCtr x="0" y="1736"/>
                                    </p:animMotion>
                                  </p:childTnLst>
                                </p:cTn>
                              </p:par>
                              <p:par>
                                <p:cTn id="101" presetID="10" presetClass="entr" presetSubtype="0" fill="hold" grpId="0" nodeType="withEffect">
                                  <p:stCondLst>
                                    <p:cond delay="0"/>
                                  </p:stCondLst>
                                  <p:childTnLst>
                                    <p:set>
                                      <p:cBhvr>
                                        <p:cTn id="102" dur="1" fill="hold">
                                          <p:stCondLst>
                                            <p:cond delay="0"/>
                                          </p:stCondLst>
                                        </p:cTn>
                                        <p:tgtEl>
                                          <p:spTgt spid="84"/>
                                        </p:tgtEl>
                                        <p:attrNameLst>
                                          <p:attrName>style.visibility</p:attrName>
                                        </p:attrNameLst>
                                      </p:cBhvr>
                                      <p:to>
                                        <p:strVal val="visible"/>
                                      </p:to>
                                    </p:set>
                                    <p:animEffect transition="in" filter="fade">
                                      <p:cBhvr>
                                        <p:cTn id="103" dur="250"/>
                                        <p:tgtEl>
                                          <p:spTgt spid="84"/>
                                        </p:tgtEl>
                                      </p:cBhvr>
                                    </p:animEffect>
                                  </p:childTnLst>
                                </p:cTn>
                              </p:par>
                              <p:par>
                                <p:cTn id="104" presetID="42" presetClass="path" presetSubtype="0" decel="100000" fill="hold" grpId="1" nodeType="withEffect">
                                  <p:stCondLst>
                                    <p:cond delay="0"/>
                                  </p:stCondLst>
                                  <p:childTnLst>
                                    <p:animMotion origin="layout" path="M -3.75E-6 -0.03472 L -3.75E-6 1.85185E-6 " pathEditMode="relative" rAng="0" ptsTypes="AA">
                                      <p:cBhvr>
                                        <p:cTn id="105" dur="500" fill="hold"/>
                                        <p:tgtEl>
                                          <p:spTgt spid="84"/>
                                        </p:tgtEl>
                                        <p:attrNameLst>
                                          <p:attrName>ppt_x</p:attrName>
                                          <p:attrName>ppt_y</p:attrName>
                                        </p:attrNameLst>
                                      </p:cBhvr>
                                      <p:rCtr x="0" y="1736"/>
                                    </p:animMotion>
                                  </p:childTnLst>
                                </p:cTn>
                              </p:par>
                              <p:par>
                                <p:cTn id="106" presetID="10" presetClass="entr" presetSubtype="0" fill="hold" grpId="0" nodeType="withEffect">
                                  <p:stCondLst>
                                    <p:cond delay="0"/>
                                  </p:stCondLst>
                                  <p:childTnLst>
                                    <p:set>
                                      <p:cBhvr>
                                        <p:cTn id="107" dur="1" fill="hold">
                                          <p:stCondLst>
                                            <p:cond delay="0"/>
                                          </p:stCondLst>
                                        </p:cTn>
                                        <p:tgtEl>
                                          <p:spTgt spid="87"/>
                                        </p:tgtEl>
                                        <p:attrNameLst>
                                          <p:attrName>style.visibility</p:attrName>
                                        </p:attrNameLst>
                                      </p:cBhvr>
                                      <p:to>
                                        <p:strVal val="visible"/>
                                      </p:to>
                                    </p:set>
                                    <p:animEffect transition="in" filter="fade">
                                      <p:cBhvr>
                                        <p:cTn id="108" dur="250"/>
                                        <p:tgtEl>
                                          <p:spTgt spid="87"/>
                                        </p:tgtEl>
                                      </p:cBhvr>
                                    </p:animEffect>
                                  </p:childTnLst>
                                </p:cTn>
                              </p:par>
                              <p:par>
                                <p:cTn id="109" presetID="42" presetClass="path" presetSubtype="0" decel="100000" fill="hold" grpId="1" nodeType="withEffect">
                                  <p:stCondLst>
                                    <p:cond delay="0"/>
                                  </p:stCondLst>
                                  <p:childTnLst>
                                    <p:animMotion origin="layout" path="M -3.75E-6 -0.03472 L -3.75E-6 1.85185E-6 " pathEditMode="relative" rAng="0" ptsTypes="AA">
                                      <p:cBhvr>
                                        <p:cTn id="110" dur="500" fill="hold"/>
                                        <p:tgtEl>
                                          <p:spTgt spid="87"/>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1" grpId="1" animBg="1"/>
      <p:bldP spid="13" grpId="0" animBg="1"/>
      <p:bldP spid="13" grpId="1" animBg="1"/>
      <p:bldP spid="18" grpId="0" animBg="1"/>
      <p:bldP spid="18" grpId="1" animBg="1"/>
      <p:bldP spid="15" grpId="0" animBg="1"/>
      <p:bldP spid="15" grpId="1" animBg="1"/>
      <p:bldP spid="20" grpId="0"/>
      <p:bldP spid="20" grpId="1"/>
      <p:bldP spid="21" grpId="0"/>
      <p:bldP spid="21" grpId="1"/>
      <p:bldP spid="49" grpId="0" animBg="1"/>
      <p:bldP spid="49" grpId="1" animBg="1"/>
      <p:bldP spid="50" grpId="0" animBg="1"/>
      <p:bldP spid="50" grpId="1" animBg="1"/>
      <p:bldP spid="60" grpId="0" animBg="1"/>
      <p:bldP spid="60" grpId="1" animBg="1"/>
      <p:bldP spid="61" grpId="0" animBg="1"/>
      <p:bldP spid="61" grpId="1" animBg="1"/>
      <p:bldP spid="62" grpId="0" animBg="1"/>
      <p:bldP spid="62" grpId="1" animBg="1"/>
      <p:bldP spid="63" grpId="0"/>
      <p:bldP spid="63" grpId="1"/>
      <p:bldP spid="64" grpId="0"/>
      <p:bldP spid="64" grpId="1"/>
      <p:bldP spid="65" grpId="0" animBg="1"/>
      <p:bldP spid="65" grpId="1" animBg="1"/>
      <p:bldP spid="66" grpId="0" animBg="1"/>
      <p:bldP spid="66" grpId="1" animBg="1"/>
      <p:bldP spid="85" grpId="0" animBg="1"/>
      <p:bldP spid="85" grpId="1" animBg="1"/>
      <p:bldP spid="86" grpId="0" animBg="1"/>
      <p:bldP spid="86" grpId="1" animBg="1"/>
      <p:bldP spid="84" grpId="0" animBg="1"/>
      <p:bldP spid="84" grpId="1" animBg="1"/>
      <p:bldP spid="87" grpId="0" animBg="1"/>
      <p:bldP spid="87"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95F6D6-FA55-7D59-578F-90D04705F048}"/>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77CE28F-AF49-825F-3FE2-C1BF09BA0A2E}"/>
              </a:ext>
              <a:ext uri="{C183D7F6-B498-43B3-948B-1728B52AA6E4}">
                <adec:decorative xmlns:adec="http://schemas.microsoft.com/office/drawing/2017/decorative" val="1"/>
              </a:ext>
            </a:extLst>
          </p:cNvPr>
          <p:cNvSpPr>
            <a:spLocks/>
          </p:cNvSpPr>
          <p:nvPr/>
        </p:nvSpPr>
        <p:spPr bwMode="auto">
          <a:xfrm>
            <a:off x="875184" y="1504860"/>
            <a:ext cx="10730076" cy="4776670"/>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539FDAE6-21E3-9E54-0708-F5A3F5CB9FD3}"/>
              </a:ext>
            </a:extLst>
          </p:cNvPr>
          <p:cNvSpPr>
            <a:spLocks noGrp="1"/>
          </p:cNvSpPr>
          <p:nvPr>
            <p:ph type="title"/>
          </p:nvPr>
        </p:nvSpPr>
        <p:spPr>
          <a:xfrm>
            <a:off x="586740" y="457200"/>
            <a:ext cx="11018520" cy="492443"/>
          </a:xfrm>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Building </a:t>
            </a:r>
            <a:r>
              <a:rPr lang="en-US" sz="3200">
                <a:solidFill>
                  <a:schemeClr val="tx1"/>
                </a:solidFill>
                <a:cs typeface="Segoe UI Semibold" panose="020B0702040204020203" pitchFamily="34" charset="0"/>
              </a:rPr>
              <a:t>blocks</a:t>
            </a: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 of a declarative Agent</a:t>
            </a:r>
            <a:endParaRPr kumimoji="0" lang="en-US" sz="3600" b="0" i="0" u="none" strike="noStrike" kern="1200" cap="none" spc="-50" normalizeH="0" baseline="0" noProof="0">
              <a:ln w="3175">
                <a:noFill/>
              </a:ln>
              <a:solidFill>
                <a:schemeClr val="tx1"/>
              </a:solidFill>
              <a:effectLst/>
              <a:uLnTx/>
              <a:uFillTx/>
              <a:ea typeface="+mn-ea"/>
              <a:cs typeface="Segoe UI Semibold" panose="020B0702040204020203" pitchFamily="34" charset="0"/>
            </a:endParaRPr>
          </a:p>
        </p:txBody>
      </p:sp>
      <p:sp>
        <p:nvSpPr>
          <p:cNvPr id="4" name="Rectangle: Rounded Corners 3">
            <a:extLst>
              <a:ext uri="{FF2B5EF4-FFF2-40B4-BE49-F238E27FC236}">
                <a16:creationId xmlns:a16="http://schemas.microsoft.com/office/drawing/2014/main" id="{93F074A0-CBB2-C1A9-F8B5-EB53DB782F66}"/>
              </a:ext>
            </a:extLst>
          </p:cNvPr>
          <p:cNvSpPr/>
          <p:nvPr/>
        </p:nvSpPr>
        <p:spPr bwMode="auto">
          <a:xfrm>
            <a:off x="1304727" y="1828799"/>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F4364C"/>
                </a:solidFill>
                <a:latin typeface="Segoe UI Semibold"/>
              </a:rPr>
              <a:t>Instructions</a:t>
            </a:r>
            <a:endParaRPr lang="en-GB">
              <a:solidFill>
                <a:srgbClr val="F4364C"/>
              </a:solidFill>
              <a:latin typeface="Segoe UI Semibold"/>
            </a:endParaRP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A prompt that defines how the agent should work to achieve its specific goals</a:t>
            </a:r>
          </a:p>
        </p:txBody>
      </p:sp>
      <p:sp>
        <p:nvSpPr>
          <p:cNvPr id="8" name="TextBox 7">
            <a:extLst>
              <a:ext uri="{FF2B5EF4-FFF2-40B4-BE49-F238E27FC236}">
                <a16:creationId xmlns:a16="http://schemas.microsoft.com/office/drawing/2014/main" id="{A0FE5AFB-F722-435D-22EF-3D2EBEB9AEAE}"/>
              </a:ext>
            </a:extLst>
          </p:cNvPr>
          <p:cNvSpPr txBox="1"/>
          <p:nvPr/>
        </p:nvSpPr>
        <p:spPr>
          <a:xfrm>
            <a:off x="1639818" y="3802877"/>
            <a:ext cx="2521009" cy="1938992"/>
          </a:xfrm>
          <a:prstGeom prst="rect">
            <a:avLst/>
          </a:prstGeom>
          <a:noFill/>
        </p:spPr>
        <p:txBody>
          <a:bodyPr wrap="square" lIns="0" tIns="0" rIns="0" bIns="0" rtlCol="0">
            <a:spAutoFit/>
          </a:bodyPr>
          <a:lstStyle/>
          <a:p>
            <a:pPr algn="l"/>
            <a:r>
              <a:rPr lang="en-GB" sz="900">
                <a:latin typeface="Consolas" panose="020B0609020204030204" pitchFamily="49" charset="0"/>
              </a:rPr>
              <a:t>You are Product </a:t>
            </a:r>
            <a:r>
              <a:rPr lang="en-GB" sz="900" err="1">
                <a:latin typeface="Consolas" panose="020B0609020204030204" pitchFamily="49" charset="0"/>
              </a:rPr>
              <a:t>Catalog</a:t>
            </a:r>
            <a:r>
              <a:rPr lang="en-GB" sz="900">
                <a:latin typeface="Consolas" panose="020B0609020204030204" pitchFamily="49" charset="0"/>
              </a:rPr>
              <a:t> agent. </a:t>
            </a:r>
            <a:br>
              <a:rPr lang="en-GB" sz="900">
                <a:latin typeface="Consolas" panose="020B0609020204030204" pitchFamily="49" charset="0"/>
              </a:rPr>
            </a:br>
            <a:r>
              <a:rPr lang="en-GB" sz="900">
                <a:latin typeface="Consolas" panose="020B0609020204030204" pitchFamily="49" charset="0"/>
              </a:rPr>
              <a:t>You answer queries related to Contoso Electronics product </a:t>
            </a:r>
            <a:r>
              <a:rPr lang="en-GB" sz="900" err="1">
                <a:latin typeface="Consolas" panose="020B0609020204030204" pitchFamily="49" charset="0"/>
              </a:rPr>
              <a:t>catalog</a:t>
            </a:r>
            <a:r>
              <a:rPr lang="en-GB" sz="900">
                <a:latin typeface="Consolas" panose="020B0609020204030204" pitchFamily="49" charset="0"/>
              </a:rPr>
              <a:t> and refuse to answer any other questions.</a:t>
            </a:r>
          </a:p>
          <a:p>
            <a:pPr algn="l"/>
            <a:r>
              <a:rPr lang="en-GB" sz="900">
                <a:latin typeface="Consolas" panose="020B0609020204030204" pitchFamily="49" charset="0"/>
              </a:rPr>
              <a:t>You can return product details in the following format:</a:t>
            </a:r>
            <a:br>
              <a:rPr lang="en-GB" sz="900">
                <a:latin typeface="Consolas" panose="020B0609020204030204" pitchFamily="49" charset="0"/>
              </a:rPr>
            </a:br>
            <a:r>
              <a:rPr lang="en-GB" sz="900">
                <a:latin typeface="Consolas" panose="020B0609020204030204" pitchFamily="49" charset="0"/>
              </a:rPr>
              <a:t>Product Title: **title in bold font**</a:t>
            </a:r>
          </a:p>
          <a:p>
            <a:pPr algn="l"/>
            <a:r>
              <a:rPr lang="en-GB" sz="900">
                <a:latin typeface="Consolas" panose="020B0609020204030204" pitchFamily="49" charset="0"/>
              </a:rPr>
              <a:t>Category: category of product here</a:t>
            </a:r>
          </a:p>
          <a:p>
            <a:pPr algn="l"/>
            <a:r>
              <a:rPr lang="en-GB" sz="900">
                <a:latin typeface="Consolas" panose="020B0609020204030204" pitchFamily="49" charset="0"/>
              </a:rPr>
              <a:t>Description: description of the product rephrased to be more relevant for user query.</a:t>
            </a:r>
          </a:p>
          <a:p>
            <a:pPr algn="l"/>
            <a:r>
              <a:rPr lang="en-GB" sz="900">
                <a:latin typeface="Consolas" panose="020B0609020204030204" pitchFamily="49" charset="0"/>
              </a:rPr>
              <a:t>You can send details by email if requested by user.</a:t>
            </a:r>
          </a:p>
          <a:p>
            <a:pPr algn="l"/>
            <a:r>
              <a:rPr lang="en-GB" sz="900">
                <a:latin typeface="Consolas" panose="020B0609020204030204" pitchFamily="49" charset="0"/>
              </a:rPr>
              <a:t>Be polite and use professional tone.</a:t>
            </a:r>
            <a:endParaRPr lang="en-US" sz="900">
              <a:latin typeface="Consolas" panose="020B0609020204030204" pitchFamily="49" charset="0"/>
            </a:endParaRPr>
          </a:p>
        </p:txBody>
      </p:sp>
      <p:cxnSp>
        <p:nvCxnSpPr>
          <p:cNvPr id="10" name="Straight Connector 9">
            <a:extLst>
              <a:ext uri="{FF2B5EF4-FFF2-40B4-BE49-F238E27FC236}">
                <a16:creationId xmlns:a16="http://schemas.microsoft.com/office/drawing/2014/main" id="{883FC428-C66C-1C0B-607F-FB071E3DB3CF}"/>
              </a:ext>
              <a:ext uri="{C183D7F6-B498-43B3-948B-1728B52AA6E4}">
                <adec:decorative xmlns:adec="http://schemas.microsoft.com/office/drawing/2017/decorative" val="1"/>
              </a:ext>
            </a:extLst>
          </p:cNvPr>
          <p:cNvCxnSpPr/>
          <p:nvPr/>
        </p:nvCxnSpPr>
        <p:spPr>
          <a:xfrm>
            <a:off x="1639818" y="3580686"/>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Rectangle: Rounded Corners 5">
            <a:extLst>
              <a:ext uri="{FF2B5EF4-FFF2-40B4-BE49-F238E27FC236}">
                <a16:creationId xmlns:a16="http://schemas.microsoft.com/office/drawing/2014/main" id="{4641AB16-3AA8-8846-5933-FE1451280DE5}"/>
              </a:ext>
            </a:extLst>
          </p:cNvPr>
          <p:cNvSpPr/>
          <p:nvPr/>
        </p:nvSpPr>
        <p:spPr bwMode="auto">
          <a:xfrm>
            <a:off x="4850782" y="1828800"/>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C03BC4"/>
                </a:solidFill>
                <a:latin typeface="Segoe UI Semibold"/>
              </a:rPr>
              <a:t>Knowledge</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SharePoint sites, files, Copilot Connectors for external data</a:t>
            </a:r>
          </a:p>
        </p:txBody>
      </p:sp>
      <p:pic>
        <p:nvPicPr>
          <p:cNvPr id="16" name="Picture 15">
            <a:extLst>
              <a:ext uri="{FF2B5EF4-FFF2-40B4-BE49-F238E27FC236}">
                <a16:creationId xmlns:a16="http://schemas.microsoft.com/office/drawing/2014/main" id="{CD442EB7-5961-F2C9-608A-E4ECD0EC0B05}"/>
              </a:ext>
              <a:ext uri="{C183D7F6-B498-43B3-948B-1728B52AA6E4}">
                <adec:decorative xmlns:adec="http://schemas.microsoft.com/office/drawing/2017/decorative" val="1"/>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5211510" y="4001057"/>
            <a:ext cx="414123" cy="403770"/>
          </a:xfrm>
          <a:prstGeom prst="rect">
            <a:avLst/>
          </a:prstGeom>
        </p:spPr>
      </p:pic>
      <p:sp>
        <p:nvSpPr>
          <p:cNvPr id="7" name="Rectangle: Rounded Corners 6">
            <a:extLst>
              <a:ext uri="{FF2B5EF4-FFF2-40B4-BE49-F238E27FC236}">
                <a16:creationId xmlns:a16="http://schemas.microsoft.com/office/drawing/2014/main" id="{CAC8144B-18D1-12B7-DD90-1743923C2DA3}"/>
              </a:ext>
            </a:extLst>
          </p:cNvPr>
          <p:cNvSpPr/>
          <p:nvPr/>
        </p:nvSpPr>
        <p:spPr bwMode="auto">
          <a:xfrm>
            <a:off x="8264163" y="1828799"/>
            <a:ext cx="305265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0078D4"/>
                </a:solidFill>
                <a:latin typeface="Segoe UI Semibold"/>
              </a:rPr>
              <a:t>Actions / Tools</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Power Platform connectors, Power Automate flows, AI Builder prompts, REST APIs</a:t>
            </a:r>
          </a:p>
        </p:txBody>
      </p:sp>
      <p:sp>
        <p:nvSpPr>
          <p:cNvPr id="20" name="TextBox 19">
            <a:extLst>
              <a:ext uri="{FF2B5EF4-FFF2-40B4-BE49-F238E27FC236}">
                <a16:creationId xmlns:a16="http://schemas.microsoft.com/office/drawing/2014/main" id="{93185E44-B2A3-1B01-B2DF-19F14E503EFC}"/>
              </a:ext>
            </a:extLst>
          </p:cNvPr>
          <p:cNvSpPr txBox="1"/>
          <p:nvPr/>
        </p:nvSpPr>
        <p:spPr>
          <a:xfrm>
            <a:off x="8557950" y="3792337"/>
            <a:ext cx="2521009" cy="830997"/>
          </a:xfrm>
          <a:prstGeom prst="rect">
            <a:avLst/>
          </a:prstGeom>
          <a:noFill/>
        </p:spPr>
        <p:txBody>
          <a:bodyPr wrap="square" lIns="0" tIns="0" rIns="0" bIns="0" rtlCol="0">
            <a:spAutoFit/>
          </a:bodyPr>
          <a:lstStyle/>
          <a:p>
            <a:pPr algn="l"/>
            <a:r>
              <a:rPr lang="en-GB" sz="900">
                <a:latin typeface="Consolas" panose="020B0609020204030204" pitchFamily="49" charset="0"/>
              </a:rPr>
              <a:t>If you’re requested to send an email, gather input information from the user:</a:t>
            </a:r>
          </a:p>
          <a:p>
            <a:pPr algn="l"/>
            <a:endParaRPr lang="en-GB" sz="900">
              <a:latin typeface="Consolas" panose="020B0609020204030204" pitchFamily="49" charset="0"/>
            </a:endParaRPr>
          </a:p>
          <a:p>
            <a:pPr marL="171450" indent="-171450" algn="l">
              <a:buFont typeface="Arial" panose="020B0604020202020204" pitchFamily="34" charset="0"/>
              <a:buChar char="•"/>
            </a:pPr>
            <a:r>
              <a:rPr lang="en-GB" sz="900">
                <a:latin typeface="Consolas" panose="020B0609020204030204" pitchFamily="49" charset="0"/>
              </a:rPr>
              <a:t>Email address of recipient</a:t>
            </a:r>
          </a:p>
          <a:p>
            <a:pPr marL="171450" indent="-171450" algn="l">
              <a:buFont typeface="Arial" panose="020B0604020202020204" pitchFamily="34" charset="0"/>
              <a:buChar char="•"/>
            </a:pPr>
            <a:r>
              <a:rPr lang="en-GB" sz="900">
                <a:latin typeface="Consolas" panose="020B0609020204030204" pitchFamily="49" charset="0"/>
              </a:rPr>
              <a:t>Subject of email</a:t>
            </a:r>
          </a:p>
          <a:p>
            <a:pPr marL="171450" indent="-171450" algn="l">
              <a:buFont typeface="Arial" panose="020B0604020202020204" pitchFamily="34" charset="0"/>
              <a:buChar char="•"/>
            </a:pPr>
            <a:r>
              <a:rPr lang="en-GB" sz="900">
                <a:latin typeface="Consolas" panose="020B0609020204030204" pitchFamily="49" charset="0"/>
              </a:rPr>
              <a:t>Body content of the email</a:t>
            </a:r>
          </a:p>
        </p:txBody>
      </p:sp>
      <p:pic>
        <p:nvPicPr>
          <p:cNvPr id="25" name="Picture 24">
            <a:extLst>
              <a:ext uri="{FF2B5EF4-FFF2-40B4-BE49-F238E27FC236}">
                <a16:creationId xmlns:a16="http://schemas.microsoft.com/office/drawing/2014/main" id="{61F79C2D-BAA3-570F-D83A-61FCC98B5D1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5525" y="4837830"/>
            <a:ext cx="389928" cy="389928"/>
          </a:xfrm>
          <a:prstGeom prst="rect">
            <a:avLst/>
          </a:prstGeom>
        </p:spPr>
      </p:pic>
      <p:sp>
        <p:nvSpPr>
          <p:cNvPr id="26" name="TextBox 25">
            <a:extLst>
              <a:ext uri="{FF2B5EF4-FFF2-40B4-BE49-F238E27FC236}">
                <a16:creationId xmlns:a16="http://schemas.microsoft.com/office/drawing/2014/main" id="{A4CA37D3-9BD6-6392-0C02-9BB782E75F0A}"/>
              </a:ext>
            </a:extLst>
          </p:cNvPr>
          <p:cNvSpPr txBox="1"/>
          <p:nvPr/>
        </p:nvSpPr>
        <p:spPr>
          <a:xfrm>
            <a:off x="8557950" y="5299336"/>
            <a:ext cx="2527359" cy="184666"/>
          </a:xfrm>
          <a:prstGeom prst="rect">
            <a:avLst/>
          </a:prstGeom>
          <a:noFill/>
        </p:spPr>
        <p:txBody>
          <a:bodyPr wrap="none" lIns="0" tIns="0" rIns="0" bIns="0" rtlCol="0">
            <a:spAutoFit/>
          </a:bodyPr>
          <a:lstStyle/>
          <a:p>
            <a:pPr algn="l"/>
            <a:r>
              <a:rPr lang="en-GB" sz="1200" b="1"/>
              <a:t>Outlook connector – Send an email</a:t>
            </a:r>
            <a:endParaRPr lang="en-US" sz="1200" b="1" err="1"/>
          </a:p>
        </p:txBody>
      </p:sp>
      <p:cxnSp>
        <p:nvCxnSpPr>
          <p:cNvPr id="11" name="Straight Connector 10">
            <a:extLst>
              <a:ext uri="{FF2B5EF4-FFF2-40B4-BE49-F238E27FC236}">
                <a16:creationId xmlns:a16="http://schemas.microsoft.com/office/drawing/2014/main" id="{251F6C41-981E-AF9A-640C-F667943FFAA9}"/>
              </a:ext>
              <a:ext uri="{C183D7F6-B498-43B3-948B-1728B52AA6E4}">
                <adec:decorative xmlns:adec="http://schemas.microsoft.com/office/drawing/2017/decorative" val="1"/>
              </a:ext>
            </a:extLst>
          </p:cNvPr>
          <p:cNvCxnSpPr/>
          <p:nvPr/>
        </p:nvCxnSpPr>
        <p:spPr>
          <a:xfrm>
            <a:off x="5211510" y="3579264"/>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6A27DA0E-A8C1-18EA-2140-D8170AEBB1CF}"/>
              </a:ext>
              <a:ext uri="{C183D7F6-B498-43B3-948B-1728B52AA6E4}">
                <adec:decorative xmlns:adec="http://schemas.microsoft.com/office/drawing/2017/decorative" val="1"/>
              </a:ext>
            </a:extLst>
          </p:cNvPr>
          <p:cNvCxnSpPr/>
          <p:nvPr/>
        </p:nvCxnSpPr>
        <p:spPr>
          <a:xfrm>
            <a:off x="8651953" y="3577840"/>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050" name="Picture 2" descr="ServiceNow Logo, symbol, meaning, history, PNG, brand">
            <a:extLst>
              <a:ext uri="{FF2B5EF4-FFF2-40B4-BE49-F238E27FC236}">
                <a16:creationId xmlns:a16="http://schemas.microsoft.com/office/drawing/2014/main" id="{2B36FDD1-C40A-C760-B233-A06742B2E4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2447" y="3714689"/>
            <a:ext cx="1624174" cy="9135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797FA7B5-C746-9B34-CB0B-8A763D48BA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47034" y="4692858"/>
            <a:ext cx="576470" cy="576470"/>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6" descr="Free Azure Devops Icon - Free Download Logos Icons | IconScout">
            <a:extLst>
              <a:ext uri="{FF2B5EF4-FFF2-40B4-BE49-F238E27FC236}">
                <a16:creationId xmlns:a16="http://schemas.microsoft.com/office/drawing/2014/main" id="{B054C8EE-A6B1-6A4F-F1C2-580059B166C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56" name="Picture 8" descr="Azure DevOps Server | Webex App Hub">
            <a:extLst>
              <a:ext uri="{FF2B5EF4-FFF2-40B4-BE49-F238E27FC236}">
                <a16:creationId xmlns:a16="http://schemas.microsoft.com/office/drawing/2014/main" id="{44626B64-7BCE-AB57-6D14-8C8312D68F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22606" y="4547229"/>
            <a:ext cx="809996" cy="80999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SQL Database (generic) | Microsoft Azure Color">
            <a:extLst>
              <a:ext uri="{FF2B5EF4-FFF2-40B4-BE49-F238E27FC236}">
                <a16:creationId xmlns:a16="http://schemas.microsoft.com/office/drawing/2014/main" id="{1C784698-544F-0D60-2968-3E24CFA160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15562" y="4599444"/>
            <a:ext cx="531218" cy="7055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1230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FB5067C-9703-BE07-453A-BE01BFF44CC5}"/>
              </a:ext>
            </a:extLst>
          </p:cNvPr>
          <p:cNvSpPr txBox="1"/>
          <p:nvPr/>
        </p:nvSpPr>
        <p:spPr>
          <a:xfrm>
            <a:off x="484831" y="457200"/>
            <a:ext cx="10620908"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none" spc="-25" normalizeH="0" baseline="0" noProof="0">
                <a:ln>
                  <a:noFill/>
                </a:ln>
                <a:effectLst/>
                <a:uLnTx/>
                <a:uFillTx/>
                <a:latin typeface="Segoe UI Semibold"/>
                <a:ea typeface="Segoe UI Semibold" pitchFamily="34" charset="-122"/>
                <a:cs typeface="Segoe UI Semibold"/>
              </a:rPr>
              <a:t>Copilot Connectors (former Graph Connectors)</a:t>
            </a:r>
            <a:endParaRPr kumimoji="0" lang="en-GB" sz="2800" b="0" i="0" u="none" strike="noStrike" kern="1200" cap="none" spc="0" normalizeH="0" baseline="0" noProof="0">
              <a:ln>
                <a:noFill/>
              </a:ln>
              <a:effectLst/>
              <a:uLnTx/>
              <a:uFillTx/>
              <a:latin typeface="Segoe UI Semibold"/>
              <a:ea typeface="+mn-ea"/>
              <a:cs typeface="Segoe UI Semibold"/>
            </a:endParaRPr>
          </a:p>
        </p:txBody>
      </p:sp>
      <mc:AlternateContent xmlns:mc="http://schemas.openxmlformats.org/markup-compatibility/2006" xmlns:p14="http://schemas.microsoft.com/office/powerpoint/2010/main">
        <mc:Choice Requires="p14">
          <p:contentPart p14:bwMode="auto" r:id="rId3">
            <p14:nvContentPartPr>
              <p14:cNvPr id="10" name="Ink 9">
                <a:extLst>
                  <a:ext uri="{FF2B5EF4-FFF2-40B4-BE49-F238E27FC236}">
                    <a16:creationId xmlns:a16="http://schemas.microsoft.com/office/drawing/2014/main" id="{94FCF580-D9CD-E747-2B13-413060A24796}"/>
                  </a:ext>
                </a:extLst>
              </p14:cNvPr>
              <p14:cNvContentPartPr/>
              <p14:nvPr/>
            </p14:nvContentPartPr>
            <p14:xfrm>
              <a:off x="9373765" y="1259024"/>
              <a:ext cx="360" cy="360"/>
            </p14:xfrm>
          </p:contentPart>
        </mc:Choice>
        <mc:Fallback xmlns="">
          <p:pic>
            <p:nvPicPr>
              <p:cNvPr id="10" name="Ink 9">
                <a:extLst>
                  <a:ext uri="{FF2B5EF4-FFF2-40B4-BE49-F238E27FC236}">
                    <a16:creationId xmlns:a16="http://schemas.microsoft.com/office/drawing/2014/main" id="{94FCF580-D9CD-E747-2B13-413060A24796}"/>
                  </a:ext>
                </a:extLst>
              </p:cNvPr>
              <p:cNvPicPr/>
              <p:nvPr/>
            </p:nvPicPr>
            <p:blipFill>
              <a:blip r:embed="rId4"/>
              <a:stretch>
                <a:fillRect/>
              </a:stretch>
            </p:blipFill>
            <p:spPr>
              <a:xfrm>
                <a:off x="9369445" y="1254704"/>
                <a:ext cx="9000" cy="9000"/>
              </a:xfrm>
              <a:prstGeom prst="rect">
                <a:avLst/>
              </a:prstGeom>
            </p:spPr>
          </p:pic>
        </mc:Fallback>
      </mc:AlternateContent>
      <p:sp>
        <p:nvSpPr>
          <p:cNvPr id="4" name="Rectangle: Rounded Corners 3">
            <a:extLst>
              <a:ext uri="{FF2B5EF4-FFF2-40B4-BE49-F238E27FC236}">
                <a16:creationId xmlns:a16="http://schemas.microsoft.com/office/drawing/2014/main" id="{0EA1EEFD-072A-B47F-F030-A59F59AC9982}"/>
              </a:ext>
            </a:extLst>
          </p:cNvPr>
          <p:cNvSpPr/>
          <p:nvPr/>
        </p:nvSpPr>
        <p:spPr bwMode="auto">
          <a:xfrm>
            <a:off x="584200" y="1537988"/>
            <a:ext cx="11025188" cy="3122391"/>
          </a:xfrm>
          <a:prstGeom prst="roundRect">
            <a:avLst>
              <a:gd name="adj" fmla="val 8539"/>
            </a:avLst>
          </a:prstGeom>
          <a:solidFill>
            <a:srgbClr val="3A4953">
              <a:alpha val="6000"/>
            </a:srgbClr>
          </a:solidFill>
          <a:ln w="28575">
            <a:gradFill>
              <a:gsLst>
                <a:gs pos="0">
                  <a:schemeClr val="accent3"/>
                </a:gs>
                <a:gs pos="80000">
                  <a:schemeClr val="accent1"/>
                </a:gs>
              </a:gsLst>
              <a:lin ang="5400000" scaled="1"/>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uk-UA"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pic>
        <p:nvPicPr>
          <p:cNvPr id="7" name="Picture 6">
            <a:extLst>
              <a:ext uri="{FF2B5EF4-FFF2-40B4-BE49-F238E27FC236}">
                <a16:creationId xmlns:a16="http://schemas.microsoft.com/office/drawing/2014/main" id="{B5FE4C15-E39E-72BF-4EF6-8D3A6171B083}"/>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16541" y="2636667"/>
            <a:ext cx="1414463" cy="1414463"/>
          </a:xfrm>
          <a:prstGeom prst="rect">
            <a:avLst/>
          </a:prstGeom>
        </p:spPr>
      </p:pic>
      <p:sp>
        <p:nvSpPr>
          <p:cNvPr id="8" name="TextBox 7">
            <a:extLst>
              <a:ext uri="{FF2B5EF4-FFF2-40B4-BE49-F238E27FC236}">
                <a16:creationId xmlns:a16="http://schemas.microsoft.com/office/drawing/2014/main" id="{AB0D713A-D116-E4CE-86D6-E55324E45582}"/>
              </a:ext>
              <a:ext uri="{C183D7F6-B498-43B3-948B-1728B52AA6E4}">
                <adec:decorative xmlns:adec="http://schemas.microsoft.com/office/drawing/2017/decorative" val="1"/>
              </a:ext>
            </a:extLst>
          </p:cNvPr>
          <p:cNvSpPr txBox="1"/>
          <p:nvPr/>
        </p:nvSpPr>
        <p:spPr>
          <a:xfrm>
            <a:off x="8963469" y="2269042"/>
            <a:ext cx="18859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80808"/>
                </a:solidFill>
                <a:effectLst/>
                <a:uLnTx/>
                <a:uFillTx/>
                <a:latin typeface="Segoe UI Semibold"/>
                <a:ea typeface="+mn-ea"/>
                <a:cs typeface="Segoe UI" panose="020B0502040204020203" pitchFamily="34" charset="0"/>
              </a:rPr>
              <a:t>Large </a:t>
            </a:r>
            <a:br>
              <a:rPr kumimoji="0" lang="uk-UA" sz="1400" b="0" i="0" u="none" strike="noStrike" kern="1200" cap="none" spc="0" normalizeH="0" baseline="0" noProof="0">
                <a:ln>
                  <a:noFill/>
                </a:ln>
                <a:solidFill>
                  <a:srgbClr val="080808"/>
                </a:solidFill>
                <a:effectLst/>
                <a:uLnTx/>
                <a:uFillTx/>
                <a:latin typeface="Segoe UI Semibold"/>
                <a:ea typeface="+mn-ea"/>
                <a:cs typeface="Segoe UI" panose="020B0502040204020203" pitchFamily="34" charset="0"/>
              </a:rPr>
            </a:br>
            <a:r>
              <a:rPr kumimoji="0" lang="en-US" sz="1400" b="0" i="0" u="none" strike="noStrike" kern="1200" cap="none" spc="0" normalizeH="0" baseline="0" noProof="0">
                <a:ln>
                  <a:noFill/>
                </a:ln>
                <a:solidFill>
                  <a:srgbClr val="080808"/>
                </a:solidFill>
                <a:effectLst/>
                <a:uLnTx/>
                <a:uFillTx/>
                <a:latin typeface="Segoe UI Semibold"/>
                <a:ea typeface="+mn-ea"/>
                <a:cs typeface="Segoe UI" panose="020B0502040204020203" pitchFamily="34" charset="0"/>
              </a:rPr>
              <a:t>Language Model</a:t>
            </a:r>
          </a:p>
        </p:txBody>
      </p:sp>
      <p:grpSp>
        <p:nvGrpSpPr>
          <p:cNvPr id="9" name="Group 8">
            <a:extLst>
              <a:ext uri="{FF2B5EF4-FFF2-40B4-BE49-F238E27FC236}">
                <a16:creationId xmlns:a16="http://schemas.microsoft.com/office/drawing/2014/main" id="{4EFBCDA1-FEEE-5991-F986-F9382506B249}"/>
              </a:ext>
              <a:ext uri="{C183D7F6-B498-43B3-948B-1728B52AA6E4}">
                <adec:decorative xmlns:adec="http://schemas.microsoft.com/office/drawing/2017/decorative" val="1"/>
              </a:ext>
            </a:extLst>
          </p:cNvPr>
          <p:cNvGrpSpPr/>
          <p:nvPr/>
        </p:nvGrpSpPr>
        <p:grpSpPr>
          <a:xfrm>
            <a:off x="9007219" y="2895110"/>
            <a:ext cx="1795159" cy="897579"/>
            <a:chOff x="6257682" y="-188841"/>
            <a:chExt cx="2011680" cy="1005840"/>
          </a:xfrm>
          <a:effectLst/>
        </p:grpSpPr>
        <p:sp>
          <p:nvSpPr>
            <p:cNvPr id="14" name="Rectangle: Rounded Corners 13">
              <a:extLst>
                <a:ext uri="{FF2B5EF4-FFF2-40B4-BE49-F238E27FC236}">
                  <a16:creationId xmlns:a16="http://schemas.microsoft.com/office/drawing/2014/main" id="{B04A0336-C863-0F54-95CC-6800EFE0D8E5}"/>
                </a:ext>
              </a:extLst>
            </p:cNvPr>
            <p:cNvSpPr/>
            <p:nvPr/>
          </p:nvSpPr>
          <p:spPr bwMode="auto">
            <a:xfrm>
              <a:off x="6257682" y="-188841"/>
              <a:ext cx="2011680" cy="1005840"/>
            </a:xfrm>
            <a:prstGeom prst="roundRect">
              <a:avLst>
                <a:gd name="adj" fmla="val 50000"/>
              </a:avLst>
            </a:prstGeom>
            <a:gradFill flip="none" rotWithShape="1">
              <a:gsLst>
                <a:gs pos="0">
                  <a:srgbClr val="0078D4"/>
                </a:gs>
                <a:gs pos="85000">
                  <a:srgbClr val="C03BC4"/>
                </a:gs>
              </a:gsLst>
              <a:lin ang="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0" tIns="17145" rIns="0" bIns="42863" numCol="1" spcCol="0" rtlCol="0" fromWordArt="0" anchor="ctr" anchorCtr="0" forceAA="0" compatLnSpc="1">
              <a:prstTxWarp prst="textNoShape">
                <a:avLst/>
              </a:prstTxWarp>
              <a:noAutofit/>
            </a:bodyPr>
            <a:lstStyle/>
            <a:p>
              <a:pPr marL="0" marR="0" lvl="0" indent="0" algn="ctr" defTabSz="857219"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endParaRPr>
            </a:p>
          </p:txBody>
        </p:sp>
        <p:grpSp>
          <p:nvGrpSpPr>
            <p:cNvPr id="15" name="Group 14">
              <a:extLst>
                <a:ext uri="{FF2B5EF4-FFF2-40B4-BE49-F238E27FC236}">
                  <a16:creationId xmlns:a16="http://schemas.microsoft.com/office/drawing/2014/main" id="{37AF6B15-F5C8-64F5-E0F8-C2B365ADB0D6}"/>
                </a:ext>
              </a:extLst>
            </p:cNvPr>
            <p:cNvGrpSpPr/>
            <p:nvPr/>
          </p:nvGrpSpPr>
          <p:grpSpPr>
            <a:xfrm>
              <a:off x="6579157" y="-46029"/>
              <a:ext cx="1368730" cy="720217"/>
              <a:chOff x="6405833" y="-266982"/>
              <a:chExt cx="1368730" cy="720217"/>
            </a:xfrm>
          </p:grpSpPr>
          <p:sp>
            <p:nvSpPr>
              <p:cNvPr id="16" name="Graphic 127" descr="Lightbulb with person inside icon">
                <a:extLst>
                  <a:ext uri="{FF2B5EF4-FFF2-40B4-BE49-F238E27FC236}">
                    <a16:creationId xmlns:a16="http://schemas.microsoft.com/office/drawing/2014/main" id="{F2853294-5A36-5474-B1A1-16D67F74269D}"/>
                  </a:ext>
                </a:extLst>
              </p:cNvPr>
              <p:cNvSpPr/>
              <p:nvPr/>
            </p:nvSpPr>
            <p:spPr>
              <a:xfrm>
                <a:off x="6829102" y="-266982"/>
                <a:ext cx="522193" cy="720217"/>
              </a:xfrm>
              <a:custGeom>
                <a:avLst/>
                <a:gdLst>
                  <a:gd name="connsiteX0" fmla="*/ 219572 w 298323"/>
                  <a:gd name="connsiteY0" fmla="*/ 360025 h 411451"/>
                  <a:gd name="connsiteX1" fmla="*/ 215971 w 298323"/>
                  <a:gd name="connsiteY1" fmla="*/ 375610 h 411451"/>
                  <a:gd name="connsiteX2" fmla="*/ 174437 w 298323"/>
                  <a:gd name="connsiteY2" fmla="*/ 411316 h 411451"/>
                  <a:gd name="connsiteX3" fmla="*/ 170875 w 298323"/>
                  <a:gd name="connsiteY3" fmla="*/ 411452 h 411451"/>
                  <a:gd name="connsiteX4" fmla="*/ 127429 w 298323"/>
                  <a:gd name="connsiteY4" fmla="*/ 411452 h 411451"/>
                  <a:gd name="connsiteX5" fmla="*/ 83258 w 298323"/>
                  <a:gd name="connsiteY5" fmla="*/ 379019 h 411451"/>
                  <a:gd name="connsiteX6" fmla="*/ 82324 w 298323"/>
                  <a:gd name="connsiteY6" fmla="*/ 375577 h 411451"/>
                  <a:gd name="connsiteX7" fmla="*/ 78731 w 298323"/>
                  <a:gd name="connsiteY7" fmla="*/ 360025 h 411451"/>
                  <a:gd name="connsiteX8" fmla="*/ 219572 w 298323"/>
                  <a:gd name="connsiteY8" fmla="*/ 360025 h 411451"/>
                  <a:gd name="connsiteX9" fmla="*/ 226721 w 298323"/>
                  <a:gd name="connsiteY9" fmla="*/ 329164 h 411451"/>
                  <a:gd name="connsiteX10" fmla="*/ 231015 w 298323"/>
                  <a:gd name="connsiteY10" fmla="*/ 310618 h 411451"/>
                  <a:gd name="connsiteX11" fmla="*/ 149162 w 298323"/>
                  <a:gd name="connsiteY11" fmla="*/ 277729 h 411451"/>
                  <a:gd name="connsiteX12" fmla="*/ 67312 w 298323"/>
                  <a:gd name="connsiteY12" fmla="*/ 310614 h 411451"/>
                  <a:gd name="connsiteX13" fmla="*/ 71595 w 298323"/>
                  <a:gd name="connsiteY13" fmla="*/ 329164 h 411451"/>
                  <a:gd name="connsiteX14" fmla="*/ 226721 w 298323"/>
                  <a:gd name="connsiteY14" fmla="*/ 329164 h 411451"/>
                  <a:gd name="connsiteX15" fmla="*/ 149162 w 298323"/>
                  <a:gd name="connsiteY15" fmla="*/ 246868 h 411451"/>
                  <a:gd name="connsiteX16" fmla="*/ 59519 w 298323"/>
                  <a:gd name="connsiteY16" fmla="*/ 276799 h 411451"/>
                  <a:gd name="connsiteX17" fmla="*/ 58389 w 298323"/>
                  <a:gd name="connsiteY17" fmla="*/ 271894 h 411451"/>
                  <a:gd name="connsiteX18" fmla="*/ 56928 w 298323"/>
                  <a:gd name="connsiteY18" fmla="*/ 269328 h 411451"/>
                  <a:gd name="connsiteX19" fmla="*/ 0 w 298323"/>
                  <a:gd name="connsiteY19" fmla="*/ 149162 h 411451"/>
                  <a:gd name="connsiteX20" fmla="*/ 149162 w 298323"/>
                  <a:gd name="connsiteY20" fmla="*/ 0 h 411451"/>
                  <a:gd name="connsiteX21" fmla="*/ 298323 w 298323"/>
                  <a:gd name="connsiteY21" fmla="*/ 149162 h 411451"/>
                  <a:gd name="connsiteX22" fmla="*/ 241428 w 298323"/>
                  <a:gd name="connsiteY22" fmla="*/ 269328 h 411451"/>
                  <a:gd name="connsiteX23" fmla="*/ 239969 w 298323"/>
                  <a:gd name="connsiteY23" fmla="*/ 271890 h 411451"/>
                  <a:gd name="connsiteX24" fmla="*/ 238829 w 298323"/>
                  <a:gd name="connsiteY24" fmla="*/ 276817 h 411451"/>
                  <a:gd name="connsiteX25" fmla="*/ 149162 w 298323"/>
                  <a:gd name="connsiteY25" fmla="*/ 246868 h 411451"/>
                  <a:gd name="connsiteX26" fmla="*/ 113157 w 298323"/>
                  <a:gd name="connsiteY26" fmla="*/ 149141 h 411451"/>
                  <a:gd name="connsiteX27" fmla="*/ 149162 w 298323"/>
                  <a:gd name="connsiteY27" fmla="*/ 113137 h 411451"/>
                  <a:gd name="connsiteX28" fmla="*/ 185166 w 298323"/>
                  <a:gd name="connsiteY28" fmla="*/ 149141 h 411451"/>
                  <a:gd name="connsiteX29" fmla="*/ 149162 w 298323"/>
                  <a:gd name="connsiteY29" fmla="*/ 185146 h 411451"/>
                  <a:gd name="connsiteX30" fmla="*/ 113157 w 298323"/>
                  <a:gd name="connsiteY30" fmla="*/ 149141 h 411451"/>
                  <a:gd name="connsiteX31" fmla="*/ 149162 w 298323"/>
                  <a:gd name="connsiteY31" fmla="*/ 82276 h 411451"/>
                  <a:gd name="connsiteX32" fmla="*/ 82296 w 298323"/>
                  <a:gd name="connsiteY32" fmla="*/ 149141 h 411451"/>
                  <a:gd name="connsiteX33" fmla="*/ 149162 w 298323"/>
                  <a:gd name="connsiteY33" fmla="*/ 216007 h 411451"/>
                  <a:gd name="connsiteX34" fmla="*/ 216027 w 298323"/>
                  <a:gd name="connsiteY34" fmla="*/ 149141 h 411451"/>
                  <a:gd name="connsiteX35" fmla="*/ 149162 w 298323"/>
                  <a:gd name="connsiteY35" fmla="*/ 82276 h 411451"/>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 name="connsiteX26" fmla="*/ 113157 w 298323"/>
                  <a:gd name="connsiteY26" fmla="*/ 149141 h 411452"/>
                  <a:gd name="connsiteX27" fmla="*/ 149162 w 298323"/>
                  <a:gd name="connsiteY27" fmla="*/ 113137 h 411452"/>
                  <a:gd name="connsiteX28" fmla="*/ 185166 w 298323"/>
                  <a:gd name="connsiteY28" fmla="*/ 149141 h 411452"/>
                  <a:gd name="connsiteX29" fmla="*/ 149162 w 298323"/>
                  <a:gd name="connsiteY29" fmla="*/ 185146 h 411452"/>
                  <a:gd name="connsiteX30" fmla="*/ 113157 w 298323"/>
                  <a:gd name="connsiteY30" fmla="*/ 149141 h 411452"/>
                  <a:gd name="connsiteX31" fmla="*/ 216027 w 298323"/>
                  <a:gd name="connsiteY31" fmla="*/ 149141 h 411452"/>
                  <a:gd name="connsiteX32" fmla="*/ 82296 w 298323"/>
                  <a:gd name="connsiteY32" fmla="*/ 149141 h 411452"/>
                  <a:gd name="connsiteX33" fmla="*/ 149162 w 298323"/>
                  <a:gd name="connsiteY33" fmla="*/ 216007 h 411452"/>
                  <a:gd name="connsiteX34" fmla="*/ 216027 w 298323"/>
                  <a:gd name="connsiteY34" fmla="*/ 149141 h 411452"/>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 name="connsiteX26" fmla="*/ 113157 w 298323"/>
                  <a:gd name="connsiteY26" fmla="*/ 149141 h 411452"/>
                  <a:gd name="connsiteX27" fmla="*/ 185166 w 298323"/>
                  <a:gd name="connsiteY27" fmla="*/ 149141 h 411452"/>
                  <a:gd name="connsiteX28" fmla="*/ 149162 w 298323"/>
                  <a:gd name="connsiteY28" fmla="*/ 185146 h 411452"/>
                  <a:gd name="connsiteX29" fmla="*/ 113157 w 298323"/>
                  <a:gd name="connsiteY29" fmla="*/ 149141 h 411452"/>
                  <a:gd name="connsiteX30" fmla="*/ 216027 w 298323"/>
                  <a:gd name="connsiteY30" fmla="*/ 149141 h 411452"/>
                  <a:gd name="connsiteX31" fmla="*/ 82296 w 298323"/>
                  <a:gd name="connsiteY31" fmla="*/ 149141 h 411452"/>
                  <a:gd name="connsiteX32" fmla="*/ 149162 w 298323"/>
                  <a:gd name="connsiteY32" fmla="*/ 216007 h 411452"/>
                  <a:gd name="connsiteX33" fmla="*/ 216027 w 298323"/>
                  <a:gd name="connsiteY33" fmla="*/ 149141 h 411452"/>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 name="connsiteX26" fmla="*/ 113157 w 298323"/>
                  <a:gd name="connsiteY26" fmla="*/ 149141 h 411452"/>
                  <a:gd name="connsiteX27" fmla="*/ 185166 w 298323"/>
                  <a:gd name="connsiteY27" fmla="*/ 149141 h 411452"/>
                  <a:gd name="connsiteX28" fmla="*/ 149162 w 298323"/>
                  <a:gd name="connsiteY28" fmla="*/ 185146 h 411452"/>
                  <a:gd name="connsiteX29" fmla="*/ 113157 w 298323"/>
                  <a:gd name="connsiteY29" fmla="*/ 149141 h 411452"/>
                  <a:gd name="connsiteX30" fmla="*/ 216027 w 298323"/>
                  <a:gd name="connsiteY30" fmla="*/ 149141 h 411452"/>
                  <a:gd name="connsiteX31" fmla="*/ 149162 w 298323"/>
                  <a:gd name="connsiteY31" fmla="*/ 216007 h 411452"/>
                  <a:gd name="connsiteX32" fmla="*/ 216027 w 298323"/>
                  <a:gd name="connsiteY32" fmla="*/ 149141 h 411452"/>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 name="connsiteX26" fmla="*/ 149162 w 298323"/>
                  <a:gd name="connsiteY26" fmla="*/ 185146 h 411452"/>
                  <a:gd name="connsiteX27" fmla="*/ 185166 w 298323"/>
                  <a:gd name="connsiteY27" fmla="*/ 149141 h 411452"/>
                  <a:gd name="connsiteX28" fmla="*/ 149162 w 298323"/>
                  <a:gd name="connsiteY28" fmla="*/ 185146 h 411452"/>
                  <a:gd name="connsiteX29" fmla="*/ 216027 w 298323"/>
                  <a:gd name="connsiteY29" fmla="*/ 149141 h 411452"/>
                  <a:gd name="connsiteX30" fmla="*/ 149162 w 298323"/>
                  <a:gd name="connsiteY30" fmla="*/ 216007 h 411452"/>
                  <a:gd name="connsiteX31" fmla="*/ 216027 w 298323"/>
                  <a:gd name="connsiteY31" fmla="*/ 149141 h 411452"/>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 name="connsiteX26" fmla="*/ 216027 w 298323"/>
                  <a:gd name="connsiteY26" fmla="*/ 149141 h 411452"/>
                  <a:gd name="connsiteX27" fmla="*/ 149162 w 298323"/>
                  <a:gd name="connsiteY27" fmla="*/ 216007 h 411452"/>
                  <a:gd name="connsiteX28" fmla="*/ 216027 w 298323"/>
                  <a:gd name="connsiteY28" fmla="*/ 149141 h 411452"/>
                  <a:gd name="connsiteX0" fmla="*/ 219572 w 298323"/>
                  <a:gd name="connsiteY0" fmla="*/ 360025 h 411452"/>
                  <a:gd name="connsiteX1" fmla="*/ 215971 w 298323"/>
                  <a:gd name="connsiteY1" fmla="*/ 375610 h 411452"/>
                  <a:gd name="connsiteX2" fmla="*/ 174437 w 298323"/>
                  <a:gd name="connsiteY2" fmla="*/ 411316 h 411452"/>
                  <a:gd name="connsiteX3" fmla="*/ 170875 w 298323"/>
                  <a:gd name="connsiteY3" fmla="*/ 411452 h 411452"/>
                  <a:gd name="connsiteX4" fmla="*/ 127429 w 298323"/>
                  <a:gd name="connsiteY4" fmla="*/ 411452 h 411452"/>
                  <a:gd name="connsiteX5" fmla="*/ 83258 w 298323"/>
                  <a:gd name="connsiteY5" fmla="*/ 379019 h 411452"/>
                  <a:gd name="connsiteX6" fmla="*/ 82324 w 298323"/>
                  <a:gd name="connsiteY6" fmla="*/ 375577 h 411452"/>
                  <a:gd name="connsiteX7" fmla="*/ 78731 w 298323"/>
                  <a:gd name="connsiteY7" fmla="*/ 360025 h 411452"/>
                  <a:gd name="connsiteX8" fmla="*/ 219572 w 298323"/>
                  <a:gd name="connsiteY8" fmla="*/ 360025 h 411452"/>
                  <a:gd name="connsiteX9" fmla="*/ 226721 w 298323"/>
                  <a:gd name="connsiteY9" fmla="*/ 329164 h 411452"/>
                  <a:gd name="connsiteX10" fmla="*/ 231015 w 298323"/>
                  <a:gd name="connsiteY10" fmla="*/ 310618 h 411452"/>
                  <a:gd name="connsiteX11" fmla="*/ 149162 w 298323"/>
                  <a:gd name="connsiteY11" fmla="*/ 277729 h 411452"/>
                  <a:gd name="connsiteX12" fmla="*/ 67312 w 298323"/>
                  <a:gd name="connsiteY12" fmla="*/ 310614 h 411452"/>
                  <a:gd name="connsiteX13" fmla="*/ 71595 w 298323"/>
                  <a:gd name="connsiteY13" fmla="*/ 329164 h 411452"/>
                  <a:gd name="connsiteX14" fmla="*/ 226721 w 298323"/>
                  <a:gd name="connsiteY14" fmla="*/ 329164 h 411452"/>
                  <a:gd name="connsiteX15" fmla="*/ 149162 w 298323"/>
                  <a:gd name="connsiteY15" fmla="*/ 246868 h 411452"/>
                  <a:gd name="connsiteX16" fmla="*/ 59519 w 298323"/>
                  <a:gd name="connsiteY16" fmla="*/ 276799 h 411452"/>
                  <a:gd name="connsiteX17" fmla="*/ 58389 w 298323"/>
                  <a:gd name="connsiteY17" fmla="*/ 271894 h 411452"/>
                  <a:gd name="connsiteX18" fmla="*/ 56928 w 298323"/>
                  <a:gd name="connsiteY18" fmla="*/ 269328 h 411452"/>
                  <a:gd name="connsiteX19" fmla="*/ 0 w 298323"/>
                  <a:gd name="connsiteY19" fmla="*/ 149162 h 411452"/>
                  <a:gd name="connsiteX20" fmla="*/ 149162 w 298323"/>
                  <a:gd name="connsiteY20" fmla="*/ 0 h 411452"/>
                  <a:gd name="connsiteX21" fmla="*/ 298323 w 298323"/>
                  <a:gd name="connsiteY21" fmla="*/ 149162 h 411452"/>
                  <a:gd name="connsiteX22" fmla="*/ 241428 w 298323"/>
                  <a:gd name="connsiteY22" fmla="*/ 269328 h 411452"/>
                  <a:gd name="connsiteX23" fmla="*/ 239969 w 298323"/>
                  <a:gd name="connsiteY23" fmla="*/ 271890 h 411452"/>
                  <a:gd name="connsiteX24" fmla="*/ 238829 w 298323"/>
                  <a:gd name="connsiteY24" fmla="*/ 276817 h 411452"/>
                  <a:gd name="connsiteX25" fmla="*/ 149162 w 298323"/>
                  <a:gd name="connsiteY25" fmla="*/ 246868 h 41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8323" h="411452">
                    <a:moveTo>
                      <a:pt x="219572" y="360025"/>
                    </a:moveTo>
                    <a:lnTo>
                      <a:pt x="215971" y="375610"/>
                    </a:lnTo>
                    <a:cubicBezTo>
                      <a:pt x="211379" y="395429"/>
                      <a:pt x="194451" y="409781"/>
                      <a:pt x="174437" y="411316"/>
                    </a:cubicBezTo>
                    <a:lnTo>
                      <a:pt x="170875" y="411452"/>
                    </a:lnTo>
                    <a:lnTo>
                      <a:pt x="127429" y="411452"/>
                    </a:lnTo>
                    <a:cubicBezTo>
                      <a:pt x="107072" y="411452"/>
                      <a:pt x="89260" y="398183"/>
                      <a:pt x="83258" y="379019"/>
                    </a:cubicBezTo>
                    <a:lnTo>
                      <a:pt x="82324" y="375577"/>
                    </a:lnTo>
                    <a:lnTo>
                      <a:pt x="78731" y="360025"/>
                    </a:lnTo>
                    <a:lnTo>
                      <a:pt x="219572" y="360025"/>
                    </a:lnTo>
                    <a:close/>
                    <a:moveTo>
                      <a:pt x="226721" y="329164"/>
                    </a:moveTo>
                    <a:lnTo>
                      <a:pt x="231015" y="310618"/>
                    </a:lnTo>
                    <a:cubicBezTo>
                      <a:pt x="209764" y="290248"/>
                      <a:pt x="180926" y="277729"/>
                      <a:pt x="149162" y="277729"/>
                    </a:cubicBezTo>
                    <a:cubicBezTo>
                      <a:pt x="117401" y="277729"/>
                      <a:pt x="88563" y="290246"/>
                      <a:pt x="67312" y="310614"/>
                    </a:cubicBezTo>
                    <a:lnTo>
                      <a:pt x="71595" y="329164"/>
                    </a:lnTo>
                    <a:lnTo>
                      <a:pt x="226721" y="329164"/>
                    </a:lnTo>
                    <a:close/>
                    <a:moveTo>
                      <a:pt x="149162" y="246868"/>
                    </a:moveTo>
                    <a:cubicBezTo>
                      <a:pt x="115517" y="246868"/>
                      <a:pt x="84474" y="258007"/>
                      <a:pt x="59519" y="276799"/>
                    </a:cubicBezTo>
                    <a:lnTo>
                      <a:pt x="58389" y="271894"/>
                    </a:lnTo>
                    <a:cubicBezTo>
                      <a:pt x="58163" y="270915"/>
                      <a:pt x="57655" y="270024"/>
                      <a:pt x="56928" y="269328"/>
                    </a:cubicBezTo>
                    <a:cubicBezTo>
                      <a:pt x="19261" y="233377"/>
                      <a:pt x="0" y="193118"/>
                      <a:pt x="0" y="149162"/>
                    </a:cubicBezTo>
                    <a:cubicBezTo>
                      <a:pt x="0" y="66782"/>
                      <a:pt x="66782" y="0"/>
                      <a:pt x="149162" y="0"/>
                    </a:cubicBezTo>
                    <a:cubicBezTo>
                      <a:pt x="231542" y="0"/>
                      <a:pt x="298323" y="66782"/>
                      <a:pt x="298323" y="149162"/>
                    </a:cubicBezTo>
                    <a:cubicBezTo>
                      <a:pt x="298323" y="193118"/>
                      <a:pt x="279074" y="233377"/>
                      <a:pt x="241428" y="269328"/>
                    </a:cubicBezTo>
                    <a:cubicBezTo>
                      <a:pt x="240701" y="270022"/>
                      <a:pt x="240195" y="270913"/>
                      <a:pt x="239969" y="271890"/>
                    </a:cubicBezTo>
                    <a:lnTo>
                      <a:pt x="238829" y="276817"/>
                    </a:lnTo>
                    <a:cubicBezTo>
                      <a:pt x="213871" y="258015"/>
                      <a:pt x="182819" y="246868"/>
                      <a:pt x="149162" y="246868"/>
                    </a:cubicBezTo>
                    <a:close/>
                  </a:path>
                </a:pathLst>
              </a:custGeom>
              <a:solidFill>
                <a:srgbClr val="FFFFFF"/>
              </a:solidFill>
              <a:ln w="20241" cap="flat">
                <a:noFill/>
                <a:prstDash val="solid"/>
                <a:miter/>
              </a:ln>
            </p:spPr>
            <p:txBody>
              <a:bodyPr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688" b="0" i="0" u="none" strike="noStrike" kern="0" cap="none" spc="0" normalizeH="0" baseline="0" noProof="0">
                  <a:ln>
                    <a:noFill/>
                  </a:ln>
                  <a:solidFill>
                    <a:srgbClr val="000000"/>
                  </a:solidFill>
                  <a:effectLst/>
                  <a:uLnTx/>
                  <a:uFillTx/>
                  <a:latin typeface="Segoe UI"/>
                  <a:ea typeface="+mn-ea"/>
                  <a:cs typeface="+mn-cs"/>
                </a:endParaRPr>
              </a:p>
            </p:txBody>
          </p:sp>
          <p:sp>
            <p:nvSpPr>
              <p:cNvPr id="17" name="Graphic 101">
                <a:extLst>
                  <a:ext uri="{FF2B5EF4-FFF2-40B4-BE49-F238E27FC236}">
                    <a16:creationId xmlns:a16="http://schemas.microsoft.com/office/drawing/2014/main" id="{E9FDA606-0C24-2AFB-52BF-244E2A1B44E4}"/>
                  </a:ext>
                </a:extLst>
              </p:cNvPr>
              <p:cNvSpPr/>
              <p:nvPr/>
            </p:nvSpPr>
            <p:spPr>
              <a:xfrm flipH="1">
                <a:off x="6405833" y="-32971"/>
                <a:ext cx="381000" cy="381056"/>
              </a:xfrm>
              <a:custGeom>
                <a:avLst/>
                <a:gdLst>
                  <a:gd name="connsiteX0" fmla="*/ 190500 w 381000"/>
                  <a:gd name="connsiteY0" fmla="*/ 0 h 381056"/>
                  <a:gd name="connsiteX1" fmla="*/ 381000 w 381000"/>
                  <a:gd name="connsiteY1" fmla="*/ 190500 h 381056"/>
                  <a:gd name="connsiteX2" fmla="*/ 190500 w 381000"/>
                  <a:gd name="connsiteY2" fmla="*/ 381000 h 381056"/>
                  <a:gd name="connsiteX3" fmla="*/ 102028 w 381000"/>
                  <a:gd name="connsiteY3" fmla="*/ 359251 h 381056"/>
                  <a:gd name="connsiteX4" fmla="*/ 20295 w 381000"/>
                  <a:gd name="connsiteY4" fmla="*/ 380529 h 381056"/>
                  <a:gd name="connsiteX5" fmla="*/ 544 w 381000"/>
                  <a:gd name="connsiteY5" fmla="*/ 368941 h 381056"/>
                  <a:gd name="connsiteX6" fmla="*/ 544 w 381000"/>
                  <a:gd name="connsiteY6" fmla="*/ 360780 h 381056"/>
                  <a:gd name="connsiteX7" fmla="*/ 21810 w 381000"/>
                  <a:gd name="connsiteY7" fmla="*/ 279086 h 381056"/>
                  <a:gd name="connsiteX8" fmla="*/ 0 w 381000"/>
                  <a:gd name="connsiteY8" fmla="*/ 190500 h 381056"/>
                  <a:gd name="connsiteX9" fmla="*/ 190500 w 381000"/>
                  <a:gd name="connsiteY9" fmla="*/ 0 h 381056"/>
                  <a:gd name="connsiteX10" fmla="*/ 214345 w 381000"/>
                  <a:gd name="connsiteY10" fmla="*/ 209550 h 381056"/>
                  <a:gd name="connsiteX11" fmla="*/ 128588 w 381000"/>
                  <a:gd name="connsiteY11" fmla="*/ 209550 h 381056"/>
                  <a:gd name="connsiteX12" fmla="*/ 126649 w 381000"/>
                  <a:gd name="connsiteY12" fmla="*/ 209680 h 381056"/>
                  <a:gd name="connsiteX13" fmla="*/ 114300 w 381000"/>
                  <a:gd name="connsiteY13" fmla="*/ 223838 h 381056"/>
                  <a:gd name="connsiteX14" fmla="*/ 126649 w 381000"/>
                  <a:gd name="connsiteY14" fmla="*/ 237995 h 381056"/>
                  <a:gd name="connsiteX15" fmla="*/ 128588 w 381000"/>
                  <a:gd name="connsiteY15" fmla="*/ 238125 h 381056"/>
                  <a:gd name="connsiteX16" fmla="*/ 214345 w 381000"/>
                  <a:gd name="connsiteY16" fmla="*/ 238125 h 381056"/>
                  <a:gd name="connsiteX17" fmla="*/ 216284 w 381000"/>
                  <a:gd name="connsiteY17" fmla="*/ 237995 h 381056"/>
                  <a:gd name="connsiteX18" fmla="*/ 228632 w 381000"/>
                  <a:gd name="connsiteY18" fmla="*/ 223838 h 381056"/>
                  <a:gd name="connsiteX19" fmla="*/ 216284 w 381000"/>
                  <a:gd name="connsiteY19" fmla="*/ 209680 h 381056"/>
                  <a:gd name="connsiteX20" fmla="*/ 214345 w 381000"/>
                  <a:gd name="connsiteY20" fmla="*/ 209550 h 381056"/>
                  <a:gd name="connsiteX21" fmla="*/ 252413 w 381000"/>
                  <a:gd name="connsiteY21" fmla="*/ 142875 h 381056"/>
                  <a:gd name="connsiteX22" fmla="*/ 128588 w 381000"/>
                  <a:gd name="connsiteY22" fmla="*/ 142875 h 381056"/>
                  <a:gd name="connsiteX23" fmla="*/ 126649 w 381000"/>
                  <a:gd name="connsiteY23" fmla="*/ 143006 h 381056"/>
                  <a:gd name="connsiteX24" fmla="*/ 114300 w 381000"/>
                  <a:gd name="connsiteY24" fmla="*/ 157163 h 381056"/>
                  <a:gd name="connsiteX25" fmla="*/ 126649 w 381000"/>
                  <a:gd name="connsiteY25" fmla="*/ 171320 h 381056"/>
                  <a:gd name="connsiteX26" fmla="*/ 128588 w 381000"/>
                  <a:gd name="connsiteY26" fmla="*/ 171450 h 381056"/>
                  <a:gd name="connsiteX27" fmla="*/ 252413 w 381000"/>
                  <a:gd name="connsiteY27" fmla="*/ 171450 h 381056"/>
                  <a:gd name="connsiteX28" fmla="*/ 254352 w 381000"/>
                  <a:gd name="connsiteY28" fmla="*/ 171320 h 381056"/>
                  <a:gd name="connsiteX29" fmla="*/ 266700 w 381000"/>
                  <a:gd name="connsiteY29" fmla="*/ 157163 h 381056"/>
                  <a:gd name="connsiteX30" fmla="*/ 254352 w 381000"/>
                  <a:gd name="connsiteY30" fmla="*/ 143006 h 381056"/>
                  <a:gd name="connsiteX31" fmla="*/ 252413 w 381000"/>
                  <a:gd name="connsiteY31" fmla="*/ 142875 h 38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1000" h="381056">
                    <a:moveTo>
                      <a:pt x="190500" y="0"/>
                    </a:moveTo>
                    <a:cubicBezTo>
                      <a:pt x="295709" y="0"/>
                      <a:pt x="381000" y="85290"/>
                      <a:pt x="381000" y="190500"/>
                    </a:cubicBezTo>
                    <a:cubicBezTo>
                      <a:pt x="381000" y="295709"/>
                      <a:pt x="295709" y="381000"/>
                      <a:pt x="190500" y="381000"/>
                    </a:cubicBezTo>
                    <a:cubicBezTo>
                      <a:pt x="159250" y="381000"/>
                      <a:pt x="129067" y="373454"/>
                      <a:pt x="102028" y="359251"/>
                    </a:cubicBezTo>
                    <a:lnTo>
                      <a:pt x="20295" y="380529"/>
                    </a:lnTo>
                    <a:cubicBezTo>
                      <a:pt x="11641" y="382785"/>
                      <a:pt x="2798" y="377596"/>
                      <a:pt x="544" y="368941"/>
                    </a:cubicBezTo>
                    <a:cubicBezTo>
                      <a:pt x="-153" y="366267"/>
                      <a:pt x="-153" y="363457"/>
                      <a:pt x="544" y="360780"/>
                    </a:cubicBezTo>
                    <a:lnTo>
                      <a:pt x="21810" y="279086"/>
                    </a:lnTo>
                    <a:cubicBezTo>
                      <a:pt x="7567" y="252020"/>
                      <a:pt x="0" y="221795"/>
                      <a:pt x="0" y="190500"/>
                    </a:cubicBezTo>
                    <a:cubicBezTo>
                      <a:pt x="0" y="85290"/>
                      <a:pt x="85290" y="0"/>
                      <a:pt x="190500" y="0"/>
                    </a:cubicBezTo>
                    <a:close/>
                    <a:moveTo>
                      <a:pt x="214345" y="209550"/>
                    </a:moveTo>
                    <a:lnTo>
                      <a:pt x="128588" y="209550"/>
                    </a:lnTo>
                    <a:lnTo>
                      <a:pt x="126649" y="209680"/>
                    </a:lnTo>
                    <a:cubicBezTo>
                      <a:pt x="119675" y="210626"/>
                      <a:pt x="114300" y="216604"/>
                      <a:pt x="114300" y="223838"/>
                    </a:cubicBezTo>
                    <a:cubicBezTo>
                      <a:pt x="114300" y="231071"/>
                      <a:pt x="119675" y="237049"/>
                      <a:pt x="126649" y="237995"/>
                    </a:cubicBezTo>
                    <a:lnTo>
                      <a:pt x="128588" y="238125"/>
                    </a:lnTo>
                    <a:lnTo>
                      <a:pt x="214345" y="238125"/>
                    </a:lnTo>
                    <a:lnTo>
                      <a:pt x="216284" y="237995"/>
                    </a:lnTo>
                    <a:cubicBezTo>
                      <a:pt x="223258" y="237049"/>
                      <a:pt x="228632" y="231071"/>
                      <a:pt x="228632" y="223838"/>
                    </a:cubicBezTo>
                    <a:cubicBezTo>
                      <a:pt x="228632" y="216604"/>
                      <a:pt x="223258" y="210626"/>
                      <a:pt x="216284" y="209680"/>
                    </a:cubicBezTo>
                    <a:lnTo>
                      <a:pt x="214345" y="209550"/>
                    </a:lnTo>
                    <a:close/>
                    <a:moveTo>
                      <a:pt x="252413" y="142875"/>
                    </a:moveTo>
                    <a:lnTo>
                      <a:pt x="128588" y="142875"/>
                    </a:lnTo>
                    <a:lnTo>
                      <a:pt x="126649" y="143006"/>
                    </a:lnTo>
                    <a:cubicBezTo>
                      <a:pt x="119675" y="143952"/>
                      <a:pt x="114300" y="149929"/>
                      <a:pt x="114300" y="157163"/>
                    </a:cubicBezTo>
                    <a:cubicBezTo>
                      <a:pt x="114300" y="164396"/>
                      <a:pt x="119675" y="170374"/>
                      <a:pt x="126649" y="171320"/>
                    </a:cubicBezTo>
                    <a:lnTo>
                      <a:pt x="128588" y="171450"/>
                    </a:lnTo>
                    <a:lnTo>
                      <a:pt x="252413" y="171450"/>
                    </a:lnTo>
                    <a:lnTo>
                      <a:pt x="254352" y="171320"/>
                    </a:lnTo>
                    <a:cubicBezTo>
                      <a:pt x="261324" y="170374"/>
                      <a:pt x="266700" y="164396"/>
                      <a:pt x="266700" y="157163"/>
                    </a:cubicBezTo>
                    <a:cubicBezTo>
                      <a:pt x="266700" y="149929"/>
                      <a:pt x="261324" y="143952"/>
                      <a:pt x="254352" y="143006"/>
                    </a:cubicBezTo>
                    <a:lnTo>
                      <a:pt x="252413" y="142875"/>
                    </a:lnTo>
                    <a:close/>
                  </a:path>
                </a:pathLst>
              </a:custGeom>
              <a:solidFill>
                <a:srgbClr val="FFFFFF"/>
              </a:solidFill>
              <a:effectLst/>
            </p:spPr>
            <p:txBody>
              <a:bodyPr rot="0" spcFirstLastPara="0" vertOverflow="overflow" horzOverflow="overflow" vert="horz" wrap="square" lIns="85725" tIns="42863" rIns="85725" bIns="42863" numCol="1" spcCol="0" rtlCol="0" fromWordArt="0" anchor="t" anchorCtr="0" forceAA="0" compatLnSpc="1">
                <a:prstTxWarp prst="textNoShape">
                  <a:avLst/>
                </a:prstTxWarp>
                <a:no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875"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sp>
            <p:nvSpPr>
              <p:cNvPr id="18" name="Freeform: Shape 17">
                <a:extLst>
                  <a:ext uri="{FF2B5EF4-FFF2-40B4-BE49-F238E27FC236}">
                    <a16:creationId xmlns:a16="http://schemas.microsoft.com/office/drawing/2014/main" id="{D2F8DC11-7983-C67C-5978-7988D67BAA34}"/>
                  </a:ext>
                </a:extLst>
              </p:cNvPr>
              <p:cNvSpPr/>
              <p:nvPr/>
            </p:nvSpPr>
            <p:spPr>
              <a:xfrm>
                <a:off x="7393563" y="-32971"/>
                <a:ext cx="381000" cy="381056"/>
              </a:xfrm>
              <a:custGeom>
                <a:avLst/>
                <a:gdLst>
                  <a:gd name="connsiteX0" fmla="*/ 274428 w 381000"/>
                  <a:gd name="connsiteY0" fmla="*/ 165973 h 381056"/>
                  <a:gd name="connsiteX1" fmla="*/ 249872 w 381000"/>
                  <a:gd name="connsiteY1" fmla="*/ 190529 h 381056"/>
                  <a:gd name="connsiteX2" fmla="*/ 274428 w 381000"/>
                  <a:gd name="connsiteY2" fmla="*/ 215085 h 381056"/>
                  <a:gd name="connsiteX3" fmla="*/ 298984 w 381000"/>
                  <a:gd name="connsiteY3" fmla="*/ 190529 h 381056"/>
                  <a:gd name="connsiteX4" fmla="*/ 274428 w 381000"/>
                  <a:gd name="connsiteY4" fmla="*/ 165973 h 381056"/>
                  <a:gd name="connsiteX5" fmla="*/ 190501 w 381000"/>
                  <a:gd name="connsiteY5" fmla="*/ 165973 h 381056"/>
                  <a:gd name="connsiteX6" fmla="*/ 165945 w 381000"/>
                  <a:gd name="connsiteY6" fmla="*/ 190529 h 381056"/>
                  <a:gd name="connsiteX7" fmla="*/ 190501 w 381000"/>
                  <a:gd name="connsiteY7" fmla="*/ 215085 h 381056"/>
                  <a:gd name="connsiteX8" fmla="*/ 215057 w 381000"/>
                  <a:gd name="connsiteY8" fmla="*/ 190529 h 381056"/>
                  <a:gd name="connsiteX9" fmla="*/ 190501 w 381000"/>
                  <a:gd name="connsiteY9" fmla="*/ 165973 h 381056"/>
                  <a:gd name="connsiteX10" fmla="*/ 106574 w 381000"/>
                  <a:gd name="connsiteY10" fmla="*/ 165973 h 381056"/>
                  <a:gd name="connsiteX11" fmla="*/ 82018 w 381000"/>
                  <a:gd name="connsiteY11" fmla="*/ 190529 h 381056"/>
                  <a:gd name="connsiteX12" fmla="*/ 106574 w 381000"/>
                  <a:gd name="connsiteY12" fmla="*/ 215085 h 381056"/>
                  <a:gd name="connsiteX13" fmla="*/ 131130 w 381000"/>
                  <a:gd name="connsiteY13" fmla="*/ 190529 h 381056"/>
                  <a:gd name="connsiteX14" fmla="*/ 106574 w 381000"/>
                  <a:gd name="connsiteY14" fmla="*/ 165973 h 381056"/>
                  <a:gd name="connsiteX15" fmla="*/ 190500 w 381000"/>
                  <a:gd name="connsiteY15" fmla="*/ 0 h 381056"/>
                  <a:gd name="connsiteX16" fmla="*/ 381000 w 381000"/>
                  <a:gd name="connsiteY16" fmla="*/ 190500 h 381056"/>
                  <a:gd name="connsiteX17" fmla="*/ 190500 w 381000"/>
                  <a:gd name="connsiteY17" fmla="*/ 381000 h 381056"/>
                  <a:gd name="connsiteX18" fmla="*/ 102028 w 381000"/>
                  <a:gd name="connsiteY18" fmla="*/ 359251 h 381056"/>
                  <a:gd name="connsiteX19" fmla="*/ 20295 w 381000"/>
                  <a:gd name="connsiteY19" fmla="*/ 380529 h 381056"/>
                  <a:gd name="connsiteX20" fmla="*/ 544 w 381000"/>
                  <a:gd name="connsiteY20" fmla="*/ 368941 h 381056"/>
                  <a:gd name="connsiteX21" fmla="*/ 544 w 381000"/>
                  <a:gd name="connsiteY21" fmla="*/ 360780 h 381056"/>
                  <a:gd name="connsiteX22" fmla="*/ 21810 w 381000"/>
                  <a:gd name="connsiteY22" fmla="*/ 279086 h 381056"/>
                  <a:gd name="connsiteX23" fmla="*/ 0 w 381000"/>
                  <a:gd name="connsiteY23" fmla="*/ 190500 h 381056"/>
                  <a:gd name="connsiteX24" fmla="*/ 190500 w 381000"/>
                  <a:gd name="connsiteY24" fmla="*/ 0 h 38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1000" h="381056">
                    <a:moveTo>
                      <a:pt x="274428" y="165973"/>
                    </a:moveTo>
                    <a:cubicBezTo>
                      <a:pt x="260866" y="165973"/>
                      <a:pt x="249872" y="176967"/>
                      <a:pt x="249872" y="190529"/>
                    </a:cubicBezTo>
                    <a:cubicBezTo>
                      <a:pt x="249872" y="204091"/>
                      <a:pt x="260866" y="215085"/>
                      <a:pt x="274428" y="215085"/>
                    </a:cubicBezTo>
                    <a:cubicBezTo>
                      <a:pt x="287990" y="215085"/>
                      <a:pt x="298984" y="204091"/>
                      <a:pt x="298984" y="190529"/>
                    </a:cubicBezTo>
                    <a:cubicBezTo>
                      <a:pt x="298984" y="176967"/>
                      <a:pt x="287990" y="165973"/>
                      <a:pt x="274428" y="165973"/>
                    </a:cubicBezTo>
                    <a:close/>
                    <a:moveTo>
                      <a:pt x="190501" y="165973"/>
                    </a:moveTo>
                    <a:cubicBezTo>
                      <a:pt x="176939" y="165973"/>
                      <a:pt x="165945" y="176967"/>
                      <a:pt x="165945" y="190529"/>
                    </a:cubicBezTo>
                    <a:cubicBezTo>
                      <a:pt x="165945" y="204091"/>
                      <a:pt x="176939" y="215085"/>
                      <a:pt x="190501" y="215085"/>
                    </a:cubicBezTo>
                    <a:cubicBezTo>
                      <a:pt x="204063" y="215085"/>
                      <a:pt x="215057" y="204091"/>
                      <a:pt x="215057" y="190529"/>
                    </a:cubicBezTo>
                    <a:cubicBezTo>
                      <a:pt x="215057" y="176967"/>
                      <a:pt x="204063" y="165973"/>
                      <a:pt x="190501" y="165973"/>
                    </a:cubicBezTo>
                    <a:close/>
                    <a:moveTo>
                      <a:pt x="106574" y="165973"/>
                    </a:moveTo>
                    <a:cubicBezTo>
                      <a:pt x="93012" y="165973"/>
                      <a:pt x="82018" y="176967"/>
                      <a:pt x="82018" y="190529"/>
                    </a:cubicBezTo>
                    <a:cubicBezTo>
                      <a:pt x="82018" y="204091"/>
                      <a:pt x="93012" y="215085"/>
                      <a:pt x="106574" y="215085"/>
                    </a:cubicBezTo>
                    <a:cubicBezTo>
                      <a:pt x="120136" y="215085"/>
                      <a:pt x="131130" y="204091"/>
                      <a:pt x="131130" y="190529"/>
                    </a:cubicBezTo>
                    <a:cubicBezTo>
                      <a:pt x="131130" y="176967"/>
                      <a:pt x="120136" y="165973"/>
                      <a:pt x="106574" y="165973"/>
                    </a:cubicBezTo>
                    <a:close/>
                    <a:moveTo>
                      <a:pt x="190500" y="0"/>
                    </a:moveTo>
                    <a:cubicBezTo>
                      <a:pt x="295709" y="0"/>
                      <a:pt x="381000" y="85290"/>
                      <a:pt x="381000" y="190500"/>
                    </a:cubicBezTo>
                    <a:cubicBezTo>
                      <a:pt x="381000" y="295709"/>
                      <a:pt x="295709" y="381000"/>
                      <a:pt x="190500" y="381000"/>
                    </a:cubicBezTo>
                    <a:cubicBezTo>
                      <a:pt x="159250" y="381000"/>
                      <a:pt x="129067" y="373454"/>
                      <a:pt x="102028" y="359251"/>
                    </a:cubicBezTo>
                    <a:lnTo>
                      <a:pt x="20295" y="380529"/>
                    </a:lnTo>
                    <a:cubicBezTo>
                      <a:pt x="11641" y="382785"/>
                      <a:pt x="2798" y="377596"/>
                      <a:pt x="544" y="368941"/>
                    </a:cubicBezTo>
                    <a:cubicBezTo>
                      <a:pt x="-153" y="366267"/>
                      <a:pt x="-153" y="363457"/>
                      <a:pt x="544" y="360780"/>
                    </a:cubicBezTo>
                    <a:lnTo>
                      <a:pt x="21810" y="279086"/>
                    </a:lnTo>
                    <a:cubicBezTo>
                      <a:pt x="7567" y="252020"/>
                      <a:pt x="0" y="221795"/>
                      <a:pt x="0" y="190500"/>
                    </a:cubicBezTo>
                    <a:cubicBezTo>
                      <a:pt x="0" y="85290"/>
                      <a:pt x="85290" y="0"/>
                      <a:pt x="190500" y="0"/>
                    </a:cubicBezTo>
                    <a:close/>
                  </a:path>
                </a:pathLst>
              </a:custGeom>
              <a:solidFill>
                <a:srgbClr val="FFFFFF"/>
              </a:solidFill>
              <a:effectLst/>
            </p:spPr>
            <p:txBody>
              <a:bodyPr rot="0" spcFirstLastPara="0" vertOverflow="overflow" horzOverflow="overflow" vert="horz" wrap="square" lIns="85725" tIns="42863" rIns="85725" bIns="42863" numCol="1" spcCol="0" rtlCol="0" fromWordArt="0" anchor="t" anchorCtr="0" forceAA="0" compatLnSpc="1">
                <a:prstTxWarp prst="textNoShape">
                  <a:avLst/>
                </a:prstTxWarp>
                <a:no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875" b="0" i="0" u="none" strike="noStrike" kern="0" cap="none" spc="0" normalizeH="0" baseline="0" noProof="0">
                  <a:ln>
                    <a:noFill/>
                  </a:ln>
                  <a:gradFill flip="none" rotWithShape="1">
                    <a:gsLst>
                      <a:gs pos="1629">
                        <a:srgbClr val="2F2F2F"/>
                      </a:gs>
                      <a:gs pos="39000">
                        <a:srgbClr val="2F2F2F"/>
                      </a:gs>
                    </a:gsLst>
                    <a:lin ang="2700000" scaled="1"/>
                    <a:tileRect/>
                  </a:gradFill>
                  <a:effectLst/>
                  <a:uLnTx/>
                  <a:uFillTx/>
                  <a:latin typeface="Segoe UI Semibold"/>
                  <a:ea typeface="+mn-ea"/>
                  <a:cs typeface="+mn-cs"/>
                </a:endParaRPr>
              </a:p>
            </p:txBody>
          </p:sp>
        </p:grpSp>
      </p:grpSp>
      <p:sp>
        <p:nvSpPr>
          <p:cNvPr id="19" name="TextBox 18">
            <a:extLst>
              <a:ext uri="{FF2B5EF4-FFF2-40B4-BE49-F238E27FC236}">
                <a16:creationId xmlns:a16="http://schemas.microsoft.com/office/drawing/2014/main" id="{E8CDFCEE-8D8B-CEBE-10E4-F09DDBE7278C}"/>
              </a:ext>
              <a:ext uri="{C183D7F6-B498-43B3-948B-1728B52AA6E4}">
                <adec:decorative xmlns:adec="http://schemas.microsoft.com/office/drawing/2017/decorative" val="1"/>
              </a:ext>
            </a:extLst>
          </p:cNvPr>
          <p:cNvSpPr txBox="1"/>
          <p:nvPr/>
        </p:nvSpPr>
        <p:spPr>
          <a:xfrm>
            <a:off x="1566422" y="2486476"/>
            <a:ext cx="151073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80808"/>
                </a:solidFill>
                <a:effectLst/>
                <a:uLnTx/>
                <a:uFillTx/>
                <a:latin typeface="Segoe UI Semibold"/>
                <a:ea typeface="+mn-ea"/>
                <a:cs typeface="Segoe UI" panose="020B0502040204020203" pitchFamily="34" charset="0"/>
              </a:rPr>
              <a:t>Microsoft Graph</a:t>
            </a:r>
          </a:p>
        </p:txBody>
      </p:sp>
      <p:grpSp>
        <p:nvGrpSpPr>
          <p:cNvPr id="20" name="Group 19">
            <a:extLst>
              <a:ext uri="{FF2B5EF4-FFF2-40B4-BE49-F238E27FC236}">
                <a16:creationId xmlns:a16="http://schemas.microsoft.com/office/drawing/2014/main" id="{20E2B4FC-7A0E-746A-BBE0-DC2C5F02DF33}"/>
              </a:ext>
              <a:ext uri="{C183D7F6-B498-43B3-948B-1728B52AA6E4}">
                <adec:decorative xmlns:adec="http://schemas.microsoft.com/office/drawing/2017/decorative" val="1"/>
              </a:ext>
            </a:extLst>
          </p:cNvPr>
          <p:cNvGrpSpPr/>
          <p:nvPr/>
        </p:nvGrpSpPr>
        <p:grpSpPr>
          <a:xfrm>
            <a:off x="1389781" y="2895108"/>
            <a:ext cx="1795159" cy="897579"/>
            <a:chOff x="136436" y="5460922"/>
            <a:chExt cx="2011680" cy="1005840"/>
          </a:xfrm>
        </p:grpSpPr>
        <p:sp>
          <p:nvSpPr>
            <p:cNvPr id="21" name="Rectangle: Rounded Corners 20">
              <a:extLst>
                <a:ext uri="{FF2B5EF4-FFF2-40B4-BE49-F238E27FC236}">
                  <a16:creationId xmlns:a16="http://schemas.microsoft.com/office/drawing/2014/main" id="{CB3D5BFD-8894-1ED7-B25A-A0D69F608458}"/>
                </a:ext>
              </a:extLst>
            </p:cNvPr>
            <p:cNvSpPr/>
            <p:nvPr/>
          </p:nvSpPr>
          <p:spPr bwMode="auto">
            <a:xfrm>
              <a:off x="136436" y="5460922"/>
              <a:ext cx="2011680" cy="1005840"/>
            </a:xfrm>
            <a:prstGeom prst="roundRect">
              <a:avLst>
                <a:gd name="adj" fmla="val 50000"/>
              </a:avLst>
            </a:prstGeom>
            <a:gradFill flip="none" rotWithShape="1">
              <a:gsLst>
                <a:gs pos="67000">
                  <a:srgbClr val="0078D4"/>
                </a:gs>
                <a:gs pos="0">
                  <a:srgbClr val="C03BC4"/>
                </a:gs>
              </a:gsLst>
              <a:lin ang="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0" tIns="17145" rIns="0" bIns="42863" numCol="1" spcCol="0" rtlCol="0" fromWordArt="0" anchor="ctr" anchorCtr="0" forceAA="0" compatLnSpc="1">
              <a:prstTxWarp prst="textNoShape">
                <a:avLst/>
              </a:prstTxWarp>
              <a:noAutofit/>
            </a:bodyPr>
            <a:lstStyle/>
            <a:p>
              <a:pPr marL="0" marR="0" lvl="0" indent="0" algn="ctr" defTabSz="857219" rtl="0" eaLnBrk="1" fontAlgn="base" latinLnBrk="0" hangingPunct="1">
                <a:lnSpc>
                  <a:spcPct val="100000"/>
                </a:lnSpc>
                <a:spcBef>
                  <a:spcPct val="0"/>
                </a:spcBef>
                <a:spcAft>
                  <a:spcPct val="0"/>
                </a:spcAft>
                <a:buClrTx/>
                <a:buSzTx/>
                <a:buFontTx/>
                <a:buNone/>
                <a:tabLst/>
                <a:defRPr/>
              </a:pPr>
              <a:endParaRPr kumimoji="0" lang="en-US" sz="15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endParaRPr>
            </a:p>
          </p:txBody>
        </p:sp>
        <p:grpSp>
          <p:nvGrpSpPr>
            <p:cNvPr id="22" name="Group 21">
              <a:extLst>
                <a:ext uri="{FF2B5EF4-FFF2-40B4-BE49-F238E27FC236}">
                  <a16:creationId xmlns:a16="http://schemas.microsoft.com/office/drawing/2014/main" id="{BB6BB394-7651-AF6A-7F18-E79DDCB58465}"/>
                </a:ext>
              </a:extLst>
            </p:cNvPr>
            <p:cNvGrpSpPr/>
            <p:nvPr/>
          </p:nvGrpSpPr>
          <p:grpSpPr>
            <a:xfrm>
              <a:off x="481236" y="5606090"/>
              <a:ext cx="1322080" cy="715505"/>
              <a:chOff x="355326" y="5539426"/>
              <a:chExt cx="1322080" cy="715505"/>
            </a:xfrm>
          </p:grpSpPr>
          <p:grpSp>
            <p:nvGrpSpPr>
              <p:cNvPr id="23" name="Group 22">
                <a:extLst>
                  <a:ext uri="{FF2B5EF4-FFF2-40B4-BE49-F238E27FC236}">
                    <a16:creationId xmlns:a16="http://schemas.microsoft.com/office/drawing/2014/main" id="{A39D842D-51E0-746D-3DA5-43D5292E09FE}"/>
                  </a:ext>
                </a:extLst>
              </p:cNvPr>
              <p:cNvGrpSpPr/>
              <p:nvPr/>
            </p:nvGrpSpPr>
            <p:grpSpPr>
              <a:xfrm>
                <a:off x="355326" y="5539426"/>
                <a:ext cx="1178662" cy="683911"/>
                <a:chOff x="1942396" y="4739503"/>
                <a:chExt cx="1178662" cy="683911"/>
              </a:xfrm>
            </p:grpSpPr>
            <p:sp>
              <p:nvSpPr>
                <p:cNvPr id="27" name="Oval 26">
                  <a:extLst>
                    <a:ext uri="{FF2B5EF4-FFF2-40B4-BE49-F238E27FC236}">
                      <a16:creationId xmlns:a16="http://schemas.microsoft.com/office/drawing/2014/main" id="{2464EE1F-3218-DFCB-9F9C-860B2A1B74E3}"/>
                    </a:ext>
                  </a:extLst>
                </p:cNvPr>
                <p:cNvSpPr/>
                <p:nvPr/>
              </p:nvSpPr>
              <p:spPr>
                <a:xfrm>
                  <a:off x="2109601" y="473950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8" name="Oval 27">
                  <a:extLst>
                    <a:ext uri="{FF2B5EF4-FFF2-40B4-BE49-F238E27FC236}">
                      <a16:creationId xmlns:a16="http://schemas.microsoft.com/office/drawing/2014/main" id="{3FBF4ADB-25B8-C8E8-56E8-97D4A100531A}"/>
                    </a:ext>
                  </a:extLst>
                </p:cNvPr>
                <p:cNvSpPr/>
                <p:nvPr/>
              </p:nvSpPr>
              <p:spPr>
                <a:xfrm>
                  <a:off x="2456016" y="473950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29" name="Oval 28">
                  <a:extLst>
                    <a:ext uri="{FF2B5EF4-FFF2-40B4-BE49-F238E27FC236}">
                      <a16:creationId xmlns:a16="http://schemas.microsoft.com/office/drawing/2014/main" id="{898FBB62-7A1C-B5DB-3BF2-2F60E47816D1}"/>
                    </a:ext>
                  </a:extLst>
                </p:cNvPr>
                <p:cNvSpPr/>
                <p:nvPr/>
              </p:nvSpPr>
              <p:spPr>
                <a:xfrm>
                  <a:off x="2802432" y="473950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0" name="Oval 29">
                  <a:extLst>
                    <a:ext uri="{FF2B5EF4-FFF2-40B4-BE49-F238E27FC236}">
                      <a16:creationId xmlns:a16="http://schemas.microsoft.com/office/drawing/2014/main" id="{876BFFA2-62A8-FE23-5DF6-4F9CB2201F0F}"/>
                    </a:ext>
                  </a:extLst>
                </p:cNvPr>
                <p:cNvSpPr/>
                <p:nvPr/>
              </p:nvSpPr>
              <p:spPr>
                <a:xfrm>
                  <a:off x="2100937" y="526487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1" name="Oval 30">
                  <a:extLst>
                    <a:ext uri="{FF2B5EF4-FFF2-40B4-BE49-F238E27FC236}">
                      <a16:creationId xmlns:a16="http://schemas.microsoft.com/office/drawing/2014/main" id="{3CE2ADA3-1AC3-C607-5BD8-0BDEFB00948E}"/>
                    </a:ext>
                  </a:extLst>
                </p:cNvPr>
                <p:cNvSpPr/>
                <p:nvPr/>
              </p:nvSpPr>
              <p:spPr>
                <a:xfrm>
                  <a:off x="2447352" y="526487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2" name="Oval 31">
                  <a:extLst>
                    <a:ext uri="{FF2B5EF4-FFF2-40B4-BE49-F238E27FC236}">
                      <a16:creationId xmlns:a16="http://schemas.microsoft.com/office/drawing/2014/main" id="{147573B3-3BB2-9053-0E68-0D2CB1F5A356}"/>
                    </a:ext>
                  </a:extLst>
                </p:cNvPr>
                <p:cNvSpPr/>
                <p:nvPr/>
              </p:nvSpPr>
              <p:spPr>
                <a:xfrm>
                  <a:off x="2793768" y="5264873"/>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3" name="Oval 32">
                  <a:extLst>
                    <a:ext uri="{FF2B5EF4-FFF2-40B4-BE49-F238E27FC236}">
                      <a16:creationId xmlns:a16="http://schemas.microsoft.com/office/drawing/2014/main" id="{D37C135A-ADBE-0948-C06C-B9FF19127065}"/>
                    </a:ext>
                  </a:extLst>
                </p:cNvPr>
                <p:cNvSpPr/>
                <p:nvPr/>
              </p:nvSpPr>
              <p:spPr>
                <a:xfrm>
                  <a:off x="1942396" y="4998872"/>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4" name="Oval 33">
                  <a:extLst>
                    <a:ext uri="{FF2B5EF4-FFF2-40B4-BE49-F238E27FC236}">
                      <a16:creationId xmlns:a16="http://schemas.microsoft.com/office/drawing/2014/main" id="{D2292B1B-201A-B2DC-E725-2F72A1D20C24}"/>
                    </a:ext>
                  </a:extLst>
                </p:cNvPr>
                <p:cNvSpPr/>
                <p:nvPr/>
              </p:nvSpPr>
              <p:spPr>
                <a:xfrm>
                  <a:off x="2288811" y="4998872"/>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5" name="Oval 34">
                  <a:extLst>
                    <a:ext uri="{FF2B5EF4-FFF2-40B4-BE49-F238E27FC236}">
                      <a16:creationId xmlns:a16="http://schemas.microsoft.com/office/drawing/2014/main" id="{EEE759F3-0F0E-27D3-4545-DF0A4C150D1D}"/>
                    </a:ext>
                  </a:extLst>
                </p:cNvPr>
                <p:cNvSpPr/>
                <p:nvPr/>
              </p:nvSpPr>
              <p:spPr>
                <a:xfrm>
                  <a:off x="2635227" y="4998872"/>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36" name="Oval 35">
                  <a:extLst>
                    <a:ext uri="{FF2B5EF4-FFF2-40B4-BE49-F238E27FC236}">
                      <a16:creationId xmlns:a16="http://schemas.microsoft.com/office/drawing/2014/main" id="{8A6D4EF1-1A39-FD38-F534-238B46288A14}"/>
                    </a:ext>
                  </a:extLst>
                </p:cNvPr>
                <p:cNvSpPr/>
                <p:nvPr/>
              </p:nvSpPr>
              <p:spPr>
                <a:xfrm>
                  <a:off x="2962517" y="5000314"/>
                  <a:ext cx="158541" cy="158541"/>
                </a:xfrm>
                <a:prstGeom prst="ellipse">
                  <a:avLst/>
                </a:prstGeom>
                <a:solidFill>
                  <a:srgbClr val="FFFFFF"/>
                </a:solidFill>
                <a:ln w="9525" cap="flat" cmpd="sng" algn="ctr">
                  <a:solidFill>
                    <a:srgbClr val="FFFFFF"/>
                  </a:solidFill>
                  <a:prstDash val="solid"/>
                  <a:miter lim="800000"/>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984" b="1"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p:txBody>
            </p:sp>
            <p:cxnSp>
              <p:nvCxnSpPr>
                <p:cNvPr id="37" name="Straight Connector 36">
                  <a:extLst>
                    <a:ext uri="{FF2B5EF4-FFF2-40B4-BE49-F238E27FC236}">
                      <a16:creationId xmlns:a16="http://schemas.microsoft.com/office/drawing/2014/main" id="{C49764CB-B8E6-8DDE-E9E7-A636A25811F1}"/>
                    </a:ext>
                  </a:extLst>
                </p:cNvPr>
                <p:cNvCxnSpPr>
                  <a:cxnSpLocks/>
                  <a:stCxn id="32" idx="7"/>
                  <a:endCxn id="36" idx="4"/>
                </p:cNvCxnSpPr>
                <p:nvPr/>
              </p:nvCxnSpPr>
              <p:spPr>
                <a:xfrm flipV="1">
                  <a:off x="2929091" y="5158854"/>
                  <a:ext cx="112697" cy="129236"/>
                </a:xfrm>
                <a:prstGeom prst="line">
                  <a:avLst/>
                </a:prstGeom>
                <a:noFill/>
                <a:ln w="12700" cap="flat" cmpd="sng" algn="ctr">
                  <a:solidFill>
                    <a:srgbClr val="FFFFFF"/>
                  </a:solidFill>
                  <a:prstDash val="solid"/>
                  <a:miter lim="800000"/>
                </a:ln>
                <a:effectLst/>
              </p:spPr>
            </p:cxnSp>
            <p:cxnSp>
              <p:nvCxnSpPr>
                <p:cNvPr id="38" name="Straight Connector 37">
                  <a:extLst>
                    <a:ext uri="{FF2B5EF4-FFF2-40B4-BE49-F238E27FC236}">
                      <a16:creationId xmlns:a16="http://schemas.microsoft.com/office/drawing/2014/main" id="{0685747B-2CD9-B908-2201-F0502FCD3213}"/>
                    </a:ext>
                  </a:extLst>
                </p:cNvPr>
                <p:cNvCxnSpPr>
                  <a:cxnSpLocks/>
                  <a:stCxn id="36" idx="0"/>
                  <a:endCxn id="29" idx="5"/>
                </p:cNvCxnSpPr>
                <p:nvPr/>
              </p:nvCxnSpPr>
              <p:spPr>
                <a:xfrm flipH="1" flipV="1">
                  <a:off x="2937755" y="4874825"/>
                  <a:ext cx="104033" cy="125488"/>
                </a:xfrm>
                <a:prstGeom prst="line">
                  <a:avLst/>
                </a:prstGeom>
                <a:noFill/>
                <a:ln w="12700" cap="flat" cmpd="sng" algn="ctr">
                  <a:solidFill>
                    <a:srgbClr val="FFFFFF"/>
                  </a:solidFill>
                  <a:prstDash val="solid"/>
                  <a:miter lim="800000"/>
                </a:ln>
                <a:effectLst/>
              </p:spPr>
            </p:cxnSp>
            <p:cxnSp>
              <p:nvCxnSpPr>
                <p:cNvPr id="39" name="Straight Connector 38">
                  <a:extLst>
                    <a:ext uri="{FF2B5EF4-FFF2-40B4-BE49-F238E27FC236}">
                      <a16:creationId xmlns:a16="http://schemas.microsoft.com/office/drawing/2014/main" id="{5E2308F9-FAE4-F8B6-D633-93E266D9C8A7}"/>
                    </a:ext>
                  </a:extLst>
                </p:cNvPr>
                <p:cNvCxnSpPr>
                  <a:cxnSpLocks/>
                  <a:stCxn id="29" idx="3"/>
                  <a:endCxn id="35" idx="0"/>
                </p:cNvCxnSpPr>
                <p:nvPr/>
              </p:nvCxnSpPr>
              <p:spPr>
                <a:xfrm flipH="1">
                  <a:off x="2714497" y="4874825"/>
                  <a:ext cx="111152" cy="124046"/>
                </a:xfrm>
                <a:prstGeom prst="line">
                  <a:avLst/>
                </a:prstGeom>
                <a:noFill/>
                <a:ln w="12700" cap="flat" cmpd="sng" algn="ctr">
                  <a:solidFill>
                    <a:srgbClr val="FFFFFF"/>
                  </a:solidFill>
                  <a:prstDash val="solid"/>
                  <a:miter lim="800000"/>
                </a:ln>
                <a:effectLst/>
              </p:spPr>
            </p:cxnSp>
            <p:cxnSp>
              <p:nvCxnSpPr>
                <p:cNvPr id="40" name="Straight Connector 39">
                  <a:extLst>
                    <a:ext uri="{FF2B5EF4-FFF2-40B4-BE49-F238E27FC236}">
                      <a16:creationId xmlns:a16="http://schemas.microsoft.com/office/drawing/2014/main" id="{3A59726F-3023-26D7-1D7B-45E3753F0300}"/>
                    </a:ext>
                  </a:extLst>
                </p:cNvPr>
                <p:cNvCxnSpPr>
                  <a:cxnSpLocks/>
                  <a:stCxn id="35" idx="0"/>
                  <a:endCxn id="28" idx="5"/>
                </p:cNvCxnSpPr>
                <p:nvPr/>
              </p:nvCxnSpPr>
              <p:spPr>
                <a:xfrm flipH="1" flipV="1">
                  <a:off x="2591339" y="4874825"/>
                  <a:ext cx="123159" cy="124046"/>
                </a:xfrm>
                <a:prstGeom prst="line">
                  <a:avLst/>
                </a:prstGeom>
                <a:noFill/>
                <a:ln w="12700" cap="flat" cmpd="sng" algn="ctr">
                  <a:solidFill>
                    <a:srgbClr val="FFFFFF"/>
                  </a:solidFill>
                  <a:prstDash val="solid"/>
                  <a:miter lim="800000"/>
                </a:ln>
                <a:effectLst/>
              </p:spPr>
            </p:cxnSp>
            <p:cxnSp>
              <p:nvCxnSpPr>
                <p:cNvPr id="41" name="Straight Connector 40">
                  <a:extLst>
                    <a:ext uri="{FF2B5EF4-FFF2-40B4-BE49-F238E27FC236}">
                      <a16:creationId xmlns:a16="http://schemas.microsoft.com/office/drawing/2014/main" id="{597DE29D-F57F-F23C-C235-8BD2475B825C}"/>
                    </a:ext>
                  </a:extLst>
                </p:cNvPr>
                <p:cNvCxnSpPr>
                  <a:cxnSpLocks/>
                  <a:stCxn id="28" idx="3"/>
                  <a:endCxn id="34" idx="0"/>
                </p:cNvCxnSpPr>
                <p:nvPr/>
              </p:nvCxnSpPr>
              <p:spPr>
                <a:xfrm flipH="1">
                  <a:off x="2368081" y="4874825"/>
                  <a:ext cx="111152" cy="124046"/>
                </a:xfrm>
                <a:prstGeom prst="line">
                  <a:avLst/>
                </a:prstGeom>
                <a:noFill/>
                <a:ln w="12700" cap="flat" cmpd="sng" algn="ctr">
                  <a:solidFill>
                    <a:srgbClr val="FFFFFF"/>
                  </a:solidFill>
                  <a:prstDash val="solid"/>
                  <a:miter lim="800000"/>
                </a:ln>
                <a:effectLst/>
              </p:spPr>
            </p:cxnSp>
            <p:cxnSp>
              <p:nvCxnSpPr>
                <p:cNvPr id="42" name="Straight Connector 41">
                  <a:extLst>
                    <a:ext uri="{FF2B5EF4-FFF2-40B4-BE49-F238E27FC236}">
                      <a16:creationId xmlns:a16="http://schemas.microsoft.com/office/drawing/2014/main" id="{DC85E0F3-839A-DE89-4B1E-56B6AACAD350}"/>
                    </a:ext>
                  </a:extLst>
                </p:cNvPr>
                <p:cNvCxnSpPr>
                  <a:cxnSpLocks/>
                  <a:endCxn id="27" idx="5"/>
                </p:cNvCxnSpPr>
                <p:nvPr/>
              </p:nvCxnSpPr>
              <p:spPr>
                <a:xfrm flipH="1" flipV="1">
                  <a:off x="2244924" y="4874825"/>
                  <a:ext cx="122641" cy="112112"/>
                </a:xfrm>
                <a:prstGeom prst="line">
                  <a:avLst/>
                </a:prstGeom>
                <a:noFill/>
                <a:ln w="12700" cap="flat" cmpd="sng" algn="ctr">
                  <a:solidFill>
                    <a:srgbClr val="FFFFFF"/>
                  </a:solidFill>
                  <a:prstDash val="solid"/>
                  <a:miter lim="800000"/>
                </a:ln>
                <a:effectLst/>
              </p:spPr>
            </p:cxnSp>
            <p:cxnSp>
              <p:nvCxnSpPr>
                <p:cNvPr id="43" name="Straight Connector 42">
                  <a:extLst>
                    <a:ext uri="{FF2B5EF4-FFF2-40B4-BE49-F238E27FC236}">
                      <a16:creationId xmlns:a16="http://schemas.microsoft.com/office/drawing/2014/main" id="{6C884307-153D-E125-B48F-F262CF75A737}"/>
                    </a:ext>
                  </a:extLst>
                </p:cNvPr>
                <p:cNvCxnSpPr>
                  <a:cxnSpLocks/>
                  <a:stCxn id="27" idx="3"/>
                  <a:endCxn id="33" idx="0"/>
                </p:cNvCxnSpPr>
                <p:nvPr/>
              </p:nvCxnSpPr>
              <p:spPr>
                <a:xfrm flipH="1">
                  <a:off x="2021666" y="4874825"/>
                  <a:ext cx="111152" cy="124046"/>
                </a:xfrm>
                <a:prstGeom prst="line">
                  <a:avLst/>
                </a:prstGeom>
                <a:noFill/>
                <a:ln w="12700" cap="flat" cmpd="sng" algn="ctr">
                  <a:solidFill>
                    <a:srgbClr val="FFFFFF"/>
                  </a:solidFill>
                  <a:prstDash val="solid"/>
                  <a:miter lim="800000"/>
                </a:ln>
                <a:effectLst/>
              </p:spPr>
            </p:cxnSp>
            <p:cxnSp>
              <p:nvCxnSpPr>
                <p:cNvPr id="44" name="Straight Connector 43">
                  <a:extLst>
                    <a:ext uri="{FF2B5EF4-FFF2-40B4-BE49-F238E27FC236}">
                      <a16:creationId xmlns:a16="http://schemas.microsoft.com/office/drawing/2014/main" id="{ADA38346-B1B2-73AE-4292-E2B1B58E98D2}"/>
                    </a:ext>
                  </a:extLst>
                </p:cNvPr>
                <p:cNvCxnSpPr>
                  <a:cxnSpLocks/>
                  <a:stCxn id="32" idx="1"/>
                  <a:endCxn id="35" idx="4"/>
                </p:cNvCxnSpPr>
                <p:nvPr/>
              </p:nvCxnSpPr>
              <p:spPr>
                <a:xfrm flipH="1" flipV="1">
                  <a:off x="2714497" y="5157412"/>
                  <a:ext cx="102488" cy="130678"/>
                </a:xfrm>
                <a:prstGeom prst="line">
                  <a:avLst/>
                </a:prstGeom>
                <a:noFill/>
                <a:ln w="12700" cap="flat" cmpd="sng" algn="ctr">
                  <a:solidFill>
                    <a:srgbClr val="FFFFFF"/>
                  </a:solidFill>
                  <a:prstDash val="solid"/>
                  <a:miter lim="800000"/>
                </a:ln>
                <a:effectLst/>
              </p:spPr>
            </p:cxnSp>
            <p:cxnSp>
              <p:nvCxnSpPr>
                <p:cNvPr id="45" name="Straight Connector 44">
                  <a:extLst>
                    <a:ext uri="{FF2B5EF4-FFF2-40B4-BE49-F238E27FC236}">
                      <a16:creationId xmlns:a16="http://schemas.microsoft.com/office/drawing/2014/main" id="{31765587-447A-FBF3-A803-AB78D3263EFA}"/>
                    </a:ext>
                  </a:extLst>
                </p:cNvPr>
                <p:cNvCxnSpPr>
                  <a:cxnSpLocks/>
                  <a:stCxn id="35" idx="4"/>
                  <a:endCxn id="31" idx="7"/>
                </p:cNvCxnSpPr>
                <p:nvPr/>
              </p:nvCxnSpPr>
              <p:spPr>
                <a:xfrm flipH="1">
                  <a:off x="2582675" y="5157412"/>
                  <a:ext cx="131823" cy="130678"/>
                </a:xfrm>
                <a:prstGeom prst="line">
                  <a:avLst/>
                </a:prstGeom>
                <a:noFill/>
                <a:ln w="12700" cap="flat" cmpd="sng" algn="ctr">
                  <a:solidFill>
                    <a:srgbClr val="FFFFFF"/>
                  </a:solidFill>
                  <a:prstDash val="solid"/>
                  <a:miter lim="800000"/>
                </a:ln>
                <a:effectLst/>
              </p:spPr>
            </p:cxnSp>
            <p:cxnSp>
              <p:nvCxnSpPr>
                <p:cNvPr id="46" name="Straight Connector 45">
                  <a:extLst>
                    <a:ext uri="{FF2B5EF4-FFF2-40B4-BE49-F238E27FC236}">
                      <a16:creationId xmlns:a16="http://schemas.microsoft.com/office/drawing/2014/main" id="{78B31C4A-DA85-FE5A-72CC-D6C5E9323719}"/>
                    </a:ext>
                  </a:extLst>
                </p:cNvPr>
                <p:cNvCxnSpPr>
                  <a:cxnSpLocks/>
                  <a:stCxn id="31" idx="1"/>
                  <a:endCxn id="34" idx="4"/>
                </p:cNvCxnSpPr>
                <p:nvPr/>
              </p:nvCxnSpPr>
              <p:spPr>
                <a:xfrm flipH="1" flipV="1">
                  <a:off x="2368081" y="5157412"/>
                  <a:ext cx="102488" cy="130678"/>
                </a:xfrm>
                <a:prstGeom prst="line">
                  <a:avLst/>
                </a:prstGeom>
                <a:noFill/>
                <a:ln w="12700" cap="flat" cmpd="sng" algn="ctr">
                  <a:solidFill>
                    <a:srgbClr val="FFFFFF"/>
                  </a:solidFill>
                  <a:prstDash val="solid"/>
                  <a:miter lim="800000"/>
                </a:ln>
                <a:effectLst/>
              </p:spPr>
            </p:cxnSp>
            <p:cxnSp>
              <p:nvCxnSpPr>
                <p:cNvPr id="47" name="Straight Connector 46">
                  <a:extLst>
                    <a:ext uri="{FF2B5EF4-FFF2-40B4-BE49-F238E27FC236}">
                      <a16:creationId xmlns:a16="http://schemas.microsoft.com/office/drawing/2014/main" id="{B41E3537-9BCF-1440-9CB5-8128DFF7DDD4}"/>
                    </a:ext>
                  </a:extLst>
                </p:cNvPr>
                <p:cNvCxnSpPr>
                  <a:cxnSpLocks/>
                  <a:stCxn id="34" idx="4"/>
                  <a:endCxn id="30" idx="7"/>
                </p:cNvCxnSpPr>
                <p:nvPr/>
              </p:nvCxnSpPr>
              <p:spPr>
                <a:xfrm flipH="1">
                  <a:off x="2236259" y="5157412"/>
                  <a:ext cx="131822" cy="130678"/>
                </a:xfrm>
                <a:prstGeom prst="line">
                  <a:avLst/>
                </a:prstGeom>
                <a:noFill/>
                <a:ln w="12700" cap="flat" cmpd="sng" algn="ctr">
                  <a:solidFill>
                    <a:srgbClr val="FFFFFF"/>
                  </a:solidFill>
                  <a:prstDash val="solid"/>
                  <a:miter lim="800000"/>
                </a:ln>
                <a:effectLst/>
              </p:spPr>
            </p:cxnSp>
            <p:cxnSp>
              <p:nvCxnSpPr>
                <p:cNvPr id="48" name="Straight Connector 47">
                  <a:extLst>
                    <a:ext uri="{FF2B5EF4-FFF2-40B4-BE49-F238E27FC236}">
                      <a16:creationId xmlns:a16="http://schemas.microsoft.com/office/drawing/2014/main" id="{AAC0B0F2-2F9F-A6E7-C4B9-1A416CEF2761}"/>
                    </a:ext>
                  </a:extLst>
                </p:cNvPr>
                <p:cNvCxnSpPr>
                  <a:cxnSpLocks/>
                  <a:stCxn id="30" idx="1"/>
                  <a:endCxn id="33" idx="4"/>
                </p:cNvCxnSpPr>
                <p:nvPr/>
              </p:nvCxnSpPr>
              <p:spPr>
                <a:xfrm flipH="1" flipV="1">
                  <a:off x="2021666" y="5157412"/>
                  <a:ext cx="102488" cy="130678"/>
                </a:xfrm>
                <a:prstGeom prst="line">
                  <a:avLst/>
                </a:prstGeom>
                <a:noFill/>
                <a:ln w="12700" cap="flat" cmpd="sng" algn="ctr">
                  <a:solidFill>
                    <a:srgbClr val="FFFFFF"/>
                  </a:solidFill>
                  <a:prstDash val="solid"/>
                  <a:miter lim="800000"/>
                </a:ln>
                <a:effectLst/>
              </p:spPr>
            </p:cxnSp>
            <p:cxnSp>
              <p:nvCxnSpPr>
                <p:cNvPr id="49" name="Straight Connector 48">
                  <a:extLst>
                    <a:ext uri="{FF2B5EF4-FFF2-40B4-BE49-F238E27FC236}">
                      <a16:creationId xmlns:a16="http://schemas.microsoft.com/office/drawing/2014/main" id="{5357CC97-5B0F-534F-936B-744AC32BDC86}"/>
                    </a:ext>
                  </a:extLst>
                </p:cNvPr>
                <p:cNvCxnSpPr>
                  <a:cxnSpLocks/>
                  <a:stCxn id="30" idx="6"/>
                  <a:endCxn id="31" idx="2"/>
                </p:cNvCxnSpPr>
                <p:nvPr/>
              </p:nvCxnSpPr>
              <p:spPr>
                <a:xfrm>
                  <a:off x="2259477" y="5344143"/>
                  <a:ext cx="187874" cy="0"/>
                </a:xfrm>
                <a:prstGeom prst="line">
                  <a:avLst/>
                </a:prstGeom>
                <a:noFill/>
                <a:ln w="12700" cap="flat" cmpd="sng" algn="ctr">
                  <a:solidFill>
                    <a:srgbClr val="FFFFFF"/>
                  </a:solidFill>
                  <a:prstDash val="solid"/>
                  <a:miter lim="800000"/>
                </a:ln>
                <a:effectLst/>
              </p:spPr>
            </p:cxnSp>
            <p:cxnSp>
              <p:nvCxnSpPr>
                <p:cNvPr id="50" name="Straight Connector 49">
                  <a:extLst>
                    <a:ext uri="{FF2B5EF4-FFF2-40B4-BE49-F238E27FC236}">
                      <a16:creationId xmlns:a16="http://schemas.microsoft.com/office/drawing/2014/main" id="{25C2030C-5796-E66A-3D93-DA022BCF841E}"/>
                    </a:ext>
                  </a:extLst>
                </p:cNvPr>
                <p:cNvCxnSpPr>
                  <a:cxnSpLocks/>
                  <a:stCxn id="31" idx="6"/>
                  <a:endCxn id="32" idx="2"/>
                </p:cNvCxnSpPr>
                <p:nvPr/>
              </p:nvCxnSpPr>
              <p:spPr>
                <a:xfrm>
                  <a:off x="2605893" y="5344143"/>
                  <a:ext cx="187875" cy="0"/>
                </a:xfrm>
                <a:prstGeom prst="line">
                  <a:avLst/>
                </a:prstGeom>
                <a:noFill/>
                <a:ln w="12700" cap="flat" cmpd="sng" algn="ctr">
                  <a:solidFill>
                    <a:srgbClr val="FFFFFF"/>
                  </a:solidFill>
                  <a:prstDash val="solid"/>
                  <a:miter lim="800000"/>
                </a:ln>
                <a:effectLst/>
              </p:spPr>
            </p:cxnSp>
            <p:cxnSp>
              <p:nvCxnSpPr>
                <p:cNvPr id="51" name="Straight Connector 50">
                  <a:extLst>
                    <a:ext uri="{FF2B5EF4-FFF2-40B4-BE49-F238E27FC236}">
                      <a16:creationId xmlns:a16="http://schemas.microsoft.com/office/drawing/2014/main" id="{E45FC548-E32C-7A02-A31F-D9523FCEA9D8}"/>
                    </a:ext>
                  </a:extLst>
                </p:cNvPr>
                <p:cNvCxnSpPr>
                  <a:cxnSpLocks/>
                  <a:stCxn id="29" idx="2"/>
                  <a:endCxn id="28" idx="6"/>
                </p:cNvCxnSpPr>
                <p:nvPr/>
              </p:nvCxnSpPr>
              <p:spPr>
                <a:xfrm flipH="1">
                  <a:off x="2614557" y="4818773"/>
                  <a:ext cx="187875" cy="0"/>
                </a:xfrm>
                <a:prstGeom prst="line">
                  <a:avLst/>
                </a:prstGeom>
                <a:noFill/>
                <a:ln w="12700" cap="flat" cmpd="sng" algn="ctr">
                  <a:solidFill>
                    <a:srgbClr val="FFFFFF"/>
                  </a:solidFill>
                  <a:prstDash val="solid"/>
                  <a:miter lim="800000"/>
                </a:ln>
                <a:effectLst/>
              </p:spPr>
            </p:cxnSp>
            <p:cxnSp>
              <p:nvCxnSpPr>
                <p:cNvPr id="52" name="Straight Connector 51">
                  <a:extLst>
                    <a:ext uri="{FF2B5EF4-FFF2-40B4-BE49-F238E27FC236}">
                      <a16:creationId xmlns:a16="http://schemas.microsoft.com/office/drawing/2014/main" id="{6D75BEDE-7E42-F7E5-E859-F6E1D930C440}"/>
                    </a:ext>
                  </a:extLst>
                </p:cNvPr>
                <p:cNvCxnSpPr>
                  <a:cxnSpLocks/>
                  <a:stCxn id="28" idx="2"/>
                  <a:endCxn id="27" idx="6"/>
                </p:cNvCxnSpPr>
                <p:nvPr/>
              </p:nvCxnSpPr>
              <p:spPr>
                <a:xfrm flipH="1">
                  <a:off x="2268141" y="4818773"/>
                  <a:ext cx="187874" cy="0"/>
                </a:xfrm>
                <a:prstGeom prst="line">
                  <a:avLst/>
                </a:prstGeom>
                <a:noFill/>
                <a:ln w="12700" cap="flat" cmpd="sng" algn="ctr">
                  <a:solidFill>
                    <a:srgbClr val="FFFFFF"/>
                  </a:solidFill>
                  <a:prstDash val="solid"/>
                  <a:miter lim="800000"/>
                </a:ln>
                <a:effectLst/>
              </p:spPr>
            </p:cxnSp>
          </p:grpSp>
          <p:grpSp>
            <p:nvGrpSpPr>
              <p:cNvPr id="24" name="Group 23">
                <a:extLst>
                  <a:ext uri="{FF2B5EF4-FFF2-40B4-BE49-F238E27FC236}">
                    <a16:creationId xmlns:a16="http://schemas.microsoft.com/office/drawing/2014/main" id="{8FB95A44-D32B-A966-C82C-7F93EF1AE2E0}"/>
                  </a:ext>
                  <a:ext uri="{C183D7F6-B498-43B3-948B-1728B52AA6E4}">
                    <adec:decorative xmlns:adec="http://schemas.microsoft.com/office/drawing/2017/decorative" val="1"/>
                  </a:ext>
                </a:extLst>
              </p:cNvPr>
              <p:cNvGrpSpPr/>
              <p:nvPr/>
            </p:nvGrpSpPr>
            <p:grpSpPr>
              <a:xfrm>
                <a:off x="1316481" y="5894006"/>
                <a:ext cx="360925" cy="360925"/>
                <a:chOff x="9972875" y="2343390"/>
                <a:chExt cx="919370" cy="919370"/>
              </a:xfrm>
            </p:grpSpPr>
            <p:sp>
              <p:nvSpPr>
                <p:cNvPr id="25" name="Oval 24">
                  <a:extLst>
                    <a:ext uri="{FF2B5EF4-FFF2-40B4-BE49-F238E27FC236}">
                      <a16:creationId xmlns:a16="http://schemas.microsoft.com/office/drawing/2014/main" id="{084C4F97-F943-E52B-31D2-7986C2CBF83B}"/>
                    </a:ext>
                    <a:ext uri="{C183D7F6-B498-43B3-948B-1728B52AA6E4}">
                      <adec:decorative xmlns:adec="http://schemas.microsoft.com/office/drawing/2017/decorative" val="1"/>
                    </a:ext>
                  </a:extLst>
                </p:cNvPr>
                <p:cNvSpPr/>
                <p:nvPr/>
              </p:nvSpPr>
              <p:spPr bwMode="auto">
                <a:xfrm>
                  <a:off x="9972875" y="2343390"/>
                  <a:ext cx="919370" cy="919370"/>
                </a:xfrm>
                <a:prstGeom prst="ellipse">
                  <a:avLst/>
                </a:prstGeom>
                <a:solidFill>
                  <a:srgbClr val="FFFFFF"/>
                </a:solidFill>
                <a:ln w="25400" cap="flat" cmpd="sng" algn="ctr">
                  <a:solidFill>
                    <a:srgbClr val="0078D4"/>
                  </a:solidFill>
                  <a:prstDash val="solid"/>
                </a:ln>
                <a:effectLst/>
              </p:spPr>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endParaRPr kumimoji="0" lang="en-US" sz="1313" b="1" i="0" u="none" strike="noStrike" kern="0" cap="none" spc="0" normalizeH="0" baseline="0" noProof="0">
                    <a:ln>
                      <a:noFill/>
                    </a:ln>
                    <a:solidFill>
                      <a:srgbClr val="2F2F2F"/>
                    </a:solidFill>
                    <a:effectLst/>
                    <a:uLnTx/>
                    <a:uFillTx/>
                    <a:latin typeface="Segoe UI Semibold" panose="020B0502040204020203" pitchFamily="34" charset="0"/>
                    <a:ea typeface="+mn-ea"/>
                    <a:cs typeface="Segoe UI Semibold" panose="020B0502040204020203" pitchFamily="34" charset="0"/>
                  </a:endParaRPr>
                </a:p>
              </p:txBody>
            </p:sp>
            <p:sp>
              <p:nvSpPr>
                <p:cNvPr id="26" name="Graphic 40">
                  <a:extLst>
                    <a:ext uri="{FF2B5EF4-FFF2-40B4-BE49-F238E27FC236}">
                      <a16:creationId xmlns:a16="http://schemas.microsoft.com/office/drawing/2014/main" id="{0A557576-16B3-559B-AF16-A9F361A73B41}"/>
                    </a:ext>
                  </a:extLst>
                </p:cNvPr>
                <p:cNvSpPr>
                  <a:spLocks noChangeAspect="1"/>
                </p:cNvSpPr>
                <p:nvPr/>
              </p:nvSpPr>
              <p:spPr>
                <a:xfrm>
                  <a:off x="10175254" y="2548863"/>
                  <a:ext cx="514612" cy="508425"/>
                </a:xfrm>
                <a:custGeom>
                  <a:avLst/>
                  <a:gdLst>
                    <a:gd name="connsiteX0" fmla="*/ 76200 w 381000"/>
                    <a:gd name="connsiteY0" fmla="*/ 76200 h 376420"/>
                    <a:gd name="connsiteX1" fmla="*/ 76200 w 381000"/>
                    <a:gd name="connsiteY1" fmla="*/ 109538 h 376420"/>
                    <a:gd name="connsiteX2" fmla="*/ 45244 w 381000"/>
                    <a:gd name="connsiteY2" fmla="*/ 109538 h 376420"/>
                    <a:gd name="connsiteX3" fmla="*/ 0 w 381000"/>
                    <a:gd name="connsiteY3" fmla="*/ 154781 h 376420"/>
                    <a:gd name="connsiteX4" fmla="*/ 0 w 381000"/>
                    <a:gd name="connsiteY4" fmla="*/ 330994 h 376420"/>
                    <a:gd name="connsiteX5" fmla="*/ 45244 w 381000"/>
                    <a:gd name="connsiteY5" fmla="*/ 376238 h 376420"/>
                    <a:gd name="connsiteX6" fmla="*/ 259556 w 381000"/>
                    <a:gd name="connsiteY6" fmla="*/ 376238 h 376420"/>
                    <a:gd name="connsiteX7" fmla="*/ 264887 w 381000"/>
                    <a:gd name="connsiteY7" fmla="*/ 375927 h 376420"/>
                    <a:gd name="connsiteX8" fmla="*/ 252626 w 381000"/>
                    <a:gd name="connsiteY8" fmla="*/ 365943 h 376420"/>
                    <a:gd name="connsiteX9" fmla="*/ 209550 w 381000"/>
                    <a:gd name="connsiteY9" fmla="*/ 273844 h 376420"/>
                    <a:gd name="connsiteX10" fmla="*/ 209550 w 381000"/>
                    <a:gd name="connsiteY10" fmla="*/ 222307 h 376420"/>
                    <a:gd name="connsiteX11" fmla="*/ 234295 w 381000"/>
                    <a:gd name="connsiteY11" fmla="*/ 196146 h 376420"/>
                    <a:gd name="connsiteX12" fmla="*/ 234404 w 381000"/>
                    <a:gd name="connsiteY12" fmla="*/ 196140 h 376420"/>
                    <a:gd name="connsiteX13" fmla="*/ 235038 w 381000"/>
                    <a:gd name="connsiteY13" fmla="*/ 196098 h 376420"/>
                    <a:gd name="connsiteX14" fmla="*/ 237674 w 381000"/>
                    <a:gd name="connsiteY14" fmla="*/ 195885 h 376420"/>
                    <a:gd name="connsiteX15" fmla="*/ 246762 w 381000"/>
                    <a:gd name="connsiteY15" fmla="*/ 194836 h 376420"/>
                    <a:gd name="connsiteX16" fmla="*/ 265178 w 381000"/>
                    <a:gd name="connsiteY16" fmla="*/ 190463 h 376420"/>
                    <a:gd name="connsiteX17" fmla="*/ 278087 w 381000"/>
                    <a:gd name="connsiteY17" fmla="*/ 181386 h 376420"/>
                    <a:gd name="connsiteX18" fmla="*/ 284127 w 381000"/>
                    <a:gd name="connsiteY18" fmla="*/ 176118 h 376420"/>
                    <a:gd name="connsiteX19" fmla="*/ 285835 w 381000"/>
                    <a:gd name="connsiteY19" fmla="*/ 174533 h 376420"/>
                    <a:gd name="connsiteX20" fmla="*/ 286242 w 381000"/>
                    <a:gd name="connsiteY20" fmla="*/ 174147 h 376420"/>
                    <a:gd name="connsiteX21" fmla="*/ 286311 w 381000"/>
                    <a:gd name="connsiteY21" fmla="*/ 174080 h 376420"/>
                    <a:gd name="connsiteX22" fmla="*/ 304800 w 381000"/>
                    <a:gd name="connsiteY22" fmla="*/ 166688 h 376420"/>
                    <a:gd name="connsiteX23" fmla="*/ 304800 w 381000"/>
                    <a:gd name="connsiteY23" fmla="*/ 154781 h 376420"/>
                    <a:gd name="connsiteX24" fmla="*/ 259556 w 381000"/>
                    <a:gd name="connsiteY24" fmla="*/ 109538 h 376420"/>
                    <a:gd name="connsiteX25" fmla="*/ 228600 w 381000"/>
                    <a:gd name="connsiteY25" fmla="*/ 109538 h 376420"/>
                    <a:gd name="connsiteX26" fmla="*/ 228600 w 381000"/>
                    <a:gd name="connsiteY26" fmla="*/ 76200 h 376420"/>
                    <a:gd name="connsiteX27" fmla="*/ 152400 w 381000"/>
                    <a:gd name="connsiteY27" fmla="*/ 0 h 376420"/>
                    <a:gd name="connsiteX28" fmla="*/ 76200 w 381000"/>
                    <a:gd name="connsiteY28" fmla="*/ 76200 h 376420"/>
                    <a:gd name="connsiteX29" fmla="*/ 152400 w 381000"/>
                    <a:gd name="connsiteY29" fmla="*/ 23813 h 376420"/>
                    <a:gd name="connsiteX30" fmla="*/ 204788 w 381000"/>
                    <a:gd name="connsiteY30" fmla="*/ 76200 h 376420"/>
                    <a:gd name="connsiteX31" fmla="*/ 204788 w 381000"/>
                    <a:gd name="connsiteY31" fmla="*/ 109538 h 376420"/>
                    <a:gd name="connsiteX32" fmla="*/ 100013 w 381000"/>
                    <a:gd name="connsiteY32" fmla="*/ 109538 h 376420"/>
                    <a:gd name="connsiteX33" fmla="*/ 100013 w 381000"/>
                    <a:gd name="connsiteY33" fmla="*/ 76200 h 376420"/>
                    <a:gd name="connsiteX34" fmla="*/ 152400 w 381000"/>
                    <a:gd name="connsiteY34" fmla="*/ 23813 h 376420"/>
                    <a:gd name="connsiteX35" fmla="*/ 180975 w 381000"/>
                    <a:gd name="connsiteY35" fmla="*/ 242888 h 376420"/>
                    <a:gd name="connsiteX36" fmla="*/ 152400 w 381000"/>
                    <a:gd name="connsiteY36" fmla="*/ 271463 h 376420"/>
                    <a:gd name="connsiteX37" fmla="*/ 123825 w 381000"/>
                    <a:gd name="connsiteY37" fmla="*/ 242888 h 376420"/>
                    <a:gd name="connsiteX38" fmla="*/ 152400 w 381000"/>
                    <a:gd name="connsiteY38" fmla="*/ 214313 h 376420"/>
                    <a:gd name="connsiteX39" fmla="*/ 180975 w 381000"/>
                    <a:gd name="connsiteY39" fmla="*/ 242888 h 376420"/>
                    <a:gd name="connsiteX40" fmla="*/ 228600 w 381000"/>
                    <a:gd name="connsiteY40" fmla="*/ 221552 h 376420"/>
                    <a:gd name="connsiteX41" fmla="*/ 228600 w 381000"/>
                    <a:gd name="connsiteY41" fmla="*/ 276227 h 376420"/>
                    <a:gd name="connsiteX42" fmla="*/ 302156 w 381000"/>
                    <a:gd name="connsiteY42" fmla="*/ 375823 h 376420"/>
                    <a:gd name="connsiteX43" fmla="*/ 307419 w 381000"/>
                    <a:gd name="connsiteY43" fmla="*/ 375827 h 376420"/>
                    <a:gd name="connsiteX44" fmla="*/ 381000 w 381000"/>
                    <a:gd name="connsiteY44" fmla="*/ 278249 h 376420"/>
                    <a:gd name="connsiteX45" fmla="*/ 381000 w 381000"/>
                    <a:gd name="connsiteY45" fmla="*/ 221549 h 376420"/>
                    <a:gd name="connsiteX46" fmla="*/ 373759 w 381000"/>
                    <a:gd name="connsiteY46" fmla="*/ 214207 h 376420"/>
                    <a:gd name="connsiteX47" fmla="*/ 338124 w 381000"/>
                    <a:gd name="connsiteY47" fmla="*/ 208599 h 376420"/>
                    <a:gd name="connsiteX48" fmla="*/ 310272 w 381000"/>
                    <a:gd name="connsiteY48" fmla="*/ 188169 h 376420"/>
                    <a:gd name="connsiteX49" fmla="*/ 299325 w 381000"/>
                    <a:gd name="connsiteY49" fmla="*/ 188166 h 376420"/>
                    <a:gd name="connsiteX50" fmla="*/ 271464 w 381000"/>
                    <a:gd name="connsiteY50" fmla="*/ 208599 h 376420"/>
                    <a:gd name="connsiteX51" fmla="*/ 235842 w 381000"/>
                    <a:gd name="connsiteY51" fmla="*/ 214208 h 376420"/>
                    <a:gd name="connsiteX52" fmla="*/ 228600 w 381000"/>
                    <a:gd name="connsiteY52" fmla="*/ 221552 h 37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81000" h="376420">
                      <a:moveTo>
                        <a:pt x="76200" y="76200"/>
                      </a:moveTo>
                      <a:lnTo>
                        <a:pt x="76200" y="109538"/>
                      </a:lnTo>
                      <a:lnTo>
                        <a:pt x="45244" y="109538"/>
                      </a:lnTo>
                      <a:cubicBezTo>
                        <a:pt x="20256" y="109538"/>
                        <a:pt x="0" y="129793"/>
                        <a:pt x="0" y="154781"/>
                      </a:cubicBezTo>
                      <a:lnTo>
                        <a:pt x="0" y="330994"/>
                      </a:lnTo>
                      <a:cubicBezTo>
                        <a:pt x="0" y="355982"/>
                        <a:pt x="20256" y="376238"/>
                        <a:pt x="45244" y="376238"/>
                      </a:cubicBezTo>
                      <a:lnTo>
                        <a:pt x="259556" y="376238"/>
                      </a:lnTo>
                      <a:cubicBezTo>
                        <a:pt x="261360" y="376238"/>
                        <a:pt x="263140" y="376132"/>
                        <a:pt x="264887" y="375927"/>
                      </a:cubicBezTo>
                      <a:cubicBezTo>
                        <a:pt x="260925" y="373007"/>
                        <a:pt x="256784" y="369684"/>
                        <a:pt x="252626" y="365943"/>
                      </a:cubicBezTo>
                      <a:cubicBezTo>
                        <a:pt x="232122" y="347495"/>
                        <a:pt x="209550" y="317144"/>
                        <a:pt x="209550" y="273844"/>
                      </a:cubicBezTo>
                      <a:lnTo>
                        <a:pt x="209550" y="222307"/>
                      </a:lnTo>
                      <a:cubicBezTo>
                        <a:pt x="209550" y="208403"/>
                        <a:pt x="220413" y="196916"/>
                        <a:pt x="234295" y="196146"/>
                      </a:cubicBezTo>
                      <a:lnTo>
                        <a:pt x="234404" y="196140"/>
                      </a:lnTo>
                      <a:cubicBezTo>
                        <a:pt x="234529" y="196132"/>
                        <a:pt x="234744" y="196118"/>
                        <a:pt x="235038" y="196098"/>
                      </a:cubicBezTo>
                      <a:cubicBezTo>
                        <a:pt x="235628" y="196056"/>
                        <a:pt x="236530" y="195987"/>
                        <a:pt x="237674" y="195885"/>
                      </a:cubicBezTo>
                      <a:cubicBezTo>
                        <a:pt x="239980" y="195680"/>
                        <a:pt x="243189" y="195344"/>
                        <a:pt x="246762" y="194836"/>
                      </a:cubicBezTo>
                      <a:cubicBezTo>
                        <a:pt x="254648" y="193713"/>
                        <a:pt x="261563" y="192104"/>
                        <a:pt x="265178" y="190463"/>
                      </a:cubicBezTo>
                      <a:cubicBezTo>
                        <a:pt x="267810" y="189267"/>
                        <a:pt x="272652" y="185901"/>
                        <a:pt x="278087" y="181386"/>
                      </a:cubicBezTo>
                      <a:cubicBezTo>
                        <a:pt x="280507" y="179374"/>
                        <a:pt x="282622" y="177493"/>
                        <a:pt x="284127" y="176118"/>
                      </a:cubicBezTo>
                      <a:cubicBezTo>
                        <a:pt x="284874" y="175435"/>
                        <a:pt x="285456" y="174891"/>
                        <a:pt x="285835" y="174533"/>
                      </a:cubicBezTo>
                      <a:lnTo>
                        <a:pt x="286242" y="174147"/>
                      </a:lnTo>
                      <a:lnTo>
                        <a:pt x="286311" y="174080"/>
                      </a:lnTo>
                      <a:cubicBezTo>
                        <a:pt x="291455" y="169091"/>
                        <a:pt x="298136" y="166626"/>
                        <a:pt x="304800" y="166688"/>
                      </a:cubicBezTo>
                      <a:lnTo>
                        <a:pt x="304800" y="154781"/>
                      </a:lnTo>
                      <a:cubicBezTo>
                        <a:pt x="304800" y="129793"/>
                        <a:pt x="284544" y="109538"/>
                        <a:pt x="259556" y="109538"/>
                      </a:cubicBezTo>
                      <a:lnTo>
                        <a:pt x="228600" y="109538"/>
                      </a:lnTo>
                      <a:lnTo>
                        <a:pt x="228600" y="76200"/>
                      </a:lnTo>
                      <a:cubicBezTo>
                        <a:pt x="228600" y="34116"/>
                        <a:pt x="194484" y="0"/>
                        <a:pt x="152400" y="0"/>
                      </a:cubicBezTo>
                      <a:cubicBezTo>
                        <a:pt x="110316" y="0"/>
                        <a:pt x="76200" y="34116"/>
                        <a:pt x="76200" y="76200"/>
                      </a:cubicBezTo>
                      <a:close/>
                      <a:moveTo>
                        <a:pt x="152400" y="23813"/>
                      </a:moveTo>
                      <a:cubicBezTo>
                        <a:pt x="181333" y="23813"/>
                        <a:pt x="204788" y="47267"/>
                        <a:pt x="204788" y="76200"/>
                      </a:cubicBezTo>
                      <a:lnTo>
                        <a:pt x="204788" y="109538"/>
                      </a:lnTo>
                      <a:lnTo>
                        <a:pt x="100013" y="109538"/>
                      </a:lnTo>
                      <a:lnTo>
                        <a:pt x="100013" y="76200"/>
                      </a:lnTo>
                      <a:cubicBezTo>
                        <a:pt x="100013" y="47267"/>
                        <a:pt x="123467" y="23813"/>
                        <a:pt x="152400" y="23813"/>
                      </a:cubicBezTo>
                      <a:close/>
                      <a:moveTo>
                        <a:pt x="180975" y="242888"/>
                      </a:moveTo>
                      <a:cubicBezTo>
                        <a:pt x="180975" y="258669"/>
                        <a:pt x="168182" y="271463"/>
                        <a:pt x="152400" y="271463"/>
                      </a:cubicBezTo>
                      <a:cubicBezTo>
                        <a:pt x="136618" y="271463"/>
                        <a:pt x="123825" y="258669"/>
                        <a:pt x="123825" y="242888"/>
                      </a:cubicBezTo>
                      <a:cubicBezTo>
                        <a:pt x="123825" y="227106"/>
                        <a:pt x="136618" y="214313"/>
                        <a:pt x="152400" y="214313"/>
                      </a:cubicBezTo>
                      <a:cubicBezTo>
                        <a:pt x="168182" y="214313"/>
                        <a:pt x="180975" y="227106"/>
                        <a:pt x="180975" y="242888"/>
                      </a:cubicBezTo>
                      <a:close/>
                      <a:moveTo>
                        <a:pt x="228600" y="221552"/>
                      </a:moveTo>
                      <a:lnTo>
                        <a:pt x="228600" y="276227"/>
                      </a:lnTo>
                      <a:cubicBezTo>
                        <a:pt x="228600" y="337974"/>
                        <a:pt x="288743" y="369549"/>
                        <a:pt x="302156" y="375823"/>
                      </a:cubicBezTo>
                      <a:cubicBezTo>
                        <a:pt x="303857" y="376619"/>
                        <a:pt x="305717" y="376619"/>
                        <a:pt x="307419" y="375827"/>
                      </a:cubicBezTo>
                      <a:cubicBezTo>
                        <a:pt x="320839" y="369580"/>
                        <a:pt x="381000" y="338228"/>
                        <a:pt x="381000" y="278249"/>
                      </a:cubicBezTo>
                      <a:lnTo>
                        <a:pt x="381000" y="221549"/>
                      </a:lnTo>
                      <a:cubicBezTo>
                        <a:pt x="381000" y="217561"/>
                        <a:pt x="377744" y="214343"/>
                        <a:pt x="373759" y="214207"/>
                      </a:cubicBezTo>
                      <a:cubicBezTo>
                        <a:pt x="364597" y="213893"/>
                        <a:pt x="348735" y="212739"/>
                        <a:pt x="338124" y="208599"/>
                      </a:cubicBezTo>
                      <a:cubicBezTo>
                        <a:pt x="328258" y="204749"/>
                        <a:pt x="316856" y="194597"/>
                        <a:pt x="310272" y="188169"/>
                      </a:cubicBezTo>
                      <a:cubicBezTo>
                        <a:pt x="307263" y="185232"/>
                        <a:pt x="302335" y="185231"/>
                        <a:pt x="299325" y="188166"/>
                      </a:cubicBezTo>
                      <a:cubicBezTo>
                        <a:pt x="292735" y="194593"/>
                        <a:pt x="281323" y="204748"/>
                        <a:pt x="271464" y="208599"/>
                      </a:cubicBezTo>
                      <a:cubicBezTo>
                        <a:pt x="260859" y="212742"/>
                        <a:pt x="245002" y="213895"/>
                        <a:pt x="235842" y="214208"/>
                      </a:cubicBezTo>
                      <a:cubicBezTo>
                        <a:pt x="231857" y="214344"/>
                        <a:pt x="228600" y="217563"/>
                        <a:pt x="228600" y="221552"/>
                      </a:cubicBezTo>
                      <a:close/>
                    </a:path>
                  </a:pathLst>
                </a:custGeom>
                <a:gradFill flip="none" rotWithShape="1">
                  <a:gsLst>
                    <a:gs pos="67000">
                      <a:srgbClr val="0078D4"/>
                    </a:gs>
                    <a:gs pos="0">
                      <a:srgbClr val="C03BC4"/>
                    </a:gs>
                  </a:gsLst>
                  <a:lin ang="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0" tIns="17145" rIns="0" bIns="42863"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857219" rtl="0" eaLnBrk="1" fontAlgn="base" latinLnBrk="0" hangingPunct="1">
                    <a:lnSpc>
                      <a:spcPct val="100000"/>
                    </a:lnSpc>
                    <a:spcBef>
                      <a:spcPct val="0"/>
                    </a:spcBef>
                    <a:spcAft>
                      <a:spcPct val="0"/>
                    </a:spcAft>
                    <a:buClrTx/>
                    <a:buSzTx/>
                    <a:buFontTx/>
                    <a:buNone/>
                    <a:tabLst/>
                    <a:defRPr/>
                  </a:pPr>
                  <a:endParaRPr kumimoji="0" lang="en-US" sz="1500" b="1" i="0" u="none" strike="noStrike" kern="120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endParaRPr>
                </a:p>
              </p:txBody>
            </p:sp>
          </p:grpSp>
        </p:grpSp>
      </p:grpSp>
      <p:cxnSp>
        <p:nvCxnSpPr>
          <p:cNvPr id="53" name="Straight Arrow Connector 52">
            <a:extLst>
              <a:ext uri="{FF2B5EF4-FFF2-40B4-BE49-F238E27FC236}">
                <a16:creationId xmlns:a16="http://schemas.microsoft.com/office/drawing/2014/main" id="{8FC5DF15-113C-3709-F227-5D99FC221759}"/>
              </a:ext>
              <a:ext uri="{C183D7F6-B498-43B3-948B-1728B52AA6E4}">
                <adec:decorative xmlns:adec="http://schemas.microsoft.com/office/drawing/2017/decorative" val="1"/>
              </a:ext>
            </a:extLst>
          </p:cNvPr>
          <p:cNvCxnSpPr>
            <a:cxnSpLocks/>
          </p:cNvCxnSpPr>
          <p:nvPr/>
        </p:nvCxnSpPr>
        <p:spPr>
          <a:xfrm flipH="1">
            <a:off x="3503998" y="3326841"/>
            <a:ext cx="1663092" cy="0"/>
          </a:xfrm>
          <a:prstGeom prst="straightConnector1">
            <a:avLst/>
          </a:prstGeom>
          <a:noFill/>
          <a:ln w="12700" cap="rnd" cmpd="sng" algn="ctr">
            <a:solidFill>
              <a:srgbClr val="70899C"/>
            </a:solidFill>
            <a:prstDash val="solid"/>
            <a:miter lim="800000"/>
            <a:headEnd type="none" w="med" len="med"/>
            <a:tailEnd type="arrow" w="med" len="med"/>
          </a:ln>
          <a:effectLst/>
        </p:spPr>
      </p:cxnSp>
      <p:cxnSp>
        <p:nvCxnSpPr>
          <p:cNvPr id="54" name="Straight Arrow Connector 53">
            <a:extLst>
              <a:ext uri="{FF2B5EF4-FFF2-40B4-BE49-F238E27FC236}">
                <a16:creationId xmlns:a16="http://schemas.microsoft.com/office/drawing/2014/main" id="{A87D47DD-93FE-A081-DD03-A877A81419DF}"/>
              </a:ext>
              <a:ext uri="{C183D7F6-B498-43B3-948B-1728B52AA6E4}">
                <adec:decorative xmlns:adec="http://schemas.microsoft.com/office/drawing/2017/decorative" val="1"/>
              </a:ext>
            </a:extLst>
          </p:cNvPr>
          <p:cNvCxnSpPr>
            <a:cxnSpLocks/>
          </p:cNvCxnSpPr>
          <p:nvPr/>
        </p:nvCxnSpPr>
        <p:spPr>
          <a:xfrm flipV="1">
            <a:off x="2289665" y="4465157"/>
            <a:ext cx="0" cy="288472"/>
          </a:xfrm>
          <a:prstGeom prst="straightConnector1">
            <a:avLst/>
          </a:prstGeom>
          <a:noFill/>
          <a:ln w="12700" cap="rnd" cmpd="sng" algn="ctr">
            <a:solidFill>
              <a:srgbClr val="70899C"/>
            </a:solidFill>
            <a:prstDash val="solid"/>
            <a:miter lim="800000"/>
            <a:headEnd type="none" w="med" len="med"/>
            <a:tailEnd type="arrow" w="med" len="med"/>
          </a:ln>
          <a:effectLst/>
        </p:spPr>
      </p:cxnSp>
      <p:sp>
        <p:nvSpPr>
          <p:cNvPr id="55" name="Rectangle: Rounded Corners 54">
            <a:extLst>
              <a:ext uri="{FF2B5EF4-FFF2-40B4-BE49-F238E27FC236}">
                <a16:creationId xmlns:a16="http://schemas.microsoft.com/office/drawing/2014/main" id="{5073B88E-CC75-0F0C-5977-8B6E6526B14F}"/>
              </a:ext>
            </a:extLst>
          </p:cNvPr>
          <p:cNvSpPr/>
          <p:nvPr/>
        </p:nvSpPr>
        <p:spPr>
          <a:xfrm>
            <a:off x="4913698" y="1861925"/>
            <a:ext cx="2366192" cy="566896"/>
          </a:xfrm>
          <a:prstGeom prst="roundRect">
            <a:avLst>
              <a:gd name="adj" fmla="val 24732"/>
            </a:avLst>
          </a:prstGeom>
          <a:solidFill>
            <a:srgbClr val="3A4953">
              <a:alpha val="25000"/>
            </a:srgbClr>
          </a:solidFill>
          <a:ln w="6350" cap="flat" cmpd="sng" algn="ctr">
            <a:noFill/>
            <a:prstDash val="solid"/>
            <a:miter lim="800000"/>
          </a:ln>
          <a:effectLst/>
        </p:spPr>
        <p:txBody>
          <a:bodyPr lIns="288000" tIns="171450" bIns="171450" rtlCol="0" anchor="ct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80808"/>
                </a:solidFill>
                <a:effectLst/>
                <a:uLnTx/>
                <a:uFillTx/>
                <a:latin typeface="Segoe UI Semibold"/>
                <a:ea typeface="+mn-ea"/>
                <a:cs typeface="+mn-cs"/>
              </a:rPr>
              <a:t>“Can you give me guidance on operational efficiency?</a:t>
            </a:r>
            <a:r>
              <a:rPr kumimoji="0" lang="en-US" sz="1000" b="0" i="1" u="none" strike="noStrike" kern="0" cap="none" spc="0" normalizeH="0" baseline="0" noProof="0">
                <a:ln>
                  <a:noFill/>
                </a:ln>
                <a:solidFill>
                  <a:srgbClr val="080808"/>
                </a:solidFill>
                <a:effectLst/>
                <a:uLnTx/>
                <a:uFillTx/>
                <a:latin typeface="Segoe UI Semibold"/>
                <a:ea typeface="+mn-ea"/>
                <a:cs typeface="+mn-cs"/>
              </a:rPr>
              <a:t>”</a:t>
            </a:r>
          </a:p>
        </p:txBody>
      </p:sp>
      <p:cxnSp>
        <p:nvCxnSpPr>
          <p:cNvPr id="56" name="Straight Arrow Connector 55">
            <a:extLst>
              <a:ext uri="{FF2B5EF4-FFF2-40B4-BE49-F238E27FC236}">
                <a16:creationId xmlns:a16="http://schemas.microsoft.com/office/drawing/2014/main" id="{70D3CA95-E99A-0300-8E06-31C2A33CA5F0}"/>
              </a:ext>
              <a:ext uri="{C183D7F6-B498-43B3-948B-1728B52AA6E4}">
                <adec:decorative xmlns:adec="http://schemas.microsoft.com/office/drawing/2017/decorative" val="1"/>
              </a:ext>
            </a:extLst>
          </p:cNvPr>
          <p:cNvCxnSpPr>
            <a:cxnSpLocks/>
          </p:cNvCxnSpPr>
          <p:nvPr/>
        </p:nvCxnSpPr>
        <p:spPr>
          <a:xfrm>
            <a:off x="7098529" y="3211364"/>
            <a:ext cx="1621816" cy="0"/>
          </a:xfrm>
          <a:prstGeom prst="straightConnector1">
            <a:avLst/>
          </a:prstGeom>
          <a:noFill/>
          <a:ln w="12700" cap="rnd" cmpd="sng" algn="ctr">
            <a:solidFill>
              <a:srgbClr val="70899C"/>
            </a:solidFill>
            <a:prstDash val="solid"/>
            <a:headEnd type="none" w="sm" len="sm"/>
            <a:tailEnd type="arrow" w="lg" len="med"/>
          </a:ln>
          <a:effectLst/>
        </p:spPr>
      </p:cxnSp>
      <p:sp>
        <p:nvSpPr>
          <p:cNvPr id="57" name="TextBox 56">
            <a:extLst>
              <a:ext uri="{FF2B5EF4-FFF2-40B4-BE49-F238E27FC236}">
                <a16:creationId xmlns:a16="http://schemas.microsoft.com/office/drawing/2014/main" id="{566DE37F-53DE-9AD8-8A36-C03C949A2501}"/>
              </a:ext>
            </a:extLst>
          </p:cNvPr>
          <p:cNvSpPr txBox="1"/>
          <p:nvPr/>
        </p:nvSpPr>
        <p:spPr>
          <a:xfrm>
            <a:off x="8638164" y="4309350"/>
            <a:ext cx="271064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80808"/>
                </a:solidFill>
                <a:effectLst/>
                <a:uLnTx/>
                <a:uFillTx/>
                <a:latin typeface="Segoe UI"/>
                <a:ea typeface="+mn-ea"/>
                <a:cs typeface="+mn-cs"/>
              </a:rPr>
              <a:t>Microsoft 365 boundary</a:t>
            </a:r>
          </a:p>
        </p:txBody>
      </p:sp>
      <p:cxnSp>
        <p:nvCxnSpPr>
          <p:cNvPr id="58" name="Straight Arrow Connector 57">
            <a:extLst>
              <a:ext uri="{FF2B5EF4-FFF2-40B4-BE49-F238E27FC236}">
                <a16:creationId xmlns:a16="http://schemas.microsoft.com/office/drawing/2014/main" id="{65DCCB41-05C4-EB77-C6A7-6DB1905102E2}"/>
              </a:ext>
              <a:ext uri="{C183D7F6-B498-43B3-948B-1728B52AA6E4}">
                <adec:decorative xmlns:adec="http://schemas.microsoft.com/office/drawing/2017/decorative" val="1"/>
              </a:ext>
            </a:extLst>
          </p:cNvPr>
          <p:cNvCxnSpPr>
            <a:cxnSpLocks/>
          </p:cNvCxnSpPr>
          <p:nvPr/>
        </p:nvCxnSpPr>
        <p:spPr>
          <a:xfrm flipH="1" flipV="1">
            <a:off x="7098529" y="3471670"/>
            <a:ext cx="1611630" cy="9961"/>
          </a:xfrm>
          <a:prstGeom prst="straightConnector1">
            <a:avLst/>
          </a:prstGeom>
          <a:noFill/>
          <a:ln w="12700" cap="rnd" cmpd="sng" algn="ctr">
            <a:solidFill>
              <a:srgbClr val="70899C"/>
            </a:solidFill>
            <a:prstDash val="solid"/>
            <a:headEnd type="none" w="sm" len="sm"/>
            <a:tailEnd type="arrow" w="lg" len="med"/>
          </a:ln>
          <a:effectLst/>
        </p:spPr>
      </p:cxnSp>
      <p:grpSp>
        <p:nvGrpSpPr>
          <p:cNvPr id="59" name="Group 58">
            <a:extLst>
              <a:ext uri="{FF2B5EF4-FFF2-40B4-BE49-F238E27FC236}">
                <a16:creationId xmlns:a16="http://schemas.microsoft.com/office/drawing/2014/main" id="{FDFCECCD-F21E-26F6-D2FA-8B4622C56AF6}"/>
              </a:ext>
            </a:extLst>
          </p:cNvPr>
          <p:cNvGrpSpPr/>
          <p:nvPr/>
        </p:nvGrpSpPr>
        <p:grpSpPr>
          <a:xfrm>
            <a:off x="4543491" y="1804118"/>
            <a:ext cx="682509" cy="682509"/>
            <a:chOff x="7143231" y="2246783"/>
            <a:chExt cx="1264784" cy="1264784"/>
          </a:xfrm>
        </p:grpSpPr>
        <p:sp>
          <p:nvSpPr>
            <p:cNvPr id="60" name="Oval 59">
              <a:extLst>
                <a:ext uri="{FF2B5EF4-FFF2-40B4-BE49-F238E27FC236}">
                  <a16:creationId xmlns:a16="http://schemas.microsoft.com/office/drawing/2014/main" id="{E0803610-5CD3-7CCC-BB02-2AF75FD587E0}"/>
                </a:ext>
                <a:ext uri="{C183D7F6-B498-43B3-948B-1728B52AA6E4}">
                  <adec:decorative xmlns:adec="http://schemas.microsoft.com/office/drawing/2017/decorative" val="1"/>
                </a:ext>
              </a:extLst>
            </p:cNvPr>
            <p:cNvSpPr/>
            <p:nvPr/>
          </p:nvSpPr>
          <p:spPr bwMode="auto">
            <a:xfrm>
              <a:off x="7143231" y="2246783"/>
              <a:ext cx="1264784" cy="1264784"/>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Graphic 11">
              <a:extLst>
                <a:ext uri="{FF2B5EF4-FFF2-40B4-BE49-F238E27FC236}">
                  <a16:creationId xmlns:a16="http://schemas.microsoft.com/office/drawing/2014/main" id="{A6FBCD9D-98F3-0727-34F5-70B71AEA6F88}"/>
                </a:ext>
              </a:extLst>
            </p:cNvPr>
            <p:cNvSpPr/>
            <p:nvPr/>
          </p:nvSpPr>
          <p:spPr>
            <a:xfrm>
              <a:off x="7537698" y="2599851"/>
              <a:ext cx="475850" cy="594658"/>
            </a:xfrm>
            <a:custGeom>
              <a:avLst/>
              <a:gdLst>
                <a:gd name="connsiteX0" fmla="*/ 576303 w 670600"/>
                <a:gd name="connsiteY0" fmla="*/ 502751 h 838030"/>
                <a:gd name="connsiteX1" fmla="*/ 670601 w 670600"/>
                <a:gd name="connsiteY1" fmla="*/ 596965 h 838030"/>
                <a:gd name="connsiteX2" fmla="*/ 670601 w 670600"/>
                <a:gd name="connsiteY2" fmla="*/ 597007 h 838030"/>
                <a:gd name="connsiteX3" fmla="*/ 670601 w 670600"/>
                <a:gd name="connsiteY3" fmla="*/ 635480 h 838030"/>
                <a:gd name="connsiteX4" fmla="*/ 649101 w 670600"/>
                <a:gd name="connsiteY4" fmla="*/ 702494 h 838030"/>
                <a:gd name="connsiteX5" fmla="*/ 335154 w 670600"/>
                <a:gd name="connsiteY5" fmla="*/ 838031 h 838030"/>
                <a:gd name="connsiteX6" fmla="*/ 21374 w 670600"/>
                <a:gd name="connsiteY6" fmla="*/ 702368 h 838030"/>
                <a:gd name="connsiteX7" fmla="*/ 0 w 670600"/>
                <a:gd name="connsiteY7" fmla="*/ 635522 h 838030"/>
                <a:gd name="connsiteX8" fmla="*/ 0 w 670600"/>
                <a:gd name="connsiteY8" fmla="*/ 596965 h 838030"/>
                <a:gd name="connsiteX9" fmla="*/ 94214 w 670600"/>
                <a:gd name="connsiteY9" fmla="*/ 502668 h 838030"/>
                <a:gd name="connsiteX10" fmla="*/ 94255 w 670600"/>
                <a:gd name="connsiteY10" fmla="*/ 502668 h 838030"/>
                <a:gd name="connsiteX11" fmla="*/ 576261 w 670600"/>
                <a:gd name="connsiteY11" fmla="*/ 502668 h 838030"/>
                <a:gd name="connsiteX12" fmla="*/ 335154 w 670600"/>
                <a:gd name="connsiteY12" fmla="*/ 0 h 838030"/>
                <a:gd name="connsiteX13" fmla="*/ 544703 w 670600"/>
                <a:gd name="connsiteY13" fmla="*/ 209550 h 838030"/>
                <a:gd name="connsiteX14" fmla="*/ 335154 w 670600"/>
                <a:gd name="connsiteY14" fmla="*/ 419099 h 838030"/>
                <a:gd name="connsiteX15" fmla="*/ 125604 w 670600"/>
                <a:gd name="connsiteY15" fmla="*/ 209550 h 838030"/>
                <a:gd name="connsiteX16" fmla="*/ 335154 w 670600"/>
                <a:gd name="connsiteY16" fmla="*/ 0 h 83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0600" h="838030">
                  <a:moveTo>
                    <a:pt x="576303" y="502751"/>
                  </a:moveTo>
                  <a:cubicBezTo>
                    <a:pt x="628360" y="502726"/>
                    <a:pt x="670576" y="544909"/>
                    <a:pt x="670601" y="596965"/>
                  </a:cubicBezTo>
                  <a:cubicBezTo>
                    <a:pt x="670601" y="596977"/>
                    <a:pt x="670601" y="596994"/>
                    <a:pt x="670601" y="597007"/>
                  </a:cubicBezTo>
                  <a:lnTo>
                    <a:pt x="670601" y="635480"/>
                  </a:lnTo>
                  <a:cubicBezTo>
                    <a:pt x="670596" y="659511"/>
                    <a:pt x="663078" y="682943"/>
                    <a:pt x="649101" y="702494"/>
                  </a:cubicBezTo>
                  <a:cubicBezTo>
                    <a:pt x="584308" y="793145"/>
                    <a:pt x="478486" y="838031"/>
                    <a:pt x="335154" y="838031"/>
                  </a:cubicBezTo>
                  <a:cubicBezTo>
                    <a:pt x="191738" y="838031"/>
                    <a:pt x="85999" y="793103"/>
                    <a:pt x="21374" y="702368"/>
                  </a:cubicBezTo>
                  <a:cubicBezTo>
                    <a:pt x="7473" y="682851"/>
                    <a:pt x="3" y="659486"/>
                    <a:pt x="0" y="635522"/>
                  </a:cubicBezTo>
                  <a:lnTo>
                    <a:pt x="0" y="596965"/>
                  </a:lnTo>
                  <a:cubicBezTo>
                    <a:pt x="-23" y="544909"/>
                    <a:pt x="42158" y="502693"/>
                    <a:pt x="94214" y="502668"/>
                  </a:cubicBezTo>
                  <a:cubicBezTo>
                    <a:pt x="94227" y="502668"/>
                    <a:pt x="94242" y="502668"/>
                    <a:pt x="94255" y="502668"/>
                  </a:cubicBezTo>
                  <a:lnTo>
                    <a:pt x="576261" y="502668"/>
                  </a:lnTo>
                  <a:close/>
                  <a:moveTo>
                    <a:pt x="335154" y="0"/>
                  </a:moveTo>
                  <a:cubicBezTo>
                    <a:pt x="450884" y="0"/>
                    <a:pt x="544703" y="93819"/>
                    <a:pt x="544703" y="209550"/>
                  </a:cubicBezTo>
                  <a:cubicBezTo>
                    <a:pt x="544703" y="325280"/>
                    <a:pt x="450884" y="419099"/>
                    <a:pt x="335154" y="419099"/>
                  </a:cubicBezTo>
                  <a:cubicBezTo>
                    <a:pt x="219423" y="419099"/>
                    <a:pt x="125604" y="325280"/>
                    <a:pt x="125604" y="209550"/>
                  </a:cubicBezTo>
                  <a:cubicBezTo>
                    <a:pt x="125604" y="93819"/>
                    <a:pt x="219423" y="0"/>
                    <a:pt x="335154" y="0"/>
                  </a:cubicBezTo>
                  <a:close/>
                </a:path>
              </a:pathLst>
            </a:custGeom>
            <a:solidFill>
              <a:schemeClr val="bg1"/>
            </a:solidFill>
            <a:ln w="4167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a:ln>
                  <a:noFill/>
                </a:ln>
                <a:solidFill>
                  <a:srgbClr val="080808"/>
                </a:solidFill>
                <a:effectLst/>
                <a:uLnTx/>
                <a:uFillTx/>
                <a:latin typeface="Segoe UI"/>
                <a:ea typeface="+mn-ea"/>
                <a:cs typeface="+mn-cs"/>
              </a:endParaRPr>
            </a:p>
          </p:txBody>
        </p:sp>
      </p:grpSp>
      <p:sp>
        <p:nvSpPr>
          <p:cNvPr id="62" name="Rounded Rectangle 12">
            <a:extLst>
              <a:ext uri="{FF2B5EF4-FFF2-40B4-BE49-F238E27FC236}">
                <a16:creationId xmlns:a16="http://schemas.microsoft.com/office/drawing/2014/main" id="{CE4FCFCF-9004-D60B-7A93-8C0A3EE9511C}"/>
              </a:ext>
            </a:extLst>
          </p:cNvPr>
          <p:cNvSpPr/>
          <p:nvPr/>
        </p:nvSpPr>
        <p:spPr>
          <a:xfrm>
            <a:off x="1514433" y="3951989"/>
            <a:ext cx="1530614" cy="371548"/>
          </a:xfrm>
          <a:prstGeom prst="roundRect">
            <a:avLst>
              <a:gd name="adj" fmla="val 50000"/>
            </a:avLst>
          </a:prstGeom>
          <a:gradFill flip="none" rotWithShape="1">
            <a:gsLst>
              <a:gs pos="52552">
                <a:srgbClr val="894AC3"/>
              </a:gs>
              <a:gs pos="4000">
                <a:srgbClr val="0070C0"/>
              </a:gs>
            </a:gsLst>
            <a:path path="circle">
              <a:fillToRect r="100000" b="100000"/>
            </a:path>
            <a:tileRect l="-100000" t="-100000"/>
          </a:gradFill>
          <a:ln w="12700">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0800" tIns="40640" rIns="50800" bIns="40640" numCol="1" spcCol="0" rtlCol="0" fromWordArt="0" anchor="ctr" anchorCtr="0" forceAA="0" compatLnSpc="1">
            <a:prstTxWarp prst="textNoShape">
              <a:avLst/>
            </a:prstTxWarp>
            <a:noAutofit/>
          </a:bodyPr>
          <a:lstStyle/>
          <a:p>
            <a:pPr marL="0" marR="0" lvl="0" indent="0" algn="ctr" defTabSz="857219"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w="3175">
                  <a:noFill/>
                </a:ln>
                <a:solidFill>
                  <a:srgbClr val="FFFFFF"/>
                </a:solidFill>
                <a:effectLst/>
                <a:uLnTx/>
                <a:uFillTx/>
                <a:latin typeface="Segoe UI Semibold"/>
                <a:ea typeface="+mn-ea"/>
                <a:cs typeface="Segoe UI" pitchFamily="34" charset="0"/>
              </a:rPr>
              <a:t>Indexed Items</a:t>
            </a:r>
          </a:p>
        </p:txBody>
      </p:sp>
      <p:sp>
        <p:nvSpPr>
          <p:cNvPr id="63" name="Rounded Rectangle 12">
            <a:extLst>
              <a:ext uri="{FF2B5EF4-FFF2-40B4-BE49-F238E27FC236}">
                <a16:creationId xmlns:a16="http://schemas.microsoft.com/office/drawing/2014/main" id="{53F1F260-5F47-2D34-5B7A-BF6537D39035}"/>
              </a:ext>
            </a:extLst>
          </p:cNvPr>
          <p:cNvSpPr/>
          <p:nvPr/>
        </p:nvSpPr>
        <p:spPr>
          <a:xfrm>
            <a:off x="1353056" y="4884461"/>
            <a:ext cx="1879262" cy="390624"/>
          </a:xfrm>
          <a:prstGeom prst="roundRect">
            <a:avLst>
              <a:gd name="adj" fmla="val 50000"/>
            </a:avLst>
          </a:prstGeom>
          <a:gradFill flip="none" rotWithShape="1">
            <a:gsLst>
              <a:gs pos="67000">
                <a:srgbClr val="0078D4"/>
              </a:gs>
              <a:gs pos="0">
                <a:srgbClr val="C03BC4"/>
              </a:gs>
            </a:gsLst>
            <a:lin ang="600000" scaled="0"/>
            <a:tileRect/>
          </a:gradFill>
          <a:ln w="9525" cap="flat" cmpd="sng" algn="ctr">
            <a:noFill/>
            <a:prstDash val="solid"/>
            <a:headEnd type="none" w="med" len="med"/>
            <a:tailEnd type="none" w="med" len="med"/>
          </a:ln>
          <a:effectLst/>
        </p:spPr>
        <p:txBody>
          <a:bodyPr rot="0" spcFirstLastPara="0" vertOverflow="overflow" horzOverflow="overflow" vert="horz" wrap="square" lIns="0" tIns="17145" rIns="0" bIns="42863" numCol="1" spcCol="0" rtlCol="0" fromWordArt="0" anchor="ctr" anchorCtr="0" forceAA="0" compatLnSpc="1">
            <a:prstTxWarp prst="textNoShape">
              <a:avLst/>
            </a:prstTxWarp>
            <a:noAutofit/>
          </a:bodyPr>
          <a:lstStyle/>
          <a:p>
            <a:pPr marL="0" marR="0" lvl="0" indent="0" algn="ctr" defTabSz="857219"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w="3175">
                  <a:noFill/>
                </a:ln>
                <a:gradFill>
                  <a:gsLst>
                    <a:gs pos="53933">
                      <a:srgbClr val="FFFFFF"/>
                    </a:gs>
                    <a:gs pos="38000">
                      <a:srgbClr val="FFFFFF"/>
                    </a:gs>
                  </a:gsLst>
                  <a:path path="circle">
                    <a:fillToRect l="100000" b="100000"/>
                  </a:path>
                </a:gradFill>
                <a:effectLst/>
                <a:uLnTx/>
                <a:uFillTx/>
                <a:latin typeface="Segoe UI Semibold"/>
                <a:ea typeface="+mn-ea"/>
                <a:cs typeface="Segoe UI" pitchFamily="34" charset="0"/>
              </a:rPr>
              <a:t>External system</a:t>
            </a:r>
          </a:p>
        </p:txBody>
      </p:sp>
      <p:sp>
        <p:nvSpPr>
          <p:cNvPr id="64" name="Rectangle: Rounded Corners 54">
            <a:extLst>
              <a:ext uri="{FF2B5EF4-FFF2-40B4-BE49-F238E27FC236}">
                <a16:creationId xmlns:a16="http://schemas.microsoft.com/office/drawing/2014/main" id="{134C723F-8E0B-A6D0-C1BC-988772D0CEAC}"/>
              </a:ext>
            </a:extLst>
          </p:cNvPr>
          <p:cNvSpPr/>
          <p:nvPr/>
        </p:nvSpPr>
        <p:spPr bwMode="auto">
          <a:xfrm>
            <a:off x="600055" y="5492523"/>
            <a:ext cx="11101028" cy="980408"/>
          </a:xfrm>
          <a:prstGeom prst="roundRect">
            <a:avLst>
              <a:gd name="adj" fmla="val 4815"/>
            </a:avLst>
          </a:prstGeom>
          <a:solidFill>
            <a:schemeClr val="bg1"/>
          </a:solidFill>
          <a:ln w="3175">
            <a:solidFill>
              <a:schemeClr val="accent3">
                <a:lumMod val="75000"/>
              </a:schemeClr>
            </a:solidFill>
            <a:headEnd type="none" w="med" len="med"/>
            <a:tailEnd type="none" w="med" len="med"/>
          </a:ln>
          <a:effectLst>
            <a:outerShdw blurRad="165100" dist="101600" dir="8100000" algn="tr" rotWithShape="0">
              <a:schemeClr val="accent1">
                <a:alpha val="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3716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90000"/>
              </a:lnSpc>
              <a:spcBef>
                <a:spcPct val="20000"/>
              </a:spcBef>
              <a:spcAft>
                <a:spcPts val="600"/>
              </a:spcAft>
              <a:buClrTx/>
              <a:buSzPct val="90000"/>
              <a:buFontTx/>
              <a:buNone/>
              <a:tabLst/>
              <a:defRPr/>
            </a:pPr>
            <a:r>
              <a:rPr kumimoji="0" lang="en-US" sz="1800" b="0" i="0" u="none" strike="noStrike" kern="0" cap="none" spc="-50" normalizeH="0" baseline="0" noProof="0">
                <a:ln w="3175">
                  <a:noFill/>
                </a:ln>
                <a:solidFill>
                  <a:srgbClr val="080808"/>
                </a:solidFill>
                <a:effectLst/>
                <a:uLnTx/>
                <a:uFillTx/>
                <a:latin typeface="Segoe UI" panose="020B0502040204020203" pitchFamily="34" charset="0"/>
                <a:ea typeface="+mn-ea"/>
                <a:cs typeface="Segoe UI" panose="020B0502040204020203" pitchFamily="34" charset="0"/>
              </a:rPr>
              <a:t>When reasoning over a Copilot connector, </a:t>
            </a:r>
            <a:r>
              <a:rPr lang="en-US" kern="0" spc="-50">
                <a:ln w="3175">
                  <a:noFill/>
                </a:ln>
                <a:gradFill flip="none" rotWithShape="1">
                  <a:gsLst>
                    <a:gs pos="0">
                      <a:srgbClr val="3E76D4"/>
                    </a:gs>
                    <a:gs pos="50000">
                      <a:srgbClr val="8661C5"/>
                    </a:gs>
                    <a:gs pos="100000">
                      <a:srgbClr val="C73ECC"/>
                    </a:gs>
                  </a:gsLst>
                  <a:lin ang="2700000" scaled="1"/>
                  <a:tileRect/>
                </a:gradFill>
                <a:latin typeface="Segoe UI Semibold" panose="020B0702040204020203" pitchFamily="34" charset="0"/>
                <a:cs typeface="Segoe UI Semibold" panose="020B0702040204020203" pitchFamily="34" charset="0"/>
              </a:rPr>
              <a:t>Copilot Orchestrator</a:t>
            </a:r>
            <a:r>
              <a:rPr kumimoji="0" lang="en-US" sz="1800" b="0" i="0" u="none" strike="noStrike" kern="0" cap="none" spc="-50" normalizeH="0" baseline="0" noProof="0">
                <a:ln w="3175">
                  <a:noFill/>
                </a:ln>
                <a:solidFill>
                  <a:srgbClr val="080808"/>
                </a:solidFill>
                <a:effectLst/>
                <a:uLnTx/>
                <a:uFillTx/>
                <a:latin typeface="Segoe UI" panose="020B0502040204020203" pitchFamily="34" charset="0"/>
                <a:ea typeface="+mn-ea"/>
                <a:cs typeface="Segoe UI" panose="020B0502040204020203" pitchFamily="34" charset="0"/>
              </a:rPr>
              <a:t> does not need to make calls outside the Microsoft Boundary, as the connector pushes content directly into Microsoft Graph.</a:t>
            </a:r>
            <a:r>
              <a:rPr kumimoji="0" lang="en-GB" sz="1800" b="0" i="0" u="none" strike="noStrike" kern="0" cap="none" spc="-50" normalizeH="0" baseline="0" noProof="0">
                <a:ln w="3175">
                  <a:noFill/>
                </a:ln>
                <a:solidFill>
                  <a:srgbClr val="080808"/>
                </a:solidFill>
                <a:effectLst/>
                <a:uLnTx/>
                <a:uFillTx/>
                <a:latin typeface="Segoe UI" panose="020B0502040204020203" pitchFamily="34" charset="0"/>
                <a:ea typeface="+mn-ea"/>
                <a:cs typeface="Segoe UI" panose="020B0502040204020203" pitchFamily="34" charset="0"/>
              </a:rPr>
              <a:t> </a:t>
            </a:r>
            <a:endParaRPr kumimoji="0" lang="en-AU" sz="1400" b="0" i="0" u="none" strike="noStrike" kern="1200" cap="none" spc="0" normalizeH="0" baseline="0" noProof="0">
              <a:ln>
                <a:noFill/>
              </a:ln>
              <a:solidFill>
                <a:srgbClr val="080808"/>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82173926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735BD-F75B-AAD8-0338-61F409CA8C45}"/>
            </a:ext>
          </a:extLst>
        </p:cNvPr>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0689CF24-B1B4-1CC1-0153-FCDE29C2BDA4}"/>
              </a:ext>
              <a:ext uri="{C183D7F6-B498-43B3-948B-1728B52AA6E4}">
                <adec:decorative xmlns:adec="http://schemas.microsoft.com/office/drawing/2017/decorative" val="1"/>
              </a:ext>
            </a:extLst>
          </p:cNvPr>
          <p:cNvSpPr>
            <a:spLocks/>
          </p:cNvSpPr>
          <p:nvPr/>
        </p:nvSpPr>
        <p:spPr bwMode="auto">
          <a:xfrm>
            <a:off x="223378" y="1046447"/>
            <a:ext cx="11706594" cy="5354353"/>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18" name="Rectangle: Rounded Corners 17">
            <a:extLst>
              <a:ext uri="{FF2B5EF4-FFF2-40B4-BE49-F238E27FC236}">
                <a16:creationId xmlns:a16="http://schemas.microsoft.com/office/drawing/2014/main" id="{889E351E-6580-12FE-1C2A-0680459460C5}"/>
              </a:ext>
            </a:extLst>
          </p:cNvPr>
          <p:cNvSpPr/>
          <p:nvPr/>
        </p:nvSpPr>
        <p:spPr bwMode="auto">
          <a:xfrm>
            <a:off x="4681135" y="1838208"/>
            <a:ext cx="2791080" cy="4115603"/>
          </a:xfrm>
          <a:prstGeom prst="roundRect">
            <a:avLst>
              <a:gd name="adj" fmla="val 2452"/>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C03BC4"/>
                </a:solidFill>
                <a:latin typeface="Segoe UI Semibold"/>
              </a:rPr>
              <a:t>Copilot</a:t>
            </a:r>
            <a:r>
              <a:rPr lang="en-GB" sz="2400" spc="-5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latin typeface="+mj-lt"/>
                <a:cs typeface="Segoe UI" pitchFamily="34" charset="0"/>
              </a:rPr>
              <a:t> </a:t>
            </a:r>
            <a:r>
              <a:rPr lang="en-GB" sz="2400">
                <a:solidFill>
                  <a:srgbClr val="C03BC4"/>
                </a:solidFill>
                <a:latin typeface="Segoe UI Semibold"/>
              </a:rPr>
              <a:t>Studio</a:t>
            </a:r>
          </a:p>
          <a:p>
            <a:pPr algn="ctr" defTabSz="698548"/>
            <a:endParaRPr lang="en-GB" sz="1600">
              <a:solidFill>
                <a:schemeClr val="tx1"/>
              </a:solidFill>
              <a:cs typeface="Segoe Sans Display Semibold"/>
            </a:endParaRPr>
          </a:p>
          <a:p>
            <a:pPr algn="ctr" defTabSz="698548"/>
            <a:r>
              <a:rPr lang="en-GB" sz="1600">
                <a:solidFill>
                  <a:schemeClr val="tx1"/>
                </a:solidFill>
                <a:cs typeface="Segoe Sans Display Semibold"/>
              </a:rPr>
              <a:t>Build agents with full code flexibility with no limitations</a:t>
            </a:r>
          </a:p>
        </p:txBody>
      </p:sp>
      <p:sp>
        <p:nvSpPr>
          <p:cNvPr id="2" name="Title 1">
            <a:extLst>
              <a:ext uri="{FF2B5EF4-FFF2-40B4-BE49-F238E27FC236}">
                <a16:creationId xmlns:a16="http://schemas.microsoft.com/office/drawing/2014/main" id="{350DFD04-A9C4-1929-F1A5-EB12F0F3D607}"/>
              </a:ext>
            </a:extLst>
          </p:cNvPr>
          <p:cNvSpPr>
            <a:spLocks noGrp="1"/>
          </p:cNvSpPr>
          <p:nvPr>
            <p:ph type="title"/>
          </p:nvPr>
        </p:nvSpPr>
        <p:spPr>
          <a:xfrm>
            <a:off x="586740" y="457200"/>
            <a:ext cx="11018520" cy="430887"/>
          </a:xfrm>
        </p:spPr>
        <p:txBody>
          <a:bodyPr/>
          <a:lstStyle/>
          <a:p>
            <a:pPr algn="ctr"/>
            <a:r>
              <a:rPr lang="en-US" sz="2800">
                <a:solidFill>
                  <a:schemeClr val="tx1"/>
                </a:solidFill>
              </a:rPr>
              <a:t>Tools for building declarative agents</a:t>
            </a:r>
            <a:endParaRPr lang="en-US">
              <a:solidFill>
                <a:schemeClr val="tx1"/>
              </a:solidFill>
            </a:endParaRPr>
          </a:p>
        </p:txBody>
      </p:sp>
      <p:sp>
        <p:nvSpPr>
          <p:cNvPr id="4" name="Rectangle: Rounded Corners 3">
            <a:extLst>
              <a:ext uri="{FF2B5EF4-FFF2-40B4-BE49-F238E27FC236}">
                <a16:creationId xmlns:a16="http://schemas.microsoft.com/office/drawing/2014/main" id="{8F8EDE20-7622-76E0-4129-2A77F385AEA8}"/>
              </a:ext>
            </a:extLst>
          </p:cNvPr>
          <p:cNvSpPr/>
          <p:nvPr/>
        </p:nvSpPr>
        <p:spPr bwMode="auto">
          <a:xfrm>
            <a:off x="1824724" y="1826365"/>
            <a:ext cx="2762097" cy="4115603"/>
          </a:xfrm>
          <a:prstGeom prst="roundRect">
            <a:avLst>
              <a:gd name="adj" fmla="val 2452"/>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F4364C"/>
                </a:solidFill>
                <a:latin typeface="Segoe UI Semibold"/>
              </a:rPr>
              <a:t>Agent</a:t>
            </a:r>
            <a:r>
              <a:rPr lang="en-GB" sz="2200" spc="-5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latin typeface="+mj-lt"/>
                <a:cs typeface="Segoe UI" pitchFamily="34" charset="0"/>
              </a:rPr>
              <a:t> </a:t>
            </a:r>
            <a:r>
              <a:rPr lang="en-GB" sz="2400">
                <a:solidFill>
                  <a:srgbClr val="F4364C"/>
                </a:solidFill>
                <a:latin typeface="Segoe UI Semibold"/>
              </a:rPr>
              <a:t>Builder</a:t>
            </a:r>
          </a:p>
          <a:p>
            <a:pPr algn="ctr" defTabSz="698548"/>
            <a:endParaRPr lang="en-GB" sz="1600" b="1">
              <a:solidFill>
                <a:schemeClr val="tx1"/>
              </a:solidFill>
              <a:latin typeface="Segoe UI Semibold"/>
              <a:cs typeface="Segoe Sans Display Semibold"/>
            </a:endParaRPr>
          </a:p>
          <a:p>
            <a:pPr algn="ctr" defTabSz="698548"/>
            <a:r>
              <a:rPr lang="en-GB" sz="1600" b="0" i="0">
                <a:solidFill>
                  <a:srgbClr val="161616"/>
                </a:solidFill>
                <a:effectLst/>
                <a:latin typeface="Segoe UI" panose="020B0502040204020203" pitchFamily="34" charset="0"/>
              </a:rPr>
              <a:t>A simple </a:t>
            </a:r>
            <a:r>
              <a:rPr lang="en-GB" sz="1600">
                <a:solidFill>
                  <a:srgbClr val="161616"/>
                </a:solidFill>
                <a:latin typeface="Segoe UI" panose="020B0502040204020203" pitchFamily="34" charset="0"/>
              </a:rPr>
              <a:t>UI</a:t>
            </a:r>
            <a:r>
              <a:rPr lang="en-GB" sz="1600" b="0" i="0">
                <a:solidFill>
                  <a:srgbClr val="161616"/>
                </a:solidFill>
                <a:effectLst/>
                <a:latin typeface="Segoe UI" panose="020B0502040204020203" pitchFamily="34" charset="0"/>
              </a:rPr>
              <a:t> to build agents, either by using natural language or manually</a:t>
            </a:r>
            <a:endParaRPr lang="en-GB" sz="1600">
              <a:solidFill>
                <a:schemeClr val="tx1"/>
              </a:solidFill>
              <a:cs typeface="Segoe Sans Display Semibold"/>
            </a:endParaRPr>
          </a:p>
        </p:txBody>
      </p:sp>
      <p:cxnSp>
        <p:nvCxnSpPr>
          <p:cNvPr id="10" name="Straight Connector 9">
            <a:extLst>
              <a:ext uri="{FF2B5EF4-FFF2-40B4-BE49-F238E27FC236}">
                <a16:creationId xmlns:a16="http://schemas.microsoft.com/office/drawing/2014/main" id="{352C1047-6584-496B-B01A-55AD8685D8F0}"/>
              </a:ext>
            </a:extLst>
          </p:cNvPr>
          <p:cNvCxnSpPr/>
          <p:nvPr/>
        </p:nvCxnSpPr>
        <p:spPr>
          <a:xfrm>
            <a:off x="2019137" y="3669694"/>
            <a:ext cx="242700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58C7D02C-B5E2-E89F-F5EC-7B5C763B8F12}"/>
              </a:ext>
            </a:extLst>
          </p:cNvPr>
          <p:cNvCxnSpPr>
            <a:cxnSpLocks/>
          </p:cNvCxnSpPr>
          <p:nvPr/>
        </p:nvCxnSpPr>
        <p:spPr>
          <a:xfrm>
            <a:off x="4791393" y="3654822"/>
            <a:ext cx="2600394"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22" name="Picture 21">
            <a:extLst>
              <a:ext uri="{FF2B5EF4-FFF2-40B4-BE49-F238E27FC236}">
                <a16:creationId xmlns:a16="http://schemas.microsoft.com/office/drawing/2014/main" id="{88C44B64-0B9F-CC7F-6920-7B1A208B0E5A}"/>
              </a:ext>
            </a:extLst>
          </p:cNvPr>
          <p:cNvPicPr>
            <a:picLocks noChangeAspect="1"/>
          </p:cNvPicPr>
          <p:nvPr/>
        </p:nvPicPr>
        <p:blipFill>
          <a:blip r:embed="rId3"/>
          <a:srcRect l="9152"/>
          <a:stretch/>
        </p:blipFill>
        <p:spPr>
          <a:xfrm>
            <a:off x="2024836" y="3934234"/>
            <a:ext cx="2361872" cy="1822787"/>
          </a:xfrm>
          <a:prstGeom prst="roundRect">
            <a:avLst>
              <a:gd name="adj" fmla="val 8529"/>
            </a:avLst>
          </a:prstGeom>
        </p:spPr>
      </p:pic>
      <p:pic>
        <p:nvPicPr>
          <p:cNvPr id="2050" name="Picture 2" descr="Microsoft Copilot logo">
            <a:extLst>
              <a:ext uri="{FF2B5EF4-FFF2-40B4-BE49-F238E27FC236}">
                <a16:creationId xmlns:a16="http://schemas.microsoft.com/office/drawing/2014/main" id="{3D08F1A4-E5AE-32A1-9AE2-C1C7A6C099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8110" y="5344738"/>
            <a:ext cx="414123" cy="41412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57B24D49-FA1E-9EC2-C258-C8AB40F9F467}"/>
              </a:ext>
            </a:extLst>
          </p:cNvPr>
          <p:cNvPicPr>
            <a:picLocks noChangeAspect="1"/>
          </p:cNvPicPr>
          <p:nvPr/>
        </p:nvPicPr>
        <p:blipFill>
          <a:blip r:embed="rId5"/>
          <a:srcRect t="1011"/>
          <a:stretch/>
        </p:blipFill>
        <p:spPr>
          <a:xfrm>
            <a:off x="4872495" y="3934233"/>
            <a:ext cx="2468152" cy="1800237"/>
          </a:xfrm>
          <a:prstGeom prst="roundRect">
            <a:avLst>
              <a:gd name="adj" fmla="val 5438"/>
            </a:avLst>
          </a:prstGeom>
        </p:spPr>
      </p:pic>
      <p:pic>
        <p:nvPicPr>
          <p:cNvPr id="5" name="Picture 4" descr="A blue and green logo&#10;&#10;Description automatically generated">
            <a:extLst>
              <a:ext uri="{FF2B5EF4-FFF2-40B4-BE49-F238E27FC236}">
                <a16:creationId xmlns:a16="http://schemas.microsoft.com/office/drawing/2014/main" id="{0B75A247-44B3-7A88-96EA-B5F284ECD8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70787" y="5358281"/>
            <a:ext cx="471071" cy="403770"/>
          </a:xfrm>
          <a:prstGeom prst="rect">
            <a:avLst/>
          </a:prstGeom>
        </p:spPr>
      </p:pic>
      <p:sp>
        <p:nvSpPr>
          <p:cNvPr id="8" name="Rectangle: Rounded Corners 7">
            <a:extLst>
              <a:ext uri="{FF2B5EF4-FFF2-40B4-BE49-F238E27FC236}">
                <a16:creationId xmlns:a16="http://schemas.microsoft.com/office/drawing/2014/main" id="{CA7E1FFC-7905-965F-2DEA-593887ABE379}"/>
              </a:ext>
            </a:extLst>
          </p:cNvPr>
          <p:cNvSpPr/>
          <p:nvPr/>
        </p:nvSpPr>
        <p:spPr bwMode="auto">
          <a:xfrm>
            <a:off x="7603783" y="1826365"/>
            <a:ext cx="2791080" cy="4115603"/>
          </a:xfrm>
          <a:prstGeom prst="roundRect">
            <a:avLst>
              <a:gd name="adj" fmla="val 2452"/>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000">
                <a:solidFill>
                  <a:srgbClr val="0078D4"/>
                </a:solidFill>
                <a:latin typeface="Segoe UI Semibold"/>
              </a:rPr>
              <a:t>Visual</a:t>
            </a:r>
            <a:r>
              <a:rPr lang="en-GB" sz="2000" spc="-5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latin typeface="+mj-lt"/>
                <a:cs typeface="Segoe UI" pitchFamily="34" charset="0"/>
              </a:rPr>
              <a:t> </a:t>
            </a:r>
            <a:r>
              <a:rPr lang="en-GB" sz="2000">
                <a:solidFill>
                  <a:srgbClr val="0078D4"/>
                </a:solidFill>
                <a:latin typeface="Segoe UI Semibold"/>
              </a:rPr>
              <a:t>Studio Code and Teams Toolkit</a:t>
            </a:r>
          </a:p>
          <a:p>
            <a:pPr algn="ctr" defTabSz="698548"/>
            <a:endParaRPr lang="en-GB" sz="1600">
              <a:solidFill>
                <a:schemeClr val="tx1"/>
              </a:solidFill>
              <a:cs typeface="Segoe Sans Display Semibold"/>
            </a:endParaRPr>
          </a:p>
          <a:p>
            <a:pPr algn="ctr" defTabSz="698548"/>
            <a:r>
              <a:rPr lang="en-GB" sz="1600">
                <a:solidFill>
                  <a:schemeClr val="tx1"/>
                </a:solidFill>
                <a:cs typeface="Segoe Sans Display Semibold"/>
              </a:rPr>
              <a:t>Build agents with full code flexibility with no limitations</a:t>
            </a:r>
          </a:p>
        </p:txBody>
      </p:sp>
      <p:cxnSp>
        <p:nvCxnSpPr>
          <p:cNvPr id="9" name="Straight Connector 8">
            <a:extLst>
              <a:ext uri="{FF2B5EF4-FFF2-40B4-BE49-F238E27FC236}">
                <a16:creationId xmlns:a16="http://schemas.microsoft.com/office/drawing/2014/main" id="{B7101F3C-632A-45C8-4D71-D6B1DC79483F}"/>
              </a:ext>
            </a:extLst>
          </p:cNvPr>
          <p:cNvCxnSpPr>
            <a:cxnSpLocks/>
          </p:cNvCxnSpPr>
          <p:nvPr/>
        </p:nvCxnSpPr>
        <p:spPr>
          <a:xfrm>
            <a:off x="7778655" y="3654822"/>
            <a:ext cx="2546755" cy="14872"/>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13" name="Picture 12">
            <a:extLst>
              <a:ext uri="{FF2B5EF4-FFF2-40B4-BE49-F238E27FC236}">
                <a16:creationId xmlns:a16="http://schemas.microsoft.com/office/drawing/2014/main" id="{23E24770-A356-4D41-7F5B-A52283594DA8}"/>
              </a:ext>
            </a:extLst>
          </p:cNvPr>
          <p:cNvPicPr>
            <a:picLocks noChangeAspect="1"/>
          </p:cNvPicPr>
          <p:nvPr/>
        </p:nvPicPr>
        <p:blipFill>
          <a:blip r:embed="rId7">
            <a:extLst>
              <a:ext uri="{28A0092B-C50C-407E-A947-70E740481C1C}">
                <a14:useLocalDpi xmlns:a14="http://schemas.microsoft.com/office/drawing/2010/main" val="0"/>
              </a:ext>
            </a:extLst>
          </a:blip>
          <a:srcRect l="103" t="50" r="16784" b="-1746"/>
          <a:stretch/>
        </p:blipFill>
        <p:spPr>
          <a:xfrm>
            <a:off x="7781747" y="3934233"/>
            <a:ext cx="2465648" cy="1784420"/>
          </a:xfrm>
          <a:prstGeom prst="roundRect">
            <a:avLst>
              <a:gd name="adj" fmla="val 5438"/>
            </a:avLst>
          </a:prstGeom>
        </p:spPr>
      </p:pic>
      <p:pic>
        <p:nvPicPr>
          <p:cNvPr id="14" name="Picture 13">
            <a:extLst>
              <a:ext uri="{FF2B5EF4-FFF2-40B4-BE49-F238E27FC236}">
                <a16:creationId xmlns:a16="http://schemas.microsoft.com/office/drawing/2014/main" id="{7DDFA8AC-02D7-4D05-D211-1DB8FB1FF14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764587" y="5301706"/>
            <a:ext cx="401988" cy="401988"/>
          </a:xfrm>
          <a:prstGeom prst="rect">
            <a:avLst/>
          </a:prstGeom>
        </p:spPr>
      </p:pic>
      <p:sp>
        <p:nvSpPr>
          <p:cNvPr id="27" name="TextBox 26">
            <a:extLst>
              <a:ext uri="{FF2B5EF4-FFF2-40B4-BE49-F238E27FC236}">
                <a16:creationId xmlns:a16="http://schemas.microsoft.com/office/drawing/2014/main" id="{D971CB65-2AB2-78B9-F7D2-028D2A9283D3}"/>
              </a:ext>
            </a:extLst>
          </p:cNvPr>
          <p:cNvSpPr txBox="1"/>
          <p:nvPr/>
        </p:nvSpPr>
        <p:spPr>
          <a:xfrm>
            <a:off x="2447297" y="5986222"/>
            <a:ext cx="1570686" cy="276999"/>
          </a:xfrm>
          <a:prstGeom prst="rect">
            <a:avLst/>
          </a:prstGeom>
          <a:noFill/>
        </p:spPr>
        <p:txBody>
          <a:bodyPr wrap="none" lIns="0" tIns="0" rIns="0" bIns="0" rtlCol="0">
            <a:spAutoFit/>
          </a:bodyPr>
          <a:lstStyle/>
          <a:p>
            <a:pPr algn="l"/>
            <a:r>
              <a:rPr lang="en-GB" b="1"/>
              <a:t>Business Users</a:t>
            </a:r>
            <a:endParaRPr lang="en-US" b="1"/>
          </a:p>
        </p:txBody>
      </p:sp>
      <p:sp>
        <p:nvSpPr>
          <p:cNvPr id="28" name="TextBox 27">
            <a:extLst>
              <a:ext uri="{FF2B5EF4-FFF2-40B4-BE49-F238E27FC236}">
                <a16:creationId xmlns:a16="http://schemas.microsoft.com/office/drawing/2014/main" id="{87C93492-79F8-592F-508F-C6CD8FF83857}"/>
              </a:ext>
            </a:extLst>
          </p:cNvPr>
          <p:cNvSpPr txBox="1"/>
          <p:nvPr/>
        </p:nvSpPr>
        <p:spPr>
          <a:xfrm>
            <a:off x="8272724" y="6010240"/>
            <a:ext cx="1210973" cy="276999"/>
          </a:xfrm>
          <a:prstGeom prst="rect">
            <a:avLst/>
          </a:prstGeom>
          <a:noFill/>
        </p:spPr>
        <p:txBody>
          <a:bodyPr wrap="none" lIns="0" tIns="0" rIns="0" bIns="0" rtlCol="0">
            <a:spAutoFit/>
          </a:bodyPr>
          <a:lstStyle/>
          <a:p>
            <a:pPr algn="l"/>
            <a:r>
              <a:rPr lang="en-GB" b="1"/>
              <a:t>Developers</a:t>
            </a:r>
            <a:endParaRPr lang="en-US" b="1"/>
          </a:p>
        </p:txBody>
      </p:sp>
      <p:sp>
        <p:nvSpPr>
          <p:cNvPr id="29" name="TextBox 28">
            <a:extLst>
              <a:ext uri="{FF2B5EF4-FFF2-40B4-BE49-F238E27FC236}">
                <a16:creationId xmlns:a16="http://schemas.microsoft.com/office/drawing/2014/main" id="{2CF0C91F-1743-40AA-5D5B-647D5F9373C0}"/>
              </a:ext>
            </a:extLst>
          </p:cNvPr>
          <p:cNvSpPr txBox="1"/>
          <p:nvPr/>
        </p:nvSpPr>
        <p:spPr>
          <a:xfrm>
            <a:off x="353504" y="1272822"/>
            <a:ext cx="11576467" cy="307777"/>
          </a:xfrm>
          <a:prstGeom prst="rect">
            <a:avLst/>
          </a:prstGeom>
          <a:noFill/>
        </p:spPr>
        <p:txBody>
          <a:bodyPr wrap="square" lIns="0" tIns="0" rIns="0" bIns="0" rtlCol="0">
            <a:spAutoFit/>
          </a:bodyPr>
          <a:lstStyle/>
          <a:p>
            <a:pPr algn="ctr"/>
            <a:r>
              <a:rPr lang="en-GB" sz="2000"/>
              <a:t>Various agent authoring experiences are available to cater to different audiences</a:t>
            </a:r>
            <a:endParaRPr lang="en-US" sz="2000"/>
          </a:p>
        </p:txBody>
      </p:sp>
      <p:sp>
        <p:nvSpPr>
          <p:cNvPr id="30" name="TextBox 29">
            <a:extLst>
              <a:ext uri="{FF2B5EF4-FFF2-40B4-BE49-F238E27FC236}">
                <a16:creationId xmlns:a16="http://schemas.microsoft.com/office/drawing/2014/main" id="{A0B078EB-C667-29C5-3E91-DEC6B9417B3E}"/>
              </a:ext>
            </a:extLst>
          </p:cNvPr>
          <p:cNvSpPr txBox="1"/>
          <p:nvPr/>
        </p:nvSpPr>
        <p:spPr>
          <a:xfrm>
            <a:off x="5704350" y="6021646"/>
            <a:ext cx="789960" cy="276999"/>
          </a:xfrm>
          <a:prstGeom prst="rect">
            <a:avLst/>
          </a:prstGeom>
          <a:noFill/>
        </p:spPr>
        <p:txBody>
          <a:bodyPr wrap="none" lIns="0" tIns="0" rIns="0" bIns="0" rtlCol="0">
            <a:spAutoFit/>
          </a:bodyPr>
          <a:lstStyle/>
          <a:p>
            <a:pPr algn="l"/>
            <a:r>
              <a:rPr lang="en-GB" b="1"/>
              <a:t>Makers</a:t>
            </a:r>
            <a:endParaRPr lang="en-US" b="1"/>
          </a:p>
        </p:txBody>
      </p:sp>
    </p:spTree>
    <p:extLst>
      <p:ext uri="{BB962C8B-B14F-4D97-AF65-F5344CB8AC3E}">
        <p14:creationId xmlns:p14="http://schemas.microsoft.com/office/powerpoint/2010/main" val="251730831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E1046F-83BE-CE87-C9E6-1913860FF7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D16F4C-75F3-20EA-10A2-79A7856BF9D4}"/>
              </a:ext>
            </a:extLst>
          </p:cNvPr>
          <p:cNvSpPr>
            <a:spLocks noGrp="1"/>
          </p:cNvSpPr>
          <p:nvPr>
            <p:ph type="title"/>
          </p:nvPr>
        </p:nvSpPr>
        <p:spPr>
          <a:xfrm>
            <a:off x="666253" y="2721727"/>
            <a:ext cx="3011225" cy="461665"/>
          </a:xfrm>
        </p:spPr>
        <p:txBody>
          <a:bodyPr/>
          <a:lstStyle/>
          <a:p>
            <a:r>
              <a:rPr lang="en-IN"/>
              <a:t>When &amp; Why to Use Declarative Agents</a:t>
            </a:r>
          </a:p>
        </p:txBody>
      </p:sp>
      <p:sp>
        <p:nvSpPr>
          <p:cNvPr id="7" name="TextBox 6">
            <a:extLst>
              <a:ext uri="{FF2B5EF4-FFF2-40B4-BE49-F238E27FC236}">
                <a16:creationId xmlns:a16="http://schemas.microsoft.com/office/drawing/2014/main" id="{19CC0AFA-BC96-A450-F20A-4293575B2AFE}"/>
              </a:ext>
            </a:extLst>
          </p:cNvPr>
          <p:cNvSpPr txBox="1"/>
          <p:nvPr/>
        </p:nvSpPr>
        <p:spPr>
          <a:xfrm>
            <a:off x="6474115" y="919111"/>
            <a:ext cx="4884447" cy="615553"/>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Scenario that requires </a:t>
            </a:r>
            <a:br>
              <a:rPr kumimoji="0" lang="ru-RU" sz="2000" b="0" i="0" u="none" strike="noStrike" kern="1200" cap="none" spc="0" normalizeH="0" baseline="0" noProof="0">
                <a:ln>
                  <a:noFill/>
                </a:ln>
                <a:solidFill>
                  <a:srgbClr val="FFFFFF"/>
                </a:solidFill>
                <a:effectLst/>
                <a:uLnTx/>
                <a:uFillTx/>
                <a:latin typeface="Segoe UI Semibold"/>
                <a:ea typeface="+mn-ea"/>
                <a:cs typeface="+mn-cs"/>
              </a:rPr>
            </a:b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Focus</a:t>
            </a:r>
            <a:r>
              <a:rPr kumimoji="0" lang="en-US" sz="2000" b="0" i="0" u="none" strike="noStrike" kern="1200" cap="none" spc="0" normalizeH="0" baseline="0" noProof="0">
                <a:ln>
                  <a:noFill/>
                </a:ln>
                <a:solidFill>
                  <a:srgbClr val="FFFFFF"/>
                </a:soli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or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Specialization</a:t>
            </a:r>
          </a:p>
        </p:txBody>
      </p:sp>
      <p:sp>
        <p:nvSpPr>
          <p:cNvPr id="8" name="TextBox 7">
            <a:extLst>
              <a:ext uri="{FF2B5EF4-FFF2-40B4-BE49-F238E27FC236}">
                <a16:creationId xmlns:a16="http://schemas.microsoft.com/office/drawing/2014/main" id="{A7BACA3C-2C20-D122-F41F-8BECCDB280B8}"/>
              </a:ext>
            </a:extLst>
          </p:cNvPr>
          <p:cNvSpPr txBox="1"/>
          <p:nvPr/>
        </p:nvSpPr>
        <p:spPr>
          <a:xfrm>
            <a:off x="6474115" y="2001389"/>
            <a:ext cx="4884447" cy="615553"/>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Layer</a:t>
            </a:r>
            <a:r>
              <a:rPr kumimoji="0" lang="en-US" sz="2000" b="0" i="0" u="none" strike="noStrike" kern="1200" cap="none" spc="0" normalizeH="0" baseline="0" noProof="0">
                <a:ln>
                  <a:noFill/>
                </a:ln>
                <a:solidFill>
                  <a:srgbClr val="FFFFFF"/>
                </a:soli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on top of the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full</a:t>
            </a:r>
            <a: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t>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capability</a:t>
            </a:r>
            <a: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t> </a:t>
            </a:r>
            <a:br>
              <a:rPr kumimoji="0" lang="ru-RU"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br>
            <a:r>
              <a:rPr kumimoji="0" lang="en-US" sz="2000" b="0" i="0" u="none" strike="noStrike" kern="1200" cap="none" spc="0" normalizeH="0" baseline="0" noProof="0">
                <a:ln>
                  <a:noFill/>
                </a:ln>
                <a:solidFill>
                  <a:srgbClr val="000000"/>
                </a:solidFill>
                <a:effectLst/>
                <a:uLnTx/>
                <a:uFillTx/>
                <a:latin typeface="Segoe UI Semibold"/>
                <a:ea typeface="+mn-ea"/>
                <a:cs typeface="+mn-cs"/>
              </a:rPr>
              <a:t>of Microsoft 365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Copilot</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9965B66E-E143-3AE0-815E-B97452D3285A}"/>
              </a:ext>
            </a:extLst>
          </p:cNvPr>
          <p:cNvSpPr txBox="1"/>
          <p:nvPr/>
        </p:nvSpPr>
        <p:spPr>
          <a:xfrm>
            <a:off x="6474115" y="3083667"/>
            <a:ext cx="4884447" cy="615553"/>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Boost</a:t>
            </a:r>
            <a: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personal productivity or</a:t>
            </a:r>
            <a:r>
              <a:rPr kumimoji="0" lang="en-US" sz="2000" b="0" i="0" u="none" strike="noStrike" kern="1200" cap="none" spc="0" normalizeH="0" noProof="0">
                <a:ln>
                  <a:noFill/>
                </a:ln>
                <a:solidFill>
                  <a:srgbClr val="000000"/>
                </a:solidFill>
                <a:effectLst/>
                <a:uLnTx/>
                <a:uFillTx/>
                <a:latin typeface="Segoe UI Semibold"/>
                <a:ea typeface="+mn-ea"/>
                <a:cs typeface="+mn-cs"/>
              </a:rPr>
              <a:t> target specific teams / roles / areas</a:t>
            </a: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0" name="TextBox 9">
            <a:extLst>
              <a:ext uri="{FF2B5EF4-FFF2-40B4-BE49-F238E27FC236}">
                <a16:creationId xmlns:a16="http://schemas.microsoft.com/office/drawing/2014/main" id="{FEAE1DE4-1ADE-61D5-505B-CA8F2A08E0E3}"/>
              </a:ext>
            </a:extLst>
          </p:cNvPr>
          <p:cNvSpPr txBox="1"/>
          <p:nvPr/>
        </p:nvSpPr>
        <p:spPr>
          <a:xfrm>
            <a:off x="6474115" y="4297933"/>
            <a:ext cx="4884447" cy="307777"/>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Scope</a:t>
            </a:r>
            <a:r>
              <a:rPr kumimoji="0" lang="en-US" sz="2000" b="0" i="0" u="none" strike="noStrike" kern="1200" cap="none" spc="0" normalizeH="0" baseline="0" noProof="0">
                <a:ln>
                  <a:noFill/>
                </a:ln>
                <a:solidFill>
                  <a:srgbClr val="FFFFFF"/>
                </a:soli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to specific data sources</a:t>
            </a:r>
          </a:p>
        </p:txBody>
      </p:sp>
      <p:sp>
        <p:nvSpPr>
          <p:cNvPr id="12" name="TextBox 11">
            <a:extLst>
              <a:ext uri="{FF2B5EF4-FFF2-40B4-BE49-F238E27FC236}">
                <a16:creationId xmlns:a16="http://schemas.microsoft.com/office/drawing/2014/main" id="{97C606F2-E5B2-BC58-DA9F-D894BB5FDCE0}"/>
              </a:ext>
            </a:extLst>
          </p:cNvPr>
          <p:cNvSpPr txBox="1"/>
          <p:nvPr/>
        </p:nvSpPr>
        <p:spPr>
          <a:xfrm>
            <a:off x="6474115" y="5081512"/>
            <a:ext cx="4884447" cy="948978"/>
          </a:xfrm>
          <a:prstGeom prst="rect">
            <a:avLst/>
          </a:prstGeom>
          <a:noFill/>
          <a:ln w="19050" cap="rnd">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lgn="ctr" defTabSz="932449">
              <a:spcBef>
                <a:spcPts val="200"/>
              </a:spcBef>
              <a:defRPr sz="2400">
                <a:gradFill>
                  <a:gsLst>
                    <a:gs pos="20280">
                      <a:srgbClr val="000000"/>
                    </a:gs>
                    <a:gs pos="41958">
                      <a:srgbClr val="000000"/>
                    </a:gs>
                  </a:gsLst>
                  <a:lin ang="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49" rtl="0" eaLnBrk="1" fontAlgn="auto" latinLnBrk="0" hangingPunct="1">
              <a:lnSpc>
                <a:spcPct val="100000"/>
              </a:lnSpc>
              <a:spcBef>
                <a:spcPts val="20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Add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domain</a:t>
            </a:r>
            <a: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t>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knowledge</a:t>
            </a:r>
            <a: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as instructions </a:t>
            </a:r>
            <a:br>
              <a:rPr kumimoji="0" lang="ru-RU" sz="2000" b="0" i="0" u="none" strike="noStrike" kern="1200" cap="none" spc="0" normalizeH="0" baseline="0" noProof="0">
                <a:ln>
                  <a:noFill/>
                </a:ln>
                <a:solidFill>
                  <a:srgbClr val="000000"/>
                </a:solidFill>
                <a:effectLst/>
                <a:uLnTx/>
                <a:uFillTx/>
                <a:latin typeface="Segoe UI Semibold"/>
                <a:ea typeface="+mn-ea"/>
                <a:cs typeface="+mn-cs"/>
              </a:rPr>
            </a:br>
            <a:r>
              <a:rPr kumimoji="0" lang="en-US" sz="2000" b="0" i="0" u="none" strike="noStrike" kern="1200" cap="none" spc="0" normalizeH="0" baseline="0" noProof="0">
                <a:ln>
                  <a:noFill/>
                </a:ln>
                <a:solidFill>
                  <a:srgbClr val="000000"/>
                </a:solidFill>
                <a:effectLst/>
                <a:uLnTx/>
                <a:uFillTx/>
                <a:latin typeface="Segoe UI Semibold"/>
                <a:ea typeface="+mn-ea"/>
                <a:cs typeface="+mn-cs"/>
              </a:rPr>
              <a:t>to enable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itchFamily="34" charset="0"/>
              </a:rPr>
              <a:t>nuanced</a:t>
            </a:r>
            <a:r>
              <a:rPr kumimoji="0" lang="en-US" sz="2000" b="0" i="0" u="none" strike="noStrike" kern="1200" cap="none" spc="0" normalizeH="0" baseline="0" noProof="0">
                <a:ln>
                  <a:noFill/>
                </a:ln>
                <a:solidFill>
                  <a:srgbClr val="FFFFFF"/>
                </a:solidFill>
                <a:effectLst/>
                <a:uLnTx/>
                <a:uFillTx/>
                <a:latin typeface="Segoe UI Semibold"/>
                <a:ea typeface="+mn-ea"/>
                <a:cs typeface="+mn-cs"/>
              </a:rPr>
              <a:t> </a:t>
            </a:r>
            <a:r>
              <a:rPr kumimoji="0" lang="en-US" sz="2000" b="0" i="0" u="none" strike="noStrike" kern="1200" cap="none" spc="0" normalizeH="0" baseline="0" noProof="0">
                <a:ln>
                  <a:noFill/>
                </a:ln>
                <a:solidFill>
                  <a:srgbClr val="000000"/>
                </a:solidFill>
                <a:effectLst/>
                <a:uLnTx/>
                <a:uFillTx/>
                <a:latin typeface="Segoe UI Semibold"/>
                <a:ea typeface="+mn-ea"/>
                <a:cs typeface="+mn-cs"/>
              </a:rPr>
              <a:t>interpretation of data </a:t>
            </a:r>
            <a:r>
              <a:rPr kumimoji="0" lang="en-US" sz="2000" b="0" i="0" u="none" strike="noStrike" kern="1200" cap="none" spc="0" normalizeH="0" baseline="0" noProof="0">
                <a:ln>
                  <a:noFill/>
                </a:ln>
                <a:solidFill>
                  <a:srgbClr val="FFFFFF"/>
                </a:solidFill>
                <a:effectLst/>
                <a:uLnTx/>
                <a:uFillTx/>
                <a:latin typeface="Segoe UI Semibold"/>
                <a:ea typeface="+mn-ea"/>
                <a:cs typeface="+mn-cs"/>
              </a:rPr>
              <a:t>received from sources like plugins</a:t>
            </a:r>
          </a:p>
        </p:txBody>
      </p:sp>
      <p:sp>
        <p:nvSpPr>
          <p:cNvPr id="18" name="Oval 17">
            <a:extLst>
              <a:ext uri="{FF2B5EF4-FFF2-40B4-BE49-F238E27FC236}">
                <a16:creationId xmlns:a16="http://schemas.microsoft.com/office/drawing/2014/main" id="{D4E3AE9B-442B-D787-D3B0-D0ED476AF892}"/>
              </a:ext>
              <a:ext uri="{C183D7F6-B498-43B3-948B-1728B52AA6E4}">
                <adec:decorative xmlns:adec="http://schemas.microsoft.com/office/drawing/2017/decorative" val="1"/>
              </a:ext>
            </a:extLst>
          </p:cNvPr>
          <p:cNvSpPr/>
          <p:nvPr/>
        </p:nvSpPr>
        <p:spPr bwMode="auto">
          <a:xfrm>
            <a:off x="5483101" y="917827"/>
            <a:ext cx="618123" cy="61812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9" name="Oval 18">
            <a:extLst>
              <a:ext uri="{FF2B5EF4-FFF2-40B4-BE49-F238E27FC236}">
                <a16:creationId xmlns:a16="http://schemas.microsoft.com/office/drawing/2014/main" id="{D36D67FA-4576-8F22-BA58-7F78F55C107E}"/>
              </a:ext>
              <a:ext uri="{C183D7F6-B498-43B3-948B-1728B52AA6E4}">
                <adec:decorative xmlns:adec="http://schemas.microsoft.com/office/drawing/2017/decorative" val="1"/>
              </a:ext>
            </a:extLst>
          </p:cNvPr>
          <p:cNvSpPr/>
          <p:nvPr/>
        </p:nvSpPr>
        <p:spPr bwMode="auto">
          <a:xfrm>
            <a:off x="5483101" y="2000105"/>
            <a:ext cx="618123" cy="61812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0" name="Oval 19">
            <a:extLst>
              <a:ext uri="{FF2B5EF4-FFF2-40B4-BE49-F238E27FC236}">
                <a16:creationId xmlns:a16="http://schemas.microsoft.com/office/drawing/2014/main" id="{D5C26363-7AD7-5E72-7986-C63DB3CFEC79}"/>
              </a:ext>
              <a:ext uri="{C183D7F6-B498-43B3-948B-1728B52AA6E4}">
                <adec:decorative xmlns:adec="http://schemas.microsoft.com/office/drawing/2017/decorative" val="1"/>
              </a:ext>
            </a:extLst>
          </p:cNvPr>
          <p:cNvSpPr/>
          <p:nvPr/>
        </p:nvSpPr>
        <p:spPr bwMode="auto">
          <a:xfrm>
            <a:off x="5483101" y="3082383"/>
            <a:ext cx="618123" cy="61812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1" name="Oval 20">
            <a:extLst>
              <a:ext uri="{FF2B5EF4-FFF2-40B4-BE49-F238E27FC236}">
                <a16:creationId xmlns:a16="http://schemas.microsoft.com/office/drawing/2014/main" id="{A6F730A9-4EF9-48AC-F692-63D656413D1D}"/>
              </a:ext>
              <a:ext uri="{C183D7F6-B498-43B3-948B-1728B52AA6E4}">
                <adec:decorative xmlns:adec="http://schemas.microsoft.com/office/drawing/2017/decorative" val="1"/>
              </a:ext>
            </a:extLst>
          </p:cNvPr>
          <p:cNvSpPr/>
          <p:nvPr/>
        </p:nvSpPr>
        <p:spPr bwMode="auto">
          <a:xfrm>
            <a:off x="5483101" y="4164661"/>
            <a:ext cx="618123" cy="61812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22" name="Oval 21">
            <a:extLst>
              <a:ext uri="{FF2B5EF4-FFF2-40B4-BE49-F238E27FC236}">
                <a16:creationId xmlns:a16="http://schemas.microsoft.com/office/drawing/2014/main" id="{CEBBFC76-A5EB-D58B-5D67-E1E72FD15DCC}"/>
              </a:ext>
              <a:ext uri="{C183D7F6-B498-43B3-948B-1728B52AA6E4}">
                <adec:decorative xmlns:adec="http://schemas.microsoft.com/office/drawing/2017/decorative" val="1"/>
              </a:ext>
            </a:extLst>
          </p:cNvPr>
          <p:cNvSpPr/>
          <p:nvPr/>
        </p:nvSpPr>
        <p:spPr bwMode="auto">
          <a:xfrm>
            <a:off x="5483101" y="5246940"/>
            <a:ext cx="618123" cy="618123"/>
          </a:xfrm>
          <a:prstGeom prst="ellipse">
            <a:avLst/>
          </a:prstGeom>
          <a:gradFill flip="none" rotWithShape="1">
            <a:gsLst>
              <a:gs pos="0">
                <a:srgbClr val="C03BC4"/>
              </a:gs>
              <a:gs pos="80000">
                <a:srgbClr val="0078D4"/>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23" name="Graphic 22">
            <a:extLst>
              <a:ext uri="{FF2B5EF4-FFF2-40B4-BE49-F238E27FC236}">
                <a16:creationId xmlns:a16="http://schemas.microsoft.com/office/drawing/2014/main" id="{04A06CE3-4CEB-C5FB-A0CF-3B57C0A4CA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584397" y="5347950"/>
            <a:ext cx="416102" cy="416102"/>
          </a:xfrm>
          <a:prstGeom prst="rect">
            <a:avLst/>
          </a:prstGeom>
        </p:spPr>
      </p:pic>
      <p:pic>
        <p:nvPicPr>
          <p:cNvPr id="24" name="Graphic 23">
            <a:extLst>
              <a:ext uri="{FF2B5EF4-FFF2-40B4-BE49-F238E27FC236}">
                <a16:creationId xmlns:a16="http://schemas.microsoft.com/office/drawing/2014/main" id="{F789743A-1C07-3B67-3CC9-F264D6C465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84397" y="1018836"/>
            <a:ext cx="416102" cy="416102"/>
          </a:xfrm>
          <a:prstGeom prst="rect">
            <a:avLst/>
          </a:prstGeom>
        </p:spPr>
      </p:pic>
      <p:pic>
        <p:nvPicPr>
          <p:cNvPr id="25" name="Graphic 24">
            <a:extLst>
              <a:ext uri="{FF2B5EF4-FFF2-40B4-BE49-F238E27FC236}">
                <a16:creationId xmlns:a16="http://schemas.microsoft.com/office/drawing/2014/main" id="{C88B2D32-8845-18B5-6AFF-258C58E6BE3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84397" y="2101114"/>
            <a:ext cx="416102" cy="416102"/>
          </a:xfrm>
          <a:prstGeom prst="rect">
            <a:avLst/>
          </a:prstGeom>
        </p:spPr>
      </p:pic>
      <p:pic>
        <p:nvPicPr>
          <p:cNvPr id="26" name="Graphic 25">
            <a:extLst>
              <a:ext uri="{FF2B5EF4-FFF2-40B4-BE49-F238E27FC236}">
                <a16:creationId xmlns:a16="http://schemas.microsoft.com/office/drawing/2014/main" id="{E8522734-F973-F63A-18FB-3D421CE27E4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584397" y="3183392"/>
            <a:ext cx="416102" cy="416102"/>
          </a:xfrm>
          <a:prstGeom prst="rect">
            <a:avLst/>
          </a:prstGeom>
        </p:spPr>
      </p:pic>
      <p:pic>
        <p:nvPicPr>
          <p:cNvPr id="27" name="Graphic 26">
            <a:extLst>
              <a:ext uri="{FF2B5EF4-FFF2-40B4-BE49-F238E27FC236}">
                <a16:creationId xmlns:a16="http://schemas.microsoft.com/office/drawing/2014/main" id="{24223E31-918A-A0B5-36FC-EAFD944F13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84397" y="4280910"/>
            <a:ext cx="416102" cy="416102"/>
          </a:xfrm>
          <a:prstGeom prst="rect">
            <a:avLst/>
          </a:prstGeom>
        </p:spPr>
      </p:pic>
    </p:spTree>
    <p:extLst>
      <p:ext uri="{BB962C8B-B14F-4D97-AF65-F5344CB8AC3E}">
        <p14:creationId xmlns:p14="http://schemas.microsoft.com/office/powerpoint/2010/main" val="1113401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200"/>
                                  </p:stCondLst>
                                  <p:childTnLst>
                                    <p:animMotion origin="layout" path="M 0 4.81481E-6 L 0 0.03541 " pathEditMode="relative" rAng="0" ptsTypes="AA">
                                      <p:cBhvr>
                                        <p:cTn id="9" dur="700" spd="-100000" fill="hold"/>
                                        <p:tgtEl>
                                          <p:spTgt spid="7"/>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200"/>
                                  </p:stCondLst>
                                  <p:childTnLst>
                                    <p:animMotion origin="layout" path="M 0 -4.07407E-6 L 0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grpId="1" nodeType="withEffect">
                                  <p:stCondLst>
                                    <p:cond delay="200"/>
                                  </p:stCondLst>
                                  <p:childTnLst>
                                    <p:animMotion origin="layout" path="M 0 -4.44444E-6 L 0 0.03542 " pathEditMode="relative" rAng="0" ptsTypes="AA">
                                      <p:cBhvr>
                                        <p:cTn id="19" dur="700" spd="-100000" fill="hold"/>
                                        <p:tgtEl>
                                          <p:spTgt spid="9"/>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300"/>
                                  </p:stCondLst>
                                  <p:childTnLst>
                                    <p:animMotion origin="layout" path="M 0 -4.81481E-6 L 0 0.03542 " pathEditMode="relative" rAng="0" ptsTypes="AA">
                                      <p:cBhvr>
                                        <p:cTn id="24" dur="700" spd="-100000" fill="hold"/>
                                        <p:tgtEl>
                                          <p:spTgt spid="10"/>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42" presetClass="path" presetSubtype="0" decel="100000" fill="hold" grpId="1" nodeType="withEffect">
                                  <p:stCondLst>
                                    <p:cond delay="300"/>
                                  </p:stCondLst>
                                  <p:childTnLst>
                                    <p:animMotion origin="layout" path="M 0 4.81481E-6 L 0 0.03541 " pathEditMode="relative" rAng="0" ptsTypes="AA">
                                      <p:cBhvr>
                                        <p:cTn id="29" dur="700" spd="-100000" fill="hold"/>
                                        <p:tgtEl>
                                          <p:spTgt spid="12"/>
                                        </p:tgtEl>
                                        <p:attrNameLst>
                                          <p:attrName>ppt_x</p:attrName>
                                          <p:attrName>ppt_y</p:attrName>
                                        </p:attrNameLst>
                                      </p:cBhvr>
                                      <p:rCtr x="0" y="1759"/>
                                    </p:animMotion>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par>
                                <p:cTn id="35" presetID="42" presetClass="path" presetSubtype="0" decel="100000" fill="hold" grpId="1" nodeType="withEffect">
                                  <p:stCondLst>
                                    <p:cond delay="200"/>
                                  </p:stCondLst>
                                  <p:childTnLst>
                                    <p:animMotion origin="layout" path="M 0 4.81481E-6 L 0 0.03541 " pathEditMode="relative" rAng="0" ptsTypes="AA">
                                      <p:cBhvr>
                                        <p:cTn id="36" dur="700" spd="-100000" fill="hold"/>
                                        <p:tgtEl>
                                          <p:spTgt spid="18"/>
                                        </p:tgtEl>
                                        <p:attrNameLst>
                                          <p:attrName>ppt_x</p:attrName>
                                          <p:attrName>ppt_y</p:attrName>
                                        </p:attrNameLst>
                                      </p:cBhvr>
                                      <p:rCtr x="0" y="1759"/>
                                    </p:animMotion>
                                  </p:childTnLst>
                                </p:cTn>
                              </p:par>
                              <p:par>
                                <p:cTn id="37" presetID="10" presetClass="entr" presetSubtype="0" fill="hold" nodeType="withEffect">
                                  <p:stCondLst>
                                    <p:cond delay="20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par>
                                <p:cTn id="40" presetID="42" presetClass="path" presetSubtype="0" decel="100000" fill="hold" nodeType="withEffect">
                                  <p:stCondLst>
                                    <p:cond delay="200"/>
                                  </p:stCondLst>
                                  <p:childTnLst>
                                    <p:animMotion origin="layout" path="M 1.875E-6 3.33333E-6 L 1.875E-6 0.03541 " pathEditMode="relative" rAng="0" ptsTypes="AA">
                                      <p:cBhvr>
                                        <p:cTn id="41" dur="700" spd="-100000" fill="hold"/>
                                        <p:tgtEl>
                                          <p:spTgt spid="24"/>
                                        </p:tgtEl>
                                        <p:attrNameLst>
                                          <p:attrName>ppt_x</p:attrName>
                                          <p:attrName>ppt_y</p:attrName>
                                        </p:attrNameLst>
                                      </p:cBhvr>
                                      <p:rCtr x="0" y="1759"/>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42" presetClass="path" presetSubtype="0" decel="100000" fill="hold" grpId="1" nodeType="withEffect">
                                  <p:stCondLst>
                                    <p:cond delay="200"/>
                                  </p:stCondLst>
                                  <p:childTnLst>
                                    <p:animMotion origin="layout" path="M 0 -4.07407E-6 L 0 0.03542 " pathEditMode="relative" rAng="0" ptsTypes="AA">
                                      <p:cBhvr>
                                        <p:cTn id="48" dur="700" spd="-100000" fill="hold"/>
                                        <p:tgtEl>
                                          <p:spTgt spid="19"/>
                                        </p:tgtEl>
                                        <p:attrNameLst>
                                          <p:attrName>ppt_x</p:attrName>
                                          <p:attrName>ppt_y</p:attrName>
                                        </p:attrNameLst>
                                      </p:cBhvr>
                                      <p:rCtr x="0" y="1759"/>
                                    </p:animMotion>
                                  </p:childTnLst>
                                </p:cTn>
                              </p:par>
                              <p:par>
                                <p:cTn id="49" presetID="10" presetClass="entr" presetSubtype="0" fill="hold" nodeType="withEffect">
                                  <p:stCondLst>
                                    <p:cond delay="2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2" presetClass="path" presetSubtype="0" decel="100000" fill="hold" nodeType="withEffect">
                                  <p:stCondLst>
                                    <p:cond delay="200"/>
                                  </p:stCondLst>
                                  <p:childTnLst>
                                    <p:animMotion origin="layout" path="M 1.875E-6 3.33333E-6 L 1.875E-6 0.03541 " pathEditMode="relative" rAng="0" ptsTypes="AA">
                                      <p:cBhvr>
                                        <p:cTn id="53" dur="700" spd="-100000" fill="hold"/>
                                        <p:tgtEl>
                                          <p:spTgt spid="25"/>
                                        </p:tgtEl>
                                        <p:attrNameLst>
                                          <p:attrName>ppt_x</p:attrName>
                                          <p:attrName>ppt_y</p:attrName>
                                        </p:attrNameLst>
                                      </p:cBhvr>
                                      <p:rCtr x="0" y="1759"/>
                                    </p:animMotion>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42" presetClass="path" presetSubtype="0" decel="100000" fill="hold" grpId="1" nodeType="withEffect">
                                  <p:stCondLst>
                                    <p:cond delay="200"/>
                                  </p:stCondLst>
                                  <p:childTnLst>
                                    <p:animMotion origin="layout" path="M 0 -4.44444E-6 L 0 0.03542 " pathEditMode="relative" rAng="0" ptsTypes="AA">
                                      <p:cBhvr>
                                        <p:cTn id="60" dur="700" spd="-100000" fill="hold"/>
                                        <p:tgtEl>
                                          <p:spTgt spid="20"/>
                                        </p:tgtEl>
                                        <p:attrNameLst>
                                          <p:attrName>ppt_x</p:attrName>
                                          <p:attrName>ppt_y</p:attrName>
                                        </p:attrNameLst>
                                      </p:cBhvr>
                                      <p:rCtr x="0" y="1759"/>
                                    </p:animMotion>
                                  </p:childTnLst>
                                </p:cTn>
                              </p:par>
                              <p:par>
                                <p:cTn id="61" presetID="10" presetClass="entr" presetSubtype="0" fill="hold" nodeType="withEffect">
                                  <p:stCondLst>
                                    <p:cond delay="20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42" presetClass="path" presetSubtype="0" decel="100000" fill="hold" nodeType="withEffect">
                                  <p:stCondLst>
                                    <p:cond delay="200"/>
                                  </p:stCondLst>
                                  <p:childTnLst>
                                    <p:animMotion origin="layout" path="M 1.875E-6 3.33333E-6 L 1.875E-6 0.03541 " pathEditMode="relative" rAng="0" ptsTypes="AA">
                                      <p:cBhvr>
                                        <p:cTn id="65" dur="700" spd="-100000" fill="hold"/>
                                        <p:tgtEl>
                                          <p:spTgt spid="26"/>
                                        </p:tgtEl>
                                        <p:attrNameLst>
                                          <p:attrName>ppt_x</p:attrName>
                                          <p:attrName>ppt_y</p:attrName>
                                        </p:attrNameLst>
                                      </p:cBhvr>
                                      <p:rCtr x="0" y="1759"/>
                                    </p:animMotion>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par>
                                <p:cTn id="71" presetID="42" presetClass="path" presetSubtype="0" decel="100000" fill="hold" grpId="1" nodeType="withEffect">
                                  <p:stCondLst>
                                    <p:cond delay="200"/>
                                  </p:stCondLst>
                                  <p:childTnLst>
                                    <p:animMotion origin="layout" path="M 0 -4.81481E-6 L 0 0.03542 " pathEditMode="relative" rAng="0" ptsTypes="AA">
                                      <p:cBhvr>
                                        <p:cTn id="72" dur="700" spd="-100000" fill="hold"/>
                                        <p:tgtEl>
                                          <p:spTgt spid="21"/>
                                        </p:tgtEl>
                                        <p:attrNameLst>
                                          <p:attrName>ppt_x</p:attrName>
                                          <p:attrName>ppt_y</p:attrName>
                                        </p:attrNameLst>
                                      </p:cBhvr>
                                      <p:rCtr x="0" y="1759"/>
                                    </p:animMotion>
                                  </p:childTnLst>
                                </p:cTn>
                              </p:par>
                              <p:par>
                                <p:cTn id="73" presetID="10" presetClass="entr" presetSubtype="0" fill="hold" nodeType="withEffect">
                                  <p:stCondLst>
                                    <p:cond delay="300"/>
                                  </p:stCondLst>
                                  <p:childTnLst>
                                    <p:set>
                                      <p:cBhvr>
                                        <p:cTn id="74" dur="1" fill="hold">
                                          <p:stCondLst>
                                            <p:cond delay="0"/>
                                          </p:stCondLst>
                                        </p:cTn>
                                        <p:tgtEl>
                                          <p:spTgt spid="27"/>
                                        </p:tgtEl>
                                        <p:attrNameLst>
                                          <p:attrName>style.visibility</p:attrName>
                                        </p:attrNameLst>
                                      </p:cBhvr>
                                      <p:to>
                                        <p:strVal val="visible"/>
                                      </p:to>
                                    </p:set>
                                    <p:animEffect transition="in" filter="fade">
                                      <p:cBhvr>
                                        <p:cTn id="75" dur="500"/>
                                        <p:tgtEl>
                                          <p:spTgt spid="27"/>
                                        </p:tgtEl>
                                      </p:cBhvr>
                                    </p:animEffect>
                                  </p:childTnLst>
                                </p:cTn>
                              </p:par>
                              <p:par>
                                <p:cTn id="76" presetID="42" presetClass="path" presetSubtype="0" decel="100000" fill="hold" nodeType="withEffect">
                                  <p:stCondLst>
                                    <p:cond delay="300"/>
                                  </p:stCondLst>
                                  <p:childTnLst>
                                    <p:animMotion origin="layout" path="M 1.875E-6 3.33333E-6 L 1.875E-6 0.03541 " pathEditMode="relative" rAng="0" ptsTypes="AA">
                                      <p:cBhvr>
                                        <p:cTn id="77" dur="700" spd="-100000" fill="hold"/>
                                        <p:tgtEl>
                                          <p:spTgt spid="27"/>
                                        </p:tgtEl>
                                        <p:attrNameLst>
                                          <p:attrName>ppt_x</p:attrName>
                                          <p:attrName>ppt_y</p:attrName>
                                        </p:attrNameLst>
                                      </p:cBhvr>
                                      <p:rCtr x="0" y="1759"/>
                                    </p:animMotion>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fade">
                                      <p:cBhvr>
                                        <p:cTn id="82" dur="500"/>
                                        <p:tgtEl>
                                          <p:spTgt spid="22"/>
                                        </p:tgtEl>
                                      </p:cBhvr>
                                    </p:animEffect>
                                  </p:childTnLst>
                                </p:cTn>
                              </p:par>
                              <p:par>
                                <p:cTn id="83" presetID="42" presetClass="path" presetSubtype="0" decel="100000" fill="hold" grpId="1" nodeType="withEffect">
                                  <p:stCondLst>
                                    <p:cond delay="200"/>
                                  </p:stCondLst>
                                  <p:childTnLst>
                                    <p:animMotion origin="layout" path="M 0 4.81481E-6 L 0 0.03541 " pathEditMode="relative" rAng="0" ptsTypes="AA">
                                      <p:cBhvr>
                                        <p:cTn id="84" dur="700" spd="-100000" fill="hold"/>
                                        <p:tgtEl>
                                          <p:spTgt spid="22"/>
                                        </p:tgtEl>
                                        <p:attrNameLst>
                                          <p:attrName>ppt_x</p:attrName>
                                          <p:attrName>ppt_y</p:attrName>
                                        </p:attrNameLst>
                                      </p:cBhvr>
                                      <p:rCtr x="0" y="1759"/>
                                    </p:animMotion>
                                  </p:childTnLst>
                                </p:cTn>
                              </p:par>
                              <p:par>
                                <p:cTn id="85" presetID="10" presetClass="entr" presetSubtype="0" fill="hold" nodeType="withEffect">
                                  <p:stCondLst>
                                    <p:cond delay="300"/>
                                  </p:stCondLst>
                                  <p:childTnLst>
                                    <p:set>
                                      <p:cBhvr>
                                        <p:cTn id="86" dur="1" fill="hold">
                                          <p:stCondLst>
                                            <p:cond delay="0"/>
                                          </p:stCondLst>
                                        </p:cTn>
                                        <p:tgtEl>
                                          <p:spTgt spid="23"/>
                                        </p:tgtEl>
                                        <p:attrNameLst>
                                          <p:attrName>style.visibility</p:attrName>
                                        </p:attrNameLst>
                                      </p:cBhvr>
                                      <p:to>
                                        <p:strVal val="visible"/>
                                      </p:to>
                                    </p:set>
                                    <p:animEffect transition="in" filter="fade">
                                      <p:cBhvr>
                                        <p:cTn id="87" dur="500"/>
                                        <p:tgtEl>
                                          <p:spTgt spid="23"/>
                                        </p:tgtEl>
                                      </p:cBhvr>
                                    </p:animEffect>
                                  </p:childTnLst>
                                </p:cTn>
                              </p:par>
                              <p:par>
                                <p:cTn id="88" presetID="42" presetClass="path" presetSubtype="0" decel="100000" fill="hold" nodeType="withEffect">
                                  <p:stCondLst>
                                    <p:cond delay="300"/>
                                  </p:stCondLst>
                                  <p:childTnLst>
                                    <p:animMotion origin="layout" path="M 1.875E-6 3.33333E-6 L 1.875E-6 0.03541 " pathEditMode="relative" rAng="0" ptsTypes="AA">
                                      <p:cBhvr>
                                        <p:cTn id="89" dur="700" spd="-100000" fill="hold"/>
                                        <p:tgtEl>
                                          <p:spTgt spid="2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p:bldP spid="8" grpId="1"/>
      <p:bldP spid="9" grpId="0"/>
      <p:bldP spid="9" grpId="1"/>
      <p:bldP spid="10" grpId="0"/>
      <p:bldP spid="10" grpId="1"/>
      <p:bldP spid="12" grpId="0"/>
      <p:bldP spid="12" grpId="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29416-F428-38AF-6893-86E028F50574}"/>
              </a:ext>
            </a:extLst>
          </p:cNvPr>
          <p:cNvSpPr>
            <a:spLocks noGrp="1"/>
          </p:cNvSpPr>
          <p:nvPr>
            <p:ph type="title"/>
          </p:nvPr>
        </p:nvSpPr>
        <p:spPr>
          <a:xfrm>
            <a:off x="585216" y="2977823"/>
            <a:ext cx="9144000" cy="553998"/>
          </a:xfrm>
        </p:spPr>
        <p:txBody>
          <a:bodyPr/>
          <a:lstStyle/>
          <a:p>
            <a:r>
              <a:rPr lang="en-US"/>
              <a:t>Demonstrations</a:t>
            </a:r>
          </a:p>
        </p:txBody>
      </p:sp>
      <p:sp>
        <p:nvSpPr>
          <p:cNvPr id="5" name="Text Placeholder 4">
            <a:extLst>
              <a:ext uri="{FF2B5EF4-FFF2-40B4-BE49-F238E27FC236}">
                <a16:creationId xmlns:a16="http://schemas.microsoft.com/office/drawing/2014/main" id="{1D1F9088-2663-F84E-16C1-C8AEE1EB2887}"/>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89463699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848135-9819-F326-CD8E-6CF079D84196}"/>
            </a:ext>
          </a:extLst>
        </p:cNvPr>
        <p:cNvGrpSpPr/>
        <p:nvPr/>
      </p:nvGrpSpPr>
      <p:grpSpPr>
        <a:xfrm>
          <a:off x="0" y="0"/>
          <a:ext cx="0" cy="0"/>
          <a:chOff x="0" y="0"/>
          <a:chExt cx="0" cy="0"/>
        </a:xfrm>
      </p:grpSpPr>
      <p:sp>
        <p:nvSpPr>
          <p:cNvPr id="87" name="Title 1">
            <a:extLst>
              <a:ext uri="{FF2B5EF4-FFF2-40B4-BE49-F238E27FC236}">
                <a16:creationId xmlns:a16="http://schemas.microsoft.com/office/drawing/2014/main" id="{7C2E62C8-5EB6-9237-9FE3-6B904DD1ACA3}"/>
              </a:ext>
            </a:extLst>
          </p:cNvPr>
          <p:cNvSpPr txBox="1">
            <a:spLocks noGrp="1"/>
          </p:cNvSpPr>
          <p:nvPr>
            <p:ph type="title"/>
          </p:nvPr>
        </p:nvSpPr>
        <p:spPr>
          <a:xfrm>
            <a:off x="370460" y="1317700"/>
            <a:ext cx="2125086" cy="1846659"/>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marR="0" lvl="0" indent="0" fontAlgn="auto">
              <a:lnSpc>
                <a:spcPct val="100000"/>
              </a:lnSpc>
              <a:spcBef>
                <a:spcPct val="0"/>
              </a:spcBef>
              <a:spcAft>
                <a:spcPts val="0"/>
              </a:spcAft>
              <a:buClrTx/>
              <a:buSzTx/>
              <a:buFontTx/>
              <a:buNone/>
              <a:tabLst/>
              <a:defRPr lang="en-US" sz="4000" b="0" i="0" cap="none" spc="0" baseline="0" dirty="0" smtClean="0">
                <a:ln>
                  <a:noFill/>
                </a:ln>
                <a:effectLst/>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chemeClr val="tx1"/>
                </a:solidFill>
                <a:effectLst/>
                <a:uLnTx/>
                <a:uFillTx/>
                <a:latin typeface="Segoe UI Semibold"/>
                <a:ea typeface="+mj-ea"/>
                <a:cs typeface="Segoe UI Semibold" panose="020B0502040204020203" pitchFamily="34" charset="0"/>
              </a:rPr>
              <a:t>Custom engine agents</a:t>
            </a:r>
          </a:p>
        </p:txBody>
      </p:sp>
      <p:grpSp>
        <p:nvGrpSpPr>
          <p:cNvPr id="2" name="Group 1" descr="Custom engine agents&#10;&#10;Microsoft 365 Agents SDK&#10;implementation&#10;">
            <a:extLst>
              <a:ext uri="{FF2B5EF4-FFF2-40B4-BE49-F238E27FC236}">
                <a16:creationId xmlns:a16="http://schemas.microsoft.com/office/drawing/2014/main" id="{5EC3D0B3-61A4-C81F-0249-F33D4A6CB0D0}"/>
              </a:ext>
            </a:extLst>
          </p:cNvPr>
          <p:cNvGrpSpPr/>
          <p:nvPr/>
        </p:nvGrpSpPr>
        <p:grpSpPr>
          <a:xfrm>
            <a:off x="3120567" y="319856"/>
            <a:ext cx="8374552" cy="6187479"/>
            <a:chOff x="3120567" y="319856"/>
            <a:chExt cx="8374552" cy="6187479"/>
          </a:xfrm>
        </p:grpSpPr>
        <p:grpSp>
          <p:nvGrpSpPr>
            <p:cNvPr id="190" name="Group 189">
              <a:extLst>
                <a:ext uri="{FF2B5EF4-FFF2-40B4-BE49-F238E27FC236}">
                  <a16:creationId xmlns:a16="http://schemas.microsoft.com/office/drawing/2014/main" id="{AED0E64D-5181-3C8C-3D24-5C604D6165A4}"/>
                </a:ext>
              </a:extLst>
            </p:cNvPr>
            <p:cNvGrpSpPr/>
            <p:nvPr/>
          </p:nvGrpSpPr>
          <p:grpSpPr>
            <a:xfrm>
              <a:off x="10400794" y="2089039"/>
              <a:ext cx="1094325" cy="3217834"/>
              <a:chOff x="10395074" y="2088940"/>
              <a:chExt cx="1094325" cy="3217834"/>
            </a:xfrm>
          </p:grpSpPr>
          <p:sp>
            <p:nvSpPr>
              <p:cNvPr id="167" name="Rectangle: Rounded Corners 166">
                <a:extLst>
                  <a:ext uri="{FF2B5EF4-FFF2-40B4-BE49-F238E27FC236}">
                    <a16:creationId xmlns:a16="http://schemas.microsoft.com/office/drawing/2014/main" id="{B6AF42C9-FC23-73CC-6C86-ECD7EFA3EE39}"/>
                  </a:ext>
                </a:extLst>
              </p:cNvPr>
              <p:cNvSpPr/>
              <p:nvPr/>
            </p:nvSpPr>
            <p:spPr bwMode="auto">
              <a:xfrm>
                <a:off x="10398709" y="2088940"/>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68" name="Rectangle: Rounded Corners 167">
                <a:extLst>
                  <a:ext uri="{FF2B5EF4-FFF2-40B4-BE49-F238E27FC236}">
                    <a16:creationId xmlns:a16="http://schemas.microsoft.com/office/drawing/2014/main" id="{88E5CE38-FFF6-8F10-1540-7D561D6F5432}"/>
                  </a:ext>
                </a:extLst>
              </p:cNvPr>
              <p:cNvSpPr/>
              <p:nvPr/>
            </p:nvSpPr>
            <p:spPr>
              <a:xfrm>
                <a:off x="10492147" y="2143629"/>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69" name="Rectangle: Rounded Corners 168">
                <a:extLst>
                  <a:ext uri="{FF2B5EF4-FFF2-40B4-BE49-F238E27FC236}">
                    <a16:creationId xmlns:a16="http://schemas.microsoft.com/office/drawing/2014/main" id="{4350A401-338D-5DED-4D3E-05DB3B8DA272}"/>
                  </a:ext>
                </a:extLst>
              </p:cNvPr>
              <p:cNvSpPr/>
              <p:nvPr/>
            </p:nvSpPr>
            <p:spPr>
              <a:xfrm>
                <a:off x="10489020" y="2307446"/>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0" name="Rectangle: Rounded Corners 169">
                <a:extLst>
                  <a:ext uri="{FF2B5EF4-FFF2-40B4-BE49-F238E27FC236}">
                    <a16:creationId xmlns:a16="http://schemas.microsoft.com/office/drawing/2014/main" id="{B5E43FAD-3F6E-F650-81DF-062597C59DBB}"/>
                  </a:ext>
                </a:extLst>
              </p:cNvPr>
              <p:cNvSpPr/>
              <p:nvPr/>
            </p:nvSpPr>
            <p:spPr>
              <a:xfrm>
                <a:off x="10481870" y="2831279"/>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1" name="Rectangle: Rounded Corners 170">
                <a:extLst>
                  <a:ext uri="{FF2B5EF4-FFF2-40B4-BE49-F238E27FC236}">
                    <a16:creationId xmlns:a16="http://schemas.microsoft.com/office/drawing/2014/main" id="{055E5823-3762-8B5C-DB72-813545486A1E}"/>
                  </a:ext>
                </a:extLst>
              </p:cNvPr>
              <p:cNvSpPr/>
              <p:nvPr/>
            </p:nvSpPr>
            <p:spPr>
              <a:xfrm>
                <a:off x="10846820" y="2325717"/>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2" name="Rectangle: Rounded Corners 171">
                <a:extLst>
                  <a:ext uri="{FF2B5EF4-FFF2-40B4-BE49-F238E27FC236}">
                    <a16:creationId xmlns:a16="http://schemas.microsoft.com/office/drawing/2014/main" id="{EB0D9AD3-426B-F636-66F6-6FE0348B0BF0}"/>
                  </a:ext>
                </a:extLst>
              </p:cNvPr>
              <p:cNvSpPr/>
              <p:nvPr/>
            </p:nvSpPr>
            <p:spPr>
              <a:xfrm>
                <a:off x="10846820" y="2488895"/>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3" name="Rectangle: Rounded Corners 172">
                <a:extLst>
                  <a:ext uri="{FF2B5EF4-FFF2-40B4-BE49-F238E27FC236}">
                    <a16:creationId xmlns:a16="http://schemas.microsoft.com/office/drawing/2014/main" id="{C58E06B3-6552-965A-CDEF-4BE60AAE788C}"/>
                  </a:ext>
                </a:extLst>
              </p:cNvPr>
              <p:cNvSpPr/>
              <p:nvPr/>
            </p:nvSpPr>
            <p:spPr>
              <a:xfrm>
                <a:off x="10846820" y="2649191"/>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4" name="Rectangle: Rounded Corners 173">
                <a:extLst>
                  <a:ext uri="{FF2B5EF4-FFF2-40B4-BE49-F238E27FC236}">
                    <a16:creationId xmlns:a16="http://schemas.microsoft.com/office/drawing/2014/main" id="{C9392B03-ED1F-4C83-8381-89ED1FEAD386}"/>
                  </a:ext>
                </a:extLst>
              </p:cNvPr>
              <p:cNvSpPr/>
              <p:nvPr/>
            </p:nvSpPr>
            <p:spPr bwMode="auto">
              <a:xfrm>
                <a:off x="10395074" y="325016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5" name="Rectangle: Rounded Corners 174">
                <a:extLst>
                  <a:ext uri="{FF2B5EF4-FFF2-40B4-BE49-F238E27FC236}">
                    <a16:creationId xmlns:a16="http://schemas.microsoft.com/office/drawing/2014/main" id="{5D43AFDF-DD8D-DF45-D662-1E613AB9AE43}"/>
                  </a:ext>
                </a:extLst>
              </p:cNvPr>
              <p:cNvSpPr/>
              <p:nvPr/>
            </p:nvSpPr>
            <p:spPr>
              <a:xfrm>
                <a:off x="10488512" y="330485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6" name="Rectangle: Rounded Corners 175">
                <a:extLst>
                  <a:ext uri="{FF2B5EF4-FFF2-40B4-BE49-F238E27FC236}">
                    <a16:creationId xmlns:a16="http://schemas.microsoft.com/office/drawing/2014/main" id="{1949A143-D664-E05D-048C-3EB21565EBBA}"/>
                  </a:ext>
                </a:extLst>
              </p:cNvPr>
              <p:cNvSpPr/>
              <p:nvPr/>
            </p:nvSpPr>
            <p:spPr>
              <a:xfrm>
                <a:off x="10485385" y="346867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7" name="Rectangle: Rounded Corners 176">
                <a:extLst>
                  <a:ext uri="{FF2B5EF4-FFF2-40B4-BE49-F238E27FC236}">
                    <a16:creationId xmlns:a16="http://schemas.microsoft.com/office/drawing/2014/main" id="{07FAEB49-406C-952F-3DC4-19EE817FAED3}"/>
                  </a:ext>
                </a:extLst>
              </p:cNvPr>
              <p:cNvSpPr/>
              <p:nvPr/>
            </p:nvSpPr>
            <p:spPr>
              <a:xfrm>
                <a:off x="10478235" y="399250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78" name="Rectangle: Rounded Corners 177">
                <a:extLst>
                  <a:ext uri="{FF2B5EF4-FFF2-40B4-BE49-F238E27FC236}">
                    <a16:creationId xmlns:a16="http://schemas.microsoft.com/office/drawing/2014/main" id="{EA20D478-C7E5-B09A-0230-B09A4B134E51}"/>
                  </a:ext>
                </a:extLst>
              </p:cNvPr>
              <p:cNvSpPr/>
              <p:nvPr/>
            </p:nvSpPr>
            <p:spPr>
              <a:xfrm>
                <a:off x="10843185" y="348694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79" name="Rectangle: Rounded Corners 178">
                <a:extLst>
                  <a:ext uri="{FF2B5EF4-FFF2-40B4-BE49-F238E27FC236}">
                    <a16:creationId xmlns:a16="http://schemas.microsoft.com/office/drawing/2014/main" id="{D4E91A64-5673-FF5D-2863-88764C5CBC46}"/>
                  </a:ext>
                </a:extLst>
              </p:cNvPr>
              <p:cNvSpPr/>
              <p:nvPr/>
            </p:nvSpPr>
            <p:spPr>
              <a:xfrm>
                <a:off x="10843185" y="365012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0" name="Rectangle: Rounded Corners 179">
                <a:extLst>
                  <a:ext uri="{FF2B5EF4-FFF2-40B4-BE49-F238E27FC236}">
                    <a16:creationId xmlns:a16="http://schemas.microsoft.com/office/drawing/2014/main" id="{FD3C7B18-43C2-F104-9BC2-DEC5ABA6267C}"/>
                  </a:ext>
                </a:extLst>
              </p:cNvPr>
              <p:cNvSpPr/>
              <p:nvPr/>
            </p:nvSpPr>
            <p:spPr>
              <a:xfrm>
                <a:off x="10843185" y="381042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1" name="Rectangle: Rounded Corners 180">
                <a:extLst>
                  <a:ext uri="{FF2B5EF4-FFF2-40B4-BE49-F238E27FC236}">
                    <a16:creationId xmlns:a16="http://schemas.microsoft.com/office/drawing/2014/main" id="{8AF90A12-2516-3086-FF34-B53C06FC6663}"/>
                  </a:ext>
                </a:extLst>
              </p:cNvPr>
              <p:cNvSpPr/>
              <p:nvPr/>
            </p:nvSpPr>
            <p:spPr bwMode="auto">
              <a:xfrm>
                <a:off x="10395074" y="4411399"/>
                <a:ext cx="1090690" cy="895375"/>
              </a:xfrm>
              <a:prstGeom prst="roundRect">
                <a:avLst>
                  <a:gd name="adj" fmla="val 7222"/>
                </a:avLst>
              </a:prstGeom>
              <a:noFill/>
              <a:ln w="12700" cap="flat" cmpd="sng" algn="ctr">
                <a:solidFill>
                  <a:schemeClr val="bg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82" name="Rectangle: Rounded Corners 181">
                <a:extLst>
                  <a:ext uri="{FF2B5EF4-FFF2-40B4-BE49-F238E27FC236}">
                    <a16:creationId xmlns:a16="http://schemas.microsoft.com/office/drawing/2014/main" id="{54A7D86D-5C31-3693-C821-66A927121E99}"/>
                  </a:ext>
                </a:extLst>
              </p:cNvPr>
              <p:cNvSpPr/>
              <p:nvPr/>
            </p:nvSpPr>
            <p:spPr>
              <a:xfrm>
                <a:off x="10488512" y="4466088"/>
                <a:ext cx="90550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3" name="Rectangle: Rounded Corners 182">
                <a:extLst>
                  <a:ext uri="{FF2B5EF4-FFF2-40B4-BE49-F238E27FC236}">
                    <a16:creationId xmlns:a16="http://schemas.microsoft.com/office/drawing/2014/main" id="{AA593502-878F-AC8F-67ED-811060E2FE54}"/>
                  </a:ext>
                </a:extLst>
              </p:cNvPr>
              <p:cNvSpPr/>
              <p:nvPr/>
            </p:nvSpPr>
            <p:spPr>
              <a:xfrm>
                <a:off x="10485385" y="4629905"/>
                <a:ext cx="267488" cy="461591"/>
              </a:xfrm>
              <a:prstGeom prst="roundRect">
                <a:avLst>
                  <a:gd name="adj" fmla="val 1239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4" name="Rectangle: Rounded Corners 183">
                <a:extLst>
                  <a:ext uri="{FF2B5EF4-FFF2-40B4-BE49-F238E27FC236}">
                    <a16:creationId xmlns:a16="http://schemas.microsoft.com/office/drawing/2014/main" id="{32D3DD35-CFC2-FD6A-0829-7B980F1AC533}"/>
                  </a:ext>
                </a:extLst>
              </p:cNvPr>
              <p:cNvSpPr/>
              <p:nvPr/>
            </p:nvSpPr>
            <p:spPr>
              <a:xfrm>
                <a:off x="10478235" y="5153738"/>
                <a:ext cx="939934" cy="98692"/>
              </a:xfrm>
              <a:prstGeom prst="roundRect">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5" name="Rectangle: Rounded Corners 184">
                <a:extLst>
                  <a:ext uri="{FF2B5EF4-FFF2-40B4-BE49-F238E27FC236}">
                    <a16:creationId xmlns:a16="http://schemas.microsoft.com/office/drawing/2014/main" id="{51D3DD1B-F4F9-D5A1-8473-5613DC7F9204}"/>
                  </a:ext>
                </a:extLst>
              </p:cNvPr>
              <p:cNvSpPr/>
              <p:nvPr/>
            </p:nvSpPr>
            <p:spPr>
              <a:xfrm>
                <a:off x="10843185" y="4648176"/>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6" name="Rectangle: Rounded Corners 185">
                <a:extLst>
                  <a:ext uri="{FF2B5EF4-FFF2-40B4-BE49-F238E27FC236}">
                    <a16:creationId xmlns:a16="http://schemas.microsoft.com/office/drawing/2014/main" id="{C101B229-6950-B2E2-E28D-C1FB7C5B37B6}"/>
                  </a:ext>
                </a:extLst>
              </p:cNvPr>
              <p:cNvSpPr/>
              <p:nvPr/>
            </p:nvSpPr>
            <p:spPr>
              <a:xfrm>
                <a:off x="10843185" y="4811354"/>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87" name="Rectangle: Rounded Corners 186">
                <a:extLst>
                  <a:ext uri="{FF2B5EF4-FFF2-40B4-BE49-F238E27FC236}">
                    <a16:creationId xmlns:a16="http://schemas.microsoft.com/office/drawing/2014/main" id="{907EDB00-A3D2-AF0A-5EA3-C416CB9CA14E}"/>
                  </a:ext>
                </a:extLst>
              </p:cNvPr>
              <p:cNvSpPr/>
              <p:nvPr/>
            </p:nvSpPr>
            <p:spPr>
              <a:xfrm>
                <a:off x="10843185" y="4971650"/>
                <a:ext cx="550832" cy="98692"/>
              </a:xfrm>
              <a:prstGeom prst="roundRect">
                <a:avLst>
                  <a:gd name="adj" fmla="val 10024"/>
                </a:avLst>
              </a:prstGeom>
              <a:noFill/>
              <a:ln w="12700" cap="rnd">
                <a:solidFill>
                  <a:schemeClr val="bg1">
                    <a:lumMod val="50000"/>
                    <a:lumOff val="50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188" name="TextBox 187">
              <a:extLst>
                <a:ext uri="{FF2B5EF4-FFF2-40B4-BE49-F238E27FC236}">
                  <a16:creationId xmlns:a16="http://schemas.microsoft.com/office/drawing/2014/main" id="{9F664757-5992-8EBA-1DD7-4A21BBCC92ED}"/>
                </a:ext>
              </a:extLst>
            </p:cNvPr>
            <p:cNvSpPr txBox="1"/>
            <p:nvPr/>
          </p:nvSpPr>
          <p:spPr>
            <a:xfrm>
              <a:off x="10632628" y="1596941"/>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Agents</a:t>
              </a:r>
            </a:p>
          </p:txBody>
        </p:sp>
        <p:sp>
          <p:nvSpPr>
            <p:cNvPr id="39" name="Freeform: Shape 38">
              <a:extLst>
                <a:ext uri="{FF2B5EF4-FFF2-40B4-BE49-F238E27FC236}">
                  <a16:creationId xmlns:a16="http://schemas.microsoft.com/office/drawing/2014/main" id="{DC2460B7-1471-7686-4B6B-7DBC1D7FC8A3}"/>
                </a:ext>
              </a:extLst>
            </p:cNvPr>
            <p:cNvSpPr/>
            <p:nvPr/>
          </p:nvSpPr>
          <p:spPr>
            <a:xfrm>
              <a:off x="3120568" y="319857"/>
              <a:ext cx="6547478" cy="968419"/>
            </a:xfrm>
            <a:custGeom>
              <a:avLst/>
              <a:gdLst>
                <a:gd name="connsiteX0" fmla="*/ 169042 w 6547478"/>
                <a:gd name="connsiteY0" fmla="*/ 0 h 968419"/>
                <a:gd name="connsiteX1" fmla="*/ 6378436 w 6547478"/>
                <a:gd name="connsiteY1" fmla="*/ 0 h 968419"/>
                <a:gd name="connsiteX2" fmla="*/ 6547478 w 6547478"/>
                <a:gd name="connsiteY2" fmla="*/ 169042 h 968419"/>
                <a:gd name="connsiteX3" fmla="*/ 6547478 w 6547478"/>
                <a:gd name="connsiteY3" fmla="*/ 968419 h 968419"/>
                <a:gd name="connsiteX4" fmla="*/ 0 w 6547478"/>
                <a:gd name="connsiteY4" fmla="*/ 968419 h 968419"/>
                <a:gd name="connsiteX5" fmla="*/ 0 w 6547478"/>
                <a:gd name="connsiteY5" fmla="*/ 169042 h 968419"/>
                <a:gd name="connsiteX6" fmla="*/ 169042 w 6547478"/>
                <a:gd name="connsiteY6" fmla="*/ 0 h 96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7478" h="968419">
                  <a:moveTo>
                    <a:pt x="169042" y="0"/>
                  </a:moveTo>
                  <a:lnTo>
                    <a:pt x="6378436" y="0"/>
                  </a:lnTo>
                  <a:cubicBezTo>
                    <a:pt x="6471795" y="0"/>
                    <a:pt x="6547478" y="75683"/>
                    <a:pt x="6547478" y="169042"/>
                  </a:cubicBezTo>
                  <a:lnTo>
                    <a:pt x="6547478" y="968419"/>
                  </a:lnTo>
                  <a:lnTo>
                    <a:pt x="0" y="968419"/>
                  </a:lnTo>
                  <a:lnTo>
                    <a:pt x="0" y="169042"/>
                  </a:lnTo>
                  <a:cubicBezTo>
                    <a:pt x="0" y="75683"/>
                    <a:pt x="75683" y="0"/>
                    <a:pt x="169042" y="0"/>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0" name="Freeform: Shape 39">
              <a:extLst>
                <a:ext uri="{FF2B5EF4-FFF2-40B4-BE49-F238E27FC236}">
                  <a16:creationId xmlns:a16="http://schemas.microsoft.com/office/drawing/2014/main" id="{16B9AC58-11BF-65A2-87B3-B7A75F5084CB}"/>
                </a:ext>
              </a:extLst>
            </p:cNvPr>
            <p:cNvSpPr/>
            <p:nvPr/>
          </p:nvSpPr>
          <p:spPr>
            <a:xfrm>
              <a:off x="3120568" y="5538914"/>
              <a:ext cx="6547478" cy="968420"/>
            </a:xfrm>
            <a:custGeom>
              <a:avLst/>
              <a:gdLst>
                <a:gd name="connsiteX0" fmla="*/ 0 w 6547478"/>
                <a:gd name="connsiteY0" fmla="*/ 0 h 968420"/>
                <a:gd name="connsiteX1" fmla="*/ 6547478 w 6547478"/>
                <a:gd name="connsiteY1" fmla="*/ 0 h 968420"/>
                <a:gd name="connsiteX2" fmla="*/ 6547478 w 6547478"/>
                <a:gd name="connsiteY2" fmla="*/ 799379 h 968420"/>
                <a:gd name="connsiteX3" fmla="*/ 6444235 w 6547478"/>
                <a:gd name="connsiteY3" fmla="*/ 955137 h 968420"/>
                <a:gd name="connsiteX4" fmla="*/ 6378441 w 6547478"/>
                <a:gd name="connsiteY4" fmla="*/ 968420 h 968420"/>
                <a:gd name="connsiteX5" fmla="*/ 169037 w 6547478"/>
                <a:gd name="connsiteY5" fmla="*/ 968420 h 968420"/>
                <a:gd name="connsiteX6" fmla="*/ 103244 w 6547478"/>
                <a:gd name="connsiteY6" fmla="*/ 955137 h 968420"/>
                <a:gd name="connsiteX7" fmla="*/ 0 w 6547478"/>
                <a:gd name="connsiteY7" fmla="*/ 799379 h 96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7478" h="968420">
                  <a:moveTo>
                    <a:pt x="0" y="0"/>
                  </a:moveTo>
                  <a:lnTo>
                    <a:pt x="6547478" y="0"/>
                  </a:lnTo>
                  <a:lnTo>
                    <a:pt x="6547478" y="799379"/>
                  </a:lnTo>
                  <a:cubicBezTo>
                    <a:pt x="6547478" y="869398"/>
                    <a:pt x="6504906" y="929475"/>
                    <a:pt x="6444235" y="955137"/>
                  </a:cubicBezTo>
                  <a:lnTo>
                    <a:pt x="6378441" y="968420"/>
                  </a:lnTo>
                  <a:lnTo>
                    <a:pt x="169037" y="968420"/>
                  </a:lnTo>
                  <a:lnTo>
                    <a:pt x="103244" y="955137"/>
                  </a:lnTo>
                  <a:cubicBezTo>
                    <a:pt x="42572" y="929475"/>
                    <a:pt x="0" y="869398"/>
                    <a:pt x="0" y="799379"/>
                  </a:cubicBez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Freeform: Shape 40">
              <a:extLst>
                <a:ext uri="{FF2B5EF4-FFF2-40B4-BE49-F238E27FC236}">
                  <a16:creationId xmlns:a16="http://schemas.microsoft.com/office/drawing/2014/main" id="{C315209B-FD9A-1B19-2DAA-FDA63427C589}"/>
                </a:ext>
              </a:extLst>
            </p:cNvPr>
            <p:cNvSpPr>
              <a:spLocks/>
            </p:cNvSpPr>
            <p:nvPr/>
          </p:nvSpPr>
          <p:spPr>
            <a:xfrm>
              <a:off x="3120567" y="1288275"/>
              <a:ext cx="3273739" cy="4250638"/>
            </a:xfrm>
            <a:custGeom>
              <a:avLst/>
              <a:gdLst>
                <a:gd name="connsiteX0" fmla="*/ 0 w 3273739"/>
                <a:gd name="connsiteY0" fmla="*/ 0 h 4250638"/>
                <a:gd name="connsiteX1" fmla="*/ 3273739 w 3273739"/>
                <a:gd name="connsiteY1" fmla="*/ 0 h 4250638"/>
                <a:gd name="connsiteX2" fmla="*/ 3273739 w 3273739"/>
                <a:gd name="connsiteY2" fmla="*/ 4250638 h 4250638"/>
                <a:gd name="connsiteX3" fmla="*/ 0 w 3273739"/>
                <a:gd name="connsiteY3" fmla="*/ 4250638 h 4250638"/>
              </a:gdLst>
              <a:ahLst/>
              <a:cxnLst>
                <a:cxn ang="0">
                  <a:pos x="connsiteX0" y="connsiteY0"/>
                </a:cxn>
                <a:cxn ang="0">
                  <a:pos x="connsiteX1" y="connsiteY1"/>
                </a:cxn>
                <a:cxn ang="0">
                  <a:pos x="connsiteX2" y="connsiteY2"/>
                </a:cxn>
                <a:cxn ang="0">
                  <a:pos x="connsiteX3" y="connsiteY3"/>
                </a:cxn>
              </a:cxnLst>
              <a:rect l="l" t="t" r="r" b="b"/>
              <a:pathLst>
                <a:path w="3273739" h="4250638">
                  <a:moveTo>
                    <a:pt x="0" y="0"/>
                  </a:moveTo>
                  <a:lnTo>
                    <a:pt x="3273739" y="0"/>
                  </a:lnTo>
                  <a:lnTo>
                    <a:pt x="3273739" y="4250638"/>
                  </a:lnTo>
                  <a:lnTo>
                    <a:pt x="0" y="4250638"/>
                  </a:lnTo>
                  <a:close/>
                </a:path>
              </a:pathLst>
            </a:custGeom>
            <a:solidFill>
              <a:srgbClr val="162A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2" name="Freeform: Shape 41">
              <a:extLst>
                <a:ext uri="{FF2B5EF4-FFF2-40B4-BE49-F238E27FC236}">
                  <a16:creationId xmlns:a16="http://schemas.microsoft.com/office/drawing/2014/main" id="{EE209E9D-E679-94B7-3761-F6B9904FAF22}"/>
                </a:ext>
              </a:extLst>
            </p:cNvPr>
            <p:cNvSpPr/>
            <p:nvPr/>
          </p:nvSpPr>
          <p:spPr>
            <a:xfrm>
              <a:off x="6394308" y="1288275"/>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3" name="Freeform: Shape 42">
              <a:extLst>
                <a:ext uri="{FF2B5EF4-FFF2-40B4-BE49-F238E27FC236}">
                  <a16:creationId xmlns:a16="http://schemas.microsoft.com/office/drawing/2014/main" id="{D3F5F9CF-15FF-8506-4C5F-E623EB343216}"/>
                </a:ext>
              </a:extLst>
            </p:cNvPr>
            <p:cNvSpPr/>
            <p:nvPr/>
          </p:nvSpPr>
          <p:spPr>
            <a:xfrm>
              <a:off x="6381652" y="2699899"/>
              <a:ext cx="3286396" cy="1421915"/>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4" name="Freeform: Shape 43">
              <a:extLst>
                <a:ext uri="{FF2B5EF4-FFF2-40B4-BE49-F238E27FC236}">
                  <a16:creationId xmlns:a16="http://schemas.microsoft.com/office/drawing/2014/main" id="{0D436679-9420-B854-2A77-1E3DACF37549}"/>
                </a:ext>
              </a:extLst>
            </p:cNvPr>
            <p:cNvSpPr/>
            <p:nvPr/>
          </p:nvSpPr>
          <p:spPr>
            <a:xfrm>
              <a:off x="6394308" y="4122474"/>
              <a:ext cx="3273739" cy="1416439"/>
            </a:xfrm>
            <a:custGeom>
              <a:avLst/>
              <a:gdLst>
                <a:gd name="connsiteX0" fmla="*/ 0 w 3273739"/>
                <a:gd name="connsiteY0" fmla="*/ 0 h 1416439"/>
                <a:gd name="connsiteX1" fmla="*/ 3273739 w 3273739"/>
                <a:gd name="connsiteY1" fmla="*/ 0 h 1416439"/>
                <a:gd name="connsiteX2" fmla="*/ 3273739 w 3273739"/>
                <a:gd name="connsiteY2" fmla="*/ 1416439 h 1416439"/>
                <a:gd name="connsiteX3" fmla="*/ 0 w 3273739"/>
                <a:gd name="connsiteY3" fmla="*/ 1416439 h 1416439"/>
              </a:gdLst>
              <a:ahLst/>
              <a:cxnLst>
                <a:cxn ang="0">
                  <a:pos x="connsiteX0" y="connsiteY0"/>
                </a:cxn>
                <a:cxn ang="0">
                  <a:pos x="connsiteX1" y="connsiteY1"/>
                </a:cxn>
                <a:cxn ang="0">
                  <a:pos x="connsiteX2" y="connsiteY2"/>
                </a:cxn>
                <a:cxn ang="0">
                  <a:pos x="connsiteX3" y="connsiteY3"/>
                </a:cxn>
              </a:cxnLst>
              <a:rect l="l" t="t" r="r" b="b"/>
              <a:pathLst>
                <a:path w="3273739" h="1416439">
                  <a:moveTo>
                    <a:pt x="0" y="0"/>
                  </a:moveTo>
                  <a:lnTo>
                    <a:pt x="3273739" y="0"/>
                  </a:lnTo>
                  <a:lnTo>
                    <a:pt x="3273739" y="1416439"/>
                  </a:lnTo>
                  <a:lnTo>
                    <a:pt x="0" y="1416439"/>
                  </a:lnTo>
                  <a:close/>
                </a:path>
              </a:pathLst>
            </a:custGeom>
            <a:solidFill>
              <a:srgbClr val="172C3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5" name="Rectangle 44">
              <a:extLst>
                <a:ext uri="{FF2B5EF4-FFF2-40B4-BE49-F238E27FC236}">
                  <a16:creationId xmlns:a16="http://schemas.microsoft.com/office/drawing/2014/main" id="{1169D223-6839-5BF3-83A3-FDB8F817F6B0}"/>
                </a:ext>
              </a:extLst>
            </p:cNvPr>
            <p:cNvSpPr>
              <a:spLocks/>
            </p:cNvSpPr>
            <p:nvPr/>
          </p:nvSpPr>
          <p:spPr>
            <a:xfrm>
              <a:off x="5160975" y="582306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Foundation models</a:t>
              </a:r>
            </a:p>
          </p:txBody>
        </p:sp>
        <p:cxnSp>
          <p:nvCxnSpPr>
            <p:cNvPr id="46" name="Straight Connector 45">
              <a:extLst>
                <a:ext uri="{FF2B5EF4-FFF2-40B4-BE49-F238E27FC236}">
                  <a16:creationId xmlns:a16="http://schemas.microsoft.com/office/drawing/2014/main" id="{3816ADD0-DB2F-43B4-D4D4-7C772AFF29B1}"/>
                </a:ext>
              </a:extLst>
            </p:cNvPr>
            <p:cNvCxnSpPr/>
            <p:nvPr/>
          </p:nvCxnSpPr>
          <p:spPr>
            <a:xfrm>
              <a:off x="3120568" y="1288275"/>
              <a:ext cx="6547478" cy="0"/>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994774E-9123-5580-AAF6-7E89A26E4D4E}"/>
                </a:ext>
              </a:extLst>
            </p:cNvPr>
            <p:cNvCxnSpPr/>
            <p:nvPr/>
          </p:nvCxnSpPr>
          <p:spPr>
            <a:xfrm>
              <a:off x="6394308" y="2704714"/>
              <a:ext cx="3273739" cy="0"/>
            </a:xfrm>
            <a:prstGeom prst="line">
              <a:avLst/>
            </a:prstGeom>
            <a:ln w="19050">
              <a:solidFill>
                <a:schemeClr val="tx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84A0C0C-1221-3545-039F-C2B01BBA5A19}"/>
                </a:ext>
              </a:extLst>
            </p:cNvPr>
            <p:cNvCxnSpPr/>
            <p:nvPr/>
          </p:nvCxnSpPr>
          <p:spPr>
            <a:xfrm>
              <a:off x="6394308" y="4121814"/>
              <a:ext cx="3273739" cy="0"/>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4E8F365-BABB-01A7-51C4-FF49ECFD2744}"/>
                </a:ext>
              </a:extLst>
            </p:cNvPr>
            <p:cNvCxnSpPr/>
            <p:nvPr/>
          </p:nvCxnSpPr>
          <p:spPr>
            <a:xfrm>
              <a:off x="3120568" y="5538914"/>
              <a:ext cx="6547478" cy="0"/>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E73A273-FEBE-F95A-516B-91AA62F6692B}"/>
                </a:ext>
              </a:extLst>
            </p:cNvPr>
            <p:cNvCxnSpPr>
              <a:cxnSpLocks/>
            </p:cNvCxnSpPr>
            <p:nvPr/>
          </p:nvCxnSpPr>
          <p:spPr>
            <a:xfrm>
              <a:off x="6394307" y="1288275"/>
              <a:ext cx="0" cy="4250638"/>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6" name="Rectangle: Rounded Corners 55">
              <a:extLst>
                <a:ext uri="{FF2B5EF4-FFF2-40B4-BE49-F238E27FC236}">
                  <a16:creationId xmlns:a16="http://schemas.microsoft.com/office/drawing/2014/main" id="{1EC6A37E-2B36-6835-8152-55B724D4F534}"/>
                </a:ext>
              </a:extLst>
            </p:cNvPr>
            <p:cNvSpPr/>
            <p:nvPr/>
          </p:nvSpPr>
          <p:spPr bwMode="auto">
            <a:xfrm>
              <a:off x="3120568" y="319856"/>
              <a:ext cx="6547478" cy="6187479"/>
            </a:xfrm>
            <a:prstGeom prst="roundRect">
              <a:avLst>
                <a:gd name="adj" fmla="val 2732"/>
              </a:avLst>
            </a:prstGeom>
            <a:noFill/>
            <a:ln w="41275"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77" name="Rectangle: Rounded Corners 76">
              <a:extLst>
                <a:ext uri="{FF2B5EF4-FFF2-40B4-BE49-F238E27FC236}">
                  <a16:creationId xmlns:a16="http://schemas.microsoft.com/office/drawing/2014/main" id="{E588C093-BB43-4B67-65F3-63669B4AF3FA}"/>
                </a:ext>
              </a:extLst>
            </p:cNvPr>
            <p:cNvSpPr>
              <a:spLocks/>
            </p:cNvSpPr>
            <p:nvPr/>
          </p:nvSpPr>
          <p:spPr>
            <a:xfrm>
              <a:off x="6484617" y="1417798"/>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8" name="Rectangle: Rounded Corners 77">
              <a:extLst>
                <a:ext uri="{FF2B5EF4-FFF2-40B4-BE49-F238E27FC236}">
                  <a16:creationId xmlns:a16="http://schemas.microsoft.com/office/drawing/2014/main" id="{A1885123-10BB-A48C-1E65-6455B0107880}"/>
                </a:ext>
              </a:extLst>
            </p:cNvPr>
            <p:cNvSpPr>
              <a:spLocks/>
            </p:cNvSpPr>
            <p:nvPr/>
          </p:nvSpPr>
          <p:spPr>
            <a:xfrm>
              <a:off x="6484617" y="2828369"/>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9" name="Rectangle: Rounded Corners 78">
              <a:extLst>
                <a:ext uri="{FF2B5EF4-FFF2-40B4-BE49-F238E27FC236}">
                  <a16:creationId xmlns:a16="http://schemas.microsoft.com/office/drawing/2014/main" id="{A14E54D4-4B1E-B323-A378-691D9271D3F6}"/>
                </a:ext>
              </a:extLst>
            </p:cNvPr>
            <p:cNvSpPr/>
            <p:nvPr/>
          </p:nvSpPr>
          <p:spPr>
            <a:xfrm>
              <a:off x="3850823" y="1420811"/>
              <a:ext cx="1811456" cy="4011059"/>
            </a:xfrm>
            <a:prstGeom prst="roundRect">
              <a:avLst>
                <a:gd name="adj" fmla="val 832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82" name="Rectangle: Rounded Corners 81">
              <a:extLst>
                <a:ext uri="{FF2B5EF4-FFF2-40B4-BE49-F238E27FC236}">
                  <a16:creationId xmlns:a16="http://schemas.microsoft.com/office/drawing/2014/main" id="{06E802E6-21E8-E019-F3B5-F7D83F81AFD2}"/>
                </a:ext>
              </a:extLst>
            </p:cNvPr>
            <p:cNvSpPr/>
            <p:nvPr/>
          </p:nvSpPr>
          <p:spPr bwMode="auto">
            <a:xfrm>
              <a:off x="3368847" y="5775960"/>
              <a:ext cx="6050920" cy="494328"/>
            </a:xfrm>
            <a:prstGeom prst="roundRect">
              <a:avLst>
                <a:gd name="adj" fmla="val 9368"/>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89" name="Rectangle: Rounded Corners 88">
              <a:extLst>
                <a:ext uri="{FF2B5EF4-FFF2-40B4-BE49-F238E27FC236}">
                  <a16:creationId xmlns:a16="http://schemas.microsoft.com/office/drawing/2014/main" id="{CB0C48FD-CF10-48A2-0852-22A532BAF22F}"/>
                </a:ext>
              </a:extLst>
            </p:cNvPr>
            <p:cNvSpPr>
              <a:spLocks/>
            </p:cNvSpPr>
            <p:nvPr/>
          </p:nvSpPr>
          <p:spPr>
            <a:xfrm>
              <a:off x="6516661" y="4240322"/>
              <a:ext cx="3051390" cy="1169790"/>
            </a:xfrm>
            <a:prstGeom prst="roundRect">
              <a:avLst>
                <a:gd name="adj" fmla="val 8300"/>
              </a:avLst>
            </a:prstGeom>
            <a:noFill/>
            <a:ln w="19050"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endParaRPr kumimoji="0" lang="en-US" sz="1600" b="0" i="0" u="none" strike="noStrike" kern="1200" cap="none" spc="0" normalizeH="0" baseline="0" noProof="0">
                <a:ln w="3175">
                  <a:noFill/>
                </a:ln>
                <a:solidFill>
                  <a:srgbClr val="FFFFFF"/>
                </a:solidFill>
                <a:effectLst/>
                <a:uLnTx/>
                <a:uFillTx/>
                <a:latin typeface="Segoe UI"/>
                <a:ea typeface="+mn-ea"/>
                <a:cs typeface="+mn-cs"/>
              </a:endParaRPr>
            </a:p>
          </p:txBody>
        </p:sp>
        <p:sp>
          <p:nvSpPr>
            <p:cNvPr id="91" name="Rectangle 90">
              <a:extLst>
                <a:ext uri="{FF2B5EF4-FFF2-40B4-BE49-F238E27FC236}">
                  <a16:creationId xmlns:a16="http://schemas.microsoft.com/office/drawing/2014/main" id="{8FF33CFE-A135-C98D-2E15-9F76D6B7B1B1}"/>
                </a:ext>
              </a:extLst>
            </p:cNvPr>
            <p:cNvSpPr>
              <a:spLocks/>
            </p:cNvSpPr>
            <p:nvPr/>
          </p:nvSpPr>
          <p:spPr>
            <a:xfrm>
              <a:off x="3524107" y="3213539"/>
              <a:ext cx="2466664" cy="40011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rchestrator</a:t>
              </a:r>
            </a:p>
          </p:txBody>
        </p:sp>
        <p:sp>
          <p:nvSpPr>
            <p:cNvPr id="92" name="Rectangle 91">
              <a:extLst>
                <a:ext uri="{FF2B5EF4-FFF2-40B4-BE49-F238E27FC236}">
                  <a16:creationId xmlns:a16="http://schemas.microsoft.com/office/drawing/2014/main" id="{EF8DCE46-C52E-B06D-7720-A4E90AECF96A}"/>
                </a:ext>
              </a:extLst>
            </p:cNvPr>
            <p:cNvSpPr/>
            <p:nvPr/>
          </p:nvSpPr>
          <p:spPr>
            <a:xfrm>
              <a:off x="6455136" y="1681024"/>
              <a:ext cx="315208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Knowledge </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Instructions and Grounding</a:t>
              </a:r>
            </a:p>
          </p:txBody>
        </p:sp>
        <p:sp>
          <p:nvSpPr>
            <p:cNvPr id="93" name="Rectangle 92">
              <a:extLst>
                <a:ext uri="{FF2B5EF4-FFF2-40B4-BE49-F238E27FC236}">
                  <a16:creationId xmlns:a16="http://schemas.microsoft.com/office/drawing/2014/main" id="{B77C58EC-05DE-8867-EC5D-78EE1283EFAA}"/>
                </a:ext>
              </a:extLst>
            </p:cNvPr>
            <p:cNvSpPr/>
            <p:nvPr/>
          </p:nvSpPr>
          <p:spPr>
            <a:xfrm>
              <a:off x="6547030" y="4392112"/>
              <a:ext cx="2968296" cy="877163"/>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Autonomy</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Planning, exceptions, </a:t>
              </a:r>
              <a:br>
                <a:rPr kumimoji="0" lang="en-US" sz="1600" b="0" i="0" u="none" strike="noStrike" kern="1200" cap="none" spc="0" normalizeH="0" baseline="0" noProof="0">
                  <a:ln w="3175">
                    <a:noFill/>
                  </a:ln>
                  <a:solidFill>
                    <a:srgbClr val="FFFFFF"/>
                  </a:solidFill>
                  <a:effectLst/>
                  <a:uLnTx/>
                  <a:uFillTx/>
                  <a:latin typeface="Segoe UI"/>
                  <a:ea typeface="+mn-ea"/>
                  <a:cs typeface="+mn-cs"/>
                </a:rPr>
              </a:br>
              <a:r>
                <a:rPr kumimoji="0" lang="en-US" sz="1600" b="0" i="0" u="none" strike="noStrike" kern="1200" cap="none" spc="0" normalizeH="0" baseline="0" noProof="0">
                  <a:ln w="3175">
                    <a:noFill/>
                  </a:ln>
                  <a:solidFill>
                    <a:srgbClr val="FFFFFF"/>
                  </a:solidFill>
                  <a:effectLst/>
                  <a:uLnTx/>
                  <a:uFillTx/>
                  <a:latin typeface="Segoe UI"/>
                  <a:ea typeface="+mn-ea"/>
                  <a:cs typeface="+mn-cs"/>
                </a:rPr>
                <a:t>self-learning</a:t>
              </a:r>
            </a:p>
          </p:txBody>
        </p:sp>
        <p:sp>
          <p:nvSpPr>
            <p:cNvPr id="94" name="Rectangle 93">
              <a:extLst>
                <a:ext uri="{FF2B5EF4-FFF2-40B4-BE49-F238E27FC236}">
                  <a16:creationId xmlns:a16="http://schemas.microsoft.com/office/drawing/2014/main" id="{E8A59E2B-1705-6D41-DE72-FB348CBED092}"/>
                </a:ext>
              </a:extLst>
            </p:cNvPr>
            <p:cNvSpPr/>
            <p:nvPr/>
          </p:nvSpPr>
          <p:spPr>
            <a:xfrm>
              <a:off x="6458066" y="3098123"/>
              <a:ext cx="3146225" cy="630942"/>
            </a:xfrm>
            <a:prstGeom prst="rect">
              <a:avLst/>
            </a:prstGeom>
            <a:noFill/>
            <a:ln w="635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2000" b="0" i="0" u="none" strike="noStrike" kern="1200" cap="none" spc="0" normalizeH="0" baseline="0" noProof="0">
                  <a:ln w="3175">
                    <a:noFill/>
                  </a:ln>
                  <a:solidFill>
                    <a:srgbClr val="FFFFFF"/>
                  </a:solidFill>
                  <a:effectLst/>
                  <a:uLnTx/>
                  <a:uFillTx/>
                  <a:latin typeface="Segoe UI Semibold"/>
                  <a:ea typeface="+mn-ea"/>
                  <a:cs typeface="+mn-cs"/>
                </a:rPr>
                <a:t>Skills</a:t>
              </a:r>
            </a:p>
            <a:p>
              <a:pPr marL="0" marR="0" lvl="0" indent="0" algn="ctr" defTabSz="760067" rtl="0" eaLnBrk="1" fontAlgn="base" latinLnBrk="0" hangingPunct="1">
                <a:lnSpc>
                  <a:spcPct val="100000"/>
                </a:lnSpc>
                <a:spcBef>
                  <a:spcPct val="0"/>
                </a:spcBef>
                <a:spcAft>
                  <a:spcPts val="600"/>
                </a:spcAft>
                <a:buClrTx/>
                <a:buSzTx/>
                <a:buFontTx/>
                <a:buNone/>
                <a:tabLst>
                  <a:tab pos="750370" algn="l"/>
                </a:tabLst>
                <a:defRPr/>
              </a:pPr>
              <a:r>
                <a:rPr kumimoji="0" lang="en-US" sz="1600" b="0" i="0" u="none" strike="noStrike" kern="1200" cap="none" spc="0" normalizeH="0" baseline="0" noProof="0">
                  <a:ln w="3175">
                    <a:noFill/>
                  </a:ln>
                  <a:solidFill>
                    <a:srgbClr val="FFFFFF"/>
                  </a:solidFill>
                  <a:effectLst/>
                  <a:uLnTx/>
                  <a:uFillTx/>
                  <a:latin typeface="Segoe UI"/>
                  <a:ea typeface="+mn-ea"/>
                  <a:cs typeface="+mn-cs"/>
                </a:rPr>
                <a:t>Actions, triggers, workflows</a:t>
              </a:r>
            </a:p>
          </p:txBody>
        </p:sp>
        <p:sp>
          <p:nvSpPr>
            <p:cNvPr id="109" name="Rectangle 108">
              <a:extLst>
                <a:ext uri="{FF2B5EF4-FFF2-40B4-BE49-F238E27FC236}">
                  <a16:creationId xmlns:a16="http://schemas.microsoft.com/office/drawing/2014/main" id="{29AA2D29-B183-9C53-A98D-6CE25EFEF340}"/>
                </a:ext>
              </a:extLst>
            </p:cNvPr>
            <p:cNvSpPr>
              <a:spLocks/>
            </p:cNvSpPr>
            <p:nvPr/>
          </p:nvSpPr>
          <p:spPr>
            <a:xfrm>
              <a:off x="3623170" y="650178"/>
              <a:ext cx="1851469" cy="307777"/>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User experience</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22" name="Group 221">
              <a:extLst>
                <a:ext uri="{FF2B5EF4-FFF2-40B4-BE49-F238E27FC236}">
                  <a16:creationId xmlns:a16="http://schemas.microsoft.com/office/drawing/2014/main" id="{5EBD348B-D4B6-B85E-D4CF-3551AF9ACDFC}"/>
                </a:ext>
              </a:extLst>
            </p:cNvPr>
            <p:cNvGrpSpPr/>
            <p:nvPr/>
          </p:nvGrpSpPr>
          <p:grpSpPr>
            <a:xfrm>
              <a:off x="5628818" y="619914"/>
              <a:ext cx="3768157" cy="368306"/>
              <a:chOff x="5628818" y="619914"/>
              <a:chExt cx="3768157" cy="368306"/>
            </a:xfrm>
          </p:grpSpPr>
          <p:sp>
            <p:nvSpPr>
              <p:cNvPr id="158" name="Rectangle: Rounded Corners 157">
                <a:extLst>
                  <a:ext uri="{FF2B5EF4-FFF2-40B4-BE49-F238E27FC236}">
                    <a16:creationId xmlns:a16="http://schemas.microsoft.com/office/drawing/2014/main" id="{833DC7D3-D5BA-AEDA-FB8A-4F85BCA3744A}"/>
                  </a:ext>
                </a:extLst>
              </p:cNvPr>
              <p:cNvSpPr>
                <a:spLocks/>
              </p:cNvSpPr>
              <p:nvPr/>
            </p:nvSpPr>
            <p:spPr bwMode="auto">
              <a:xfrm>
                <a:off x="8160794" y="619914"/>
                <a:ext cx="606627"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59" name="Rectangle: Rounded Corners 158">
                <a:extLst>
                  <a:ext uri="{FF2B5EF4-FFF2-40B4-BE49-F238E27FC236}">
                    <a16:creationId xmlns:a16="http://schemas.microsoft.com/office/drawing/2014/main" id="{F58D12F7-CC91-2A9B-9F41-A4A2D6F0C318}"/>
                  </a:ext>
                </a:extLst>
              </p:cNvPr>
              <p:cNvSpPr>
                <a:spLocks/>
              </p:cNvSpPr>
              <p:nvPr/>
            </p:nvSpPr>
            <p:spPr bwMode="auto">
              <a:xfrm>
                <a:off x="8808015"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0" name="Rectangle: Rounded Corners 159">
                <a:extLst>
                  <a:ext uri="{FF2B5EF4-FFF2-40B4-BE49-F238E27FC236}">
                    <a16:creationId xmlns:a16="http://schemas.microsoft.com/office/drawing/2014/main" id="{2DF64BB7-C768-B75C-923E-15D3B6E24595}"/>
                  </a:ext>
                </a:extLst>
              </p:cNvPr>
              <p:cNvSpPr>
                <a:spLocks/>
              </p:cNvSpPr>
              <p:nvPr/>
            </p:nvSpPr>
            <p:spPr bwMode="auto">
              <a:xfrm>
                <a:off x="6910681"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1" name="Rectangle: Rounded Corners 160">
                <a:extLst>
                  <a:ext uri="{FF2B5EF4-FFF2-40B4-BE49-F238E27FC236}">
                    <a16:creationId xmlns:a16="http://schemas.microsoft.com/office/drawing/2014/main" id="{90B259CD-8768-D737-4C8B-0343457C90B0}"/>
                  </a:ext>
                </a:extLst>
              </p:cNvPr>
              <p:cNvSpPr>
                <a:spLocks/>
              </p:cNvSpPr>
              <p:nvPr/>
            </p:nvSpPr>
            <p:spPr bwMode="auto">
              <a:xfrm>
                <a:off x="7531239" y="619914"/>
                <a:ext cx="588960"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2" name="Rectangle: Rounded Corners 161">
                <a:extLst>
                  <a:ext uri="{FF2B5EF4-FFF2-40B4-BE49-F238E27FC236}">
                    <a16:creationId xmlns:a16="http://schemas.microsoft.com/office/drawing/2014/main" id="{3AC68B9D-EE29-BF75-4219-437C984F060E}"/>
                  </a:ext>
                </a:extLst>
              </p:cNvPr>
              <p:cNvSpPr>
                <a:spLocks/>
              </p:cNvSpPr>
              <p:nvPr/>
            </p:nvSpPr>
            <p:spPr bwMode="auto">
              <a:xfrm>
                <a:off x="5628818" y="619914"/>
                <a:ext cx="579964"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Semibold"/>
                  <a:ea typeface="+mn-ea"/>
                  <a:cs typeface="Segoe UI" pitchFamily="34" charset="0"/>
                </a:endParaRPr>
              </a:p>
            </p:txBody>
          </p:sp>
          <p:sp>
            <p:nvSpPr>
              <p:cNvPr id="163" name="Rectangle: Rounded Corners 162">
                <a:extLst>
                  <a:ext uri="{FF2B5EF4-FFF2-40B4-BE49-F238E27FC236}">
                    <a16:creationId xmlns:a16="http://schemas.microsoft.com/office/drawing/2014/main" id="{B4CD08E0-1D05-47BF-5383-B94C7F809FFC}"/>
                  </a:ext>
                </a:extLst>
              </p:cNvPr>
              <p:cNvSpPr>
                <a:spLocks/>
              </p:cNvSpPr>
              <p:nvPr/>
            </p:nvSpPr>
            <p:spPr bwMode="auto">
              <a:xfrm>
                <a:off x="6246201" y="619914"/>
                <a:ext cx="621792" cy="368306"/>
              </a:xfrm>
              <a:prstGeom prst="roundRect">
                <a:avLst/>
              </a:prstGeom>
              <a:solidFill>
                <a:srgbClr val="2235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64" name="Rectangle 163">
                <a:extLst>
                  <a:ext uri="{FF2B5EF4-FFF2-40B4-BE49-F238E27FC236}">
                    <a16:creationId xmlns:a16="http://schemas.microsoft.com/office/drawing/2014/main" id="{FE538EDC-5EBA-A34E-9932-BA14A4708FCE}"/>
                  </a:ext>
                </a:extLst>
              </p:cNvPr>
              <p:cNvSpPr>
                <a:spLocks/>
              </p:cNvSpPr>
              <p:nvPr/>
            </p:nvSpPr>
            <p:spPr>
              <a:xfrm>
                <a:off x="8846015" y="757901"/>
                <a:ext cx="509755" cy="9233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Segoe UI"/>
                    <a:ea typeface="+mn-ea"/>
                    <a:cs typeface="Segoe UI" pitchFamily="34" charset="0"/>
                  </a:rPr>
                  <a:t>Other channels</a:t>
                </a:r>
              </a:p>
            </p:txBody>
          </p:sp>
          <p:pic>
            <p:nvPicPr>
              <p:cNvPr id="165" name="Graphic 6">
                <a:extLst>
                  <a:ext uri="{FF2B5EF4-FFF2-40B4-BE49-F238E27FC236}">
                    <a16:creationId xmlns:a16="http://schemas.microsoft.com/office/drawing/2014/main" id="{A9446043-CCB1-8D4C-3F69-40BC02ED0898}"/>
                  </a:ext>
                </a:extLst>
              </p:cNvPr>
              <p:cNvPicPr>
                <a:picLocks/>
              </p:cNvPicPr>
              <p:nvPr/>
            </p:nvPicPr>
            <p:blipFill>
              <a:blip r:embed="rId3">
                <a:extLst>
                  <a:ext uri="{28A0092B-C50C-407E-A947-70E740481C1C}">
                    <a14:useLocalDpi xmlns:a14="http://schemas.microsoft.com/office/drawing/2010/main" val="0"/>
                  </a:ext>
                </a:extLst>
              </a:blip>
              <a:srcRect/>
              <a:stretch/>
            </p:blipFill>
            <p:spPr>
              <a:xfrm>
                <a:off x="5690737" y="758141"/>
                <a:ext cx="98592" cy="91852"/>
              </a:xfrm>
              <a:prstGeom prst="rect">
                <a:avLst/>
              </a:prstGeom>
              <a:effectLst>
                <a:outerShdw blurRad="215011" dist="63500" dir="2700000" algn="tl" rotWithShape="0">
                  <a:srgbClr val="000000">
                    <a:alpha val="24174"/>
                  </a:srgbClr>
                </a:outerShdw>
              </a:effectLst>
            </p:spPr>
          </p:pic>
          <p:sp>
            <p:nvSpPr>
              <p:cNvPr id="166" name="Rectangle 165">
                <a:extLst>
                  <a:ext uri="{FF2B5EF4-FFF2-40B4-BE49-F238E27FC236}">
                    <a16:creationId xmlns:a16="http://schemas.microsoft.com/office/drawing/2014/main" id="{881C04B4-4392-CC4F-D0F9-B26920D6C280}"/>
                  </a:ext>
                </a:extLst>
              </p:cNvPr>
              <p:cNvSpPr>
                <a:spLocks/>
              </p:cNvSpPr>
              <p:nvPr/>
            </p:nvSpPr>
            <p:spPr>
              <a:xfrm>
                <a:off x="5817907" y="727123"/>
                <a:ext cx="286938"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Teams</a:t>
                </a:r>
              </a:p>
            </p:txBody>
          </p:sp>
          <p:pic>
            <p:nvPicPr>
              <p:cNvPr id="189" name="Picture 188" descr="A rainbow colored logo on a black background&#10;&#10;Description automatically generated">
                <a:extLst>
                  <a:ext uri="{FF2B5EF4-FFF2-40B4-BE49-F238E27FC236}">
                    <a16:creationId xmlns:a16="http://schemas.microsoft.com/office/drawing/2014/main" id="{ADB98997-0EB3-5911-76FC-9536FE5414EA}"/>
                  </a:ext>
                </a:extLst>
              </p:cNvPr>
              <p:cNvPicPr>
                <a:picLocks/>
              </p:cNvPicPr>
              <p:nvPr/>
            </p:nvPicPr>
            <p:blipFill>
              <a:blip r:embed="rId4"/>
              <a:srcRect l="20655" r="20655"/>
              <a:stretch/>
            </p:blipFill>
            <p:spPr>
              <a:xfrm>
                <a:off x="6308120" y="753685"/>
                <a:ext cx="105136" cy="100764"/>
              </a:xfrm>
              <a:prstGeom prst="rect">
                <a:avLst/>
              </a:prstGeom>
            </p:spPr>
          </p:pic>
          <p:sp>
            <p:nvSpPr>
              <p:cNvPr id="191" name="Rectangle 190">
                <a:extLst>
                  <a:ext uri="{FF2B5EF4-FFF2-40B4-BE49-F238E27FC236}">
                    <a16:creationId xmlns:a16="http://schemas.microsoft.com/office/drawing/2014/main" id="{1C323763-7B17-94AC-AC2A-6F9DDA2C9CFF}"/>
                  </a:ext>
                </a:extLst>
              </p:cNvPr>
              <p:cNvSpPr>
                <a:spLocks/>
              </p:cNvSpPr>
              <p:nvPr/>
            </p:nvSpPr>
            <p:spPr>
              <a:xfrm>
                <a:off x="6441834" y="727123"/>
                <a:ext cx="392736"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icrosoft 365</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Copilot</a:t>
                </a:r>
              </a:p>
            </p:txBody>
          </p:sp>
          <p:pic>
            <p:nvPicPr>
              <p:cNvPr id="192" name="Picture 191" descr="A logo of a social media network&#10;&#10;Description automatically generated">
                <a:extLst>
                  <a:ext uri="{FF2B5EF4-FFF2-40B4-BE49-F238E27FC236}">
                    <a16:creationId xmlns:a16="http://schemas.microsoft.com/office/drawing/2014/main" id="{1998BD35-3DE4-B827-BCE0-07C27A320D34}"/>
                  </a:ext>
                </a:extLst>
              </p:cNvPr>
              <p:cNvPicPr>
                <a:picLocks noChangeAspect="1"/>
              </p:cNvPicPr>
              <p:nvPr/>
            </p:nvPicPr>
            <p:blipFill>
              <a:blip r:embed="rId5"/>
              <a:stretch>
                <a:fillRect/>
              </a:stretch>
            </p:blipFill>
            <p:spPr>
              <a:xfrm>
                <a:off x="6972600" y="748654"/>
                <a:ext cx="110826" cy="110826"/>
              </a:xfrm>
              <a:prstGeom prst="rect">
                <a:avLst/>
              </a:prstGeom>
            </p:spPr>
          </p:pic>
          <p:sp>
            <p:nvSpPr>
              <p:cNvPr id="198" name="Rectangle 197">
                <a:extLst>
                  <a:ext uri="{FF2B5EF4-FFF2-40B4-BE49-F238E27FC236}">
                    <a16:creationId xmlns:a16="http://schemas.microsoft.com/office/drawing/2014/main" id="{F49917AA-3FD3-3C8A-157A-0DCA2A3F8799}"/>
                  </a:ext>
                </a:extLst>
              </p:cNvPr>
              <p:cNvSpPr>
                <a:spLocks/>
              </p:cNvSpPr>
              <p:nvPr/>
            </p:nvSpPr>
            <p:spPr>
              <a:xfrm>
                <a:off x="7112004" y="765595"/>
                <a:ext cx="310983"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Messenger</a:t>
                </a:r>
              </a:p>
            </p:txBody>
          </p:sp>
          <p:pic>
            <p:nvPicPr>
              <p:cNvPr id="199" name="Graphic 198">
                <a:extLst>
                  <a:ext uri="{FF2B5EF4-FFF2-40B4-BE49-F238E27FC236}">
                    <a16:creationId xmlns:a16="http://schemas.microsoft.com/office/drawing/2014/main" id="{82AA3ABC-14EC-742A-3568-69BBBD981E0C}"/>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7593158" y="741412"/>
                <a:ext cx="125310" cy="125310"/>
              </a:xfrm>
              <a:prstGeom prst="rect">
                <a:avLst/>
              </a:prstGeom>
            </p:spPr>
          </p:pic>
          <p:sp>
            <p:nvSpPr>
              <p:cNvPr id="200" name="Rectangle 199">
                <a:extLst>
                  <a:ext uri="{FF2B5EF4-FFF2-40B4-BE49-F238E27FC236}">
                    <a16:creationId xmlns:a16="http://schemas.microsoft.com/office/drawing/2014/main" id="{A469A293-A536-9EC0-5EF6-DDD7A72B77E4}"/>
                  </a:ext>
                </a:extLst>
              </p:cNvPr>
              <p:cNvSpPr>
                <a:spLocks/>
              </p:cNvSpPr>
              <p:nvPr/>
            </p:nvSpPr>
            <p:spPr>
              <a:xfrm>
                <a:off x="7747046" y="727123"/>
                <a:ext cx="339837" cy="153888"/>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hite label </a:t>
                </a:r>
                <a:b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b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Web chat</a:t>
                </a:r>
              </a:p>
            </p:txBody>
          </p:sp>
          <p:pic>
            <p:nvPicPr>
              <p:cNvPr id="201" name="Graphic 200">
                <a:extLst>
                  <a:ext uri="{FF2B5EF4-FFF2-40B4-BE49-F238E27FC236}">
                    <a16:creationId xmlns:a16="http://schemas.microsoft.com/office/drawing/2014/main" id="{9606FC65-56C8-9F09-B2CD-58FEFD29631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222713" y="733808"/>
                <a:ext cx="140518" cy="140518"/>
              </a:xfrm>
              <a:prstGeom prst="rect">
                <a:avLst/>
              </a:prstGeom>
            </p:spPr>
          </p:pic>
          <p:sp>
            <p:nvSpPr>
              <p:cNvPr id="202" name="Rectangle 201">
                <a:extLst>
                  <a:ext uri="{FF2B5EF4-FFF2-40B4-BE49-F238E27FC236}">
                    <a16:creationId xmlns:a16="http://schemas.microsoft.com/office/drawing/2014/main" id="{3AD12107-3BB7-BBDD-1F1A-0B7CF462FB30}"/>
                  </a:ext>
                </a:extLst>
              </p:cNvPr>
              <p:cNvSpPr>
                <a:spLocks/>
              </p:cNvSpPr>
              <p:nvPr/>
            </p:nvSpPr>
            <p:spPr>
              <a:xfrm>
                <a:off x="8391809" y="765595"/>
                <a:ext cx="150682" cy="76944"/>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Segoe UI"/>
                    <a:ea typeface="+mn-ea"/>
                    <a:cs typeface="Segoe UI" pitchFamily="34" charset="0"/>
                  </a:rPr>
                  <a:t>Email</a:t>
                </a:r>
              </a:p>
            </p:txBody>
          </p:sp>
        </p:grpSp>
        <p:cxnSp>
          <p:nvCxnSpPr>
            <p:cNvPr id="52" name="Straight Arrow Connector 51">
              <a:extLst>
                <a:ext uri="{FF2B5EF4-FFF2-40B4-BE49-F238E27FC236}">
                  <a16:creationId xmlns:a16="http://schemas.microsoft.com/office/drawing/2014/main" id="{CAFBA521-8F8E-B43F-21EF-4CA89093E03E}"/>
                </a:ext>
              </a:extLst>
            </p:cNvPr>
            <p:cNvCxnSpPr>
              <a:cxnSpLocks/>
            </p:cNvCxnSpPr>
            <p:nvPr/>
          </p:nvCxnSpPr>
          <p:spPr>
            <a:xfrm rot="5400000">
              <a:off x="6394307" y="466876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44FBD106-0339-C3E2-D008-B4C8F3EDC131}"/>
                </a:ext>
              </a:extLst>
            </p:cNvPr>
            <p:cNvCxnSpPr>
              <a:cxnSpLocks/>
            </p:cNvCxnSpPr>
            <p:nvPr/>
          </p:nvCxnSpPr>
          <p:spPr>
            <a:xfrm>
              <a:off x="8031177" y="537698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4346627-D0E5-682A-C746-9D540F5E1F2E}"/>
                </a:ext>
              </a:extLst>
            </p:cNvPr>
            <p:cNvCxnSpPr>
              <a:cxnSpLocks/>
            </p:cNvCxnSpPr>
            <p:nvPr/>
          </p:nvCxnSpPr>
          <p:spPr>
            <a:xfrm>
              <a:off x="4757436" y="1126350"/>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4E0B530-D8A7-6652-5653-CAC4C9FC5CC6}"/>
                </a:ext>
              </a:extLst>
            </p:cNvPr>
            <p:cNvCxnSpPr>
              <a:cxnSpLocks/>
            </p:cNvCxnSpPr>
            <p:nvPr/>
          </p:nvCxnSpPr>
          <p:spPr>
            <a:xfrm>
              <a:off x="4757436" y="537698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81055DE7-F506-7E8C-86F8-6617E5FDA7FC}"/>
                </a:ext>
              </a:extLst>
            </p:cNvPr>
            <p:cNvCxnSpPr>
              <a:cxnSpLocks/>
            </p:cNvCxnSpPr>
            <p:nvPr/>
          </p:nvCxnSpPr>
          <p:spPr>
            <a:xfrm rot="5400000">
              <a:off x="6394307" y="1834570"/>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144B82F3-4DB5-0F94-CE64-6FB6DA3BB1D8}"/>
                </a:ext>
              </a:extLst>
            </p:cNvPr>
            <p:cNvCxnSpPr>
              <a:cxnSpLocks/>
            </p:cNvCxnSpPr>
            <p:nvPr/>
          </p:nvCxnSpPr>
          <p:spPr>
            <a:xfrm rot="5400000">
              <a:off x="6394307" y="3251669"/>
              <a:ext cx="0" cy="323850"/>
            </a:xfrm>
            <a:prstGeom prst="straightConnector1">
              <a:avLst/>
            </a:prstGeom>
            <a:ln w="22225">
              <a:solidFill>
                <a:schemeClr val="bg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5F4FDAC-603D-7D1C-F0E3-5F70950B707E}"/>
                </a:ext>
              </a:extLst>
            </p:cNvPr>
            <p:cNvCxnSpPr>
              <a:cxnSpLocks/>
            </p:cNvCxnSpPr>
            <p:nvPr/>
          </p:nvCxnSpPr>
          <p:spPr>
            <a:xfrm flipH="1">
              <a:off x="9685942" y="3413595"/>
              <a:ext cx="334343" cy="0"/>
            </a:xfrm>
            <a:prstGeom prst="straightConnector1">
              <a:avLst/>
            </a:prstGeom>
            <a:ln w="22225">
              <a:solidFill>
                <a:schemeClr val="tx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1EE1FB2F-1FD0-2EBA-A8E3-B7B4D4554B18}"/>
              </a:ext>
              <a:ext uri="{C183D7F6-B498-43B3-948B-1728B52AA6E4}">
                <adec:decorative xmlns:adec="http://schemas.microsoft.com/office/drawing/2017/decorative" val="1"/>
              </a:ext>
            </a:extLst>
          </p:cNvPr>
          <p:cNvGrpSpPr/>
          <p:nvPr/>
        </p:nvGrpSpPr>
        <p:grpSpPr>
          <a:xfrm>
            <a:off x="10038180" y="1436260"/>
            <a:ext cx="1804479" cy="4109440"/>
            <a:chOff x="10038180" y="1436260"/>
            <a:chExt cx="1804479" cy="4109440"/>
          </a:xfrm>
        </p:grpSpPr>
        <p:sp>
          <p:nvSpPr>
            <p:cNvPr id="5" name="Rectangle: Rounded Corners 4">
              <a:extLst>
                <a:ext uri="{FF2B5EF4-FFF2-40B4-BE49-F238E27FC236}">
                  <a16:creationId xmlns:a16="http://schemas.microsoft.com/office/drawing/2014/main" id="{9BC8DF57-40D3-020C-76A7-06BD8B183801}"/>
                </a:ext>
              </a:extLst>
            </p:cNvPr>
            <p:cNvSpPr/>
            <p:nvPr/>
          </p:nvSpPr>
          <p:spPr>
            <a:xfrm>
              <a:off x="10038180" y="1436260"/>
              <a:ext cx="1804479" cy="4109440"/>
            </a:xfrm>
            <a:prstGeom prst="roundRect">
              <a:avLst>
                <a:gd name="adj" fmla="val 10057"/>
              </a:avLst>
            </a:prstGeom>
            <a:solidFill>
              <a:schemeClr val="bg1">
                <a:lumMod val="95000"/>
                <a:alpha val="38000"/>
              </a:schemeClr>
            </a:solidFill>
            <a:ln w="9525" cap="flat" cmpd="sng" algn="ctr">
              <a:solidFill>
                <a:schemeClr val="tx1">
                  <a:lumMod val="50000"/>
                  <a:lumOff val="50000"/>
                </a:schemeClr>
              </a:soli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grpSp>
          <p:nvGrpSpPr>
            <p:cNvPr id="6" name="Group 5">
              <a:extLst>
                <a:ext uri="{FF2B5EF4-FFF2-40B4-BE49-F238E27FC236}">
                  <a16:creationId xmlns:a16="http://schemas.microsoft.com/office/drawing/2014/main" id="{96B499AC-E079-DD30-CBAD-F2D025D73989}"/>
                </a:ext>
              </a:extLst>
            </p:cNvPr>
            <p:cNvGrpSpPr/>
            <p:nvPr/>
          </p:nvGrpSpPr>
          <p:grpSpPr>
            <a:xfrm>
              <a:off x="10395074" y="2088940"/>
              <a:ext cx="1094325" cy="3217834"/>
              <a:chOff x="10395074" y="2088940"/>
              <a:chExt cx="1094325" cy="3217834"/>
            </a:xfrm>
          </p:grpSpPr>
          <p:sp>
            <p:nvSpPr>
              <p:cNvPr id="9" name="Rectangle: Rounded Corners 8">
                <a:extLst>
                  <a:ext uri="{FF2B5EF4-FFF2-40B4-BE49-F238E27FC236}">
                    <a16:creationId xmlns:a16="http://schemas.microsoft.com/office/drawing/2014/main" id="{8C5CA1D2-D3BD-B928-5A7B-7C81DA34574D}"/>
                  </a:ext>
                </a:extLst>
              </p:cNvPr>
              <p:cNvSpPr/>
              <p:nvPr/>
            </p:nvSpPr>
            <p:spPr bwMode="auto">
              <a:xfrm>
                <a:off x="10398709" y="2088940"/>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0" name="Rectangle: Rounded Corners 9">
                <a:extLst>
                  <a:ext uri="{FF2B5EF4-FFF2-40B4-BE49-F238E27FC236}">
                    <a16:creationId xmlns:a16="http://schemas.microsoft.com/office/drawing/2014/main" id="{7FD75595-23B8-FA5D-2BC0-8A7C3298CF7E}"/>
                  </a:ext>
                </a:extLst>
              </p:cNvPr>
              <p:cNvSpPr/>
              <p:nvPr/>
            </p:nvSpPr>
            <p:spPr>
              <a:xfrm>
                <a:off x="10492147" y="2143629"/>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1" name="Rectangle: Rounded Corners 10">
                <a:extLst>
                  <a:ext uri="{FF2B5EF4-FFF2-40B4-BE49-F238E27FC236}">
                    <a16:creationId xmlns:a16="http://schemas.microsoft.com/office/drawing/2014/main" id="{1D1DA2B7-DD95-9520-E061-0FEA151F1926}"/>
                  </a:ext>
                </a:extLst>
              </p:cNvPr>
              <p:cNvSpPr/>
              <p:nvPr/>
            </p:nvSpPr>
            <p:spPr>
              <a:xfrm>
                <a:off x="10489020" y="2307446"/>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2" name="Rectangle: Rounded Corners 11">
                <a:extLst>
                  <a:ext uri="{FF2B5EF4-FFF2-40B4-BE49-F238E27FC236}">
                    <a16:creationId xmlns:a16="http://schemas.microsoft.com/office/drawing/2014/main" id="{355027A2-63C1-52F7-4F52-7A803899459B}"/>
                  </a:ext>
                </a:extLst>
              </p:cNvPr>
              <p:cNvSpPr/>
              <p:nvPr/>
            </p:nvSpPr>
            <p:spPr>
              <a:xfrm>
                <a:off x="10481870" y="2831279"/>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3" name="Rectangle: Rounded Corners 12">
                <a:extLst>
                  <a:ext uri="{FF2B5EF4-FFF2-40B4-BE49-F238E27FC236}">
                    <a16:creationId xmlns:a16="http://schemas.microsoft.com/office/drawing/2014/main" id="{E1280554-F3ED-1F61-E024-78D7B77E693E}"/>
                  </a:ext>
                </a:extLst>
              </p:cNvPr>
              <p:cNvSpPr/>
              <p:nvPr/>
            </p:nvSpPr>
            <p:spPr>
              <a:xfrm>
                <a:off x="10846820" y="2325717"/>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4" name="Rectangle: Rounded Corners 13">
                <a:extLst>
                  <a:ext uri="{FF2B5EF4-FFF2-40B4-BE49-F238E27FC236}">
                    <a16:creationId xmlns:a16="http://schemas.microsoft.com/office/drawing/2014/main" id="{F420750F-EECC-75B0-DAD0-09C3970D5071}"/>
                  </a:ext>
                </a:extLst>
              </p:cNvPr>
              <p:cNvSpPr/>
              <p:nvPr/>
            </p:nvSpPr>
            <p:spPr>
              <a:xfrm>
                <a:off x="10846820" y="2488895"/>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5" name="Rectangle: Rounded Corners 14">
                <a:extLst>
                  <a:ext uri="{FF2B5EF4-FFF2-40B4-BE49-F238E27FC236}">
                    <a16:creationId xmlns:a16="http://schemas.microsoft.com/office/drawing/2014/main" id="{4455FDCB-68AB-A060-2E5D-8B0CCC100327}"/>
                  </a:ext>
                </a:extLst>
              </p:cNvPr>
              <p:cNvSpPr/>
              <p:nvPr/>
            </p:nvSpPr>
            <p:spPr>
              <a:xfrm>
                <a:off x="10846820" y="2649191"/>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16" name="Rectangle: Rounded Corners 15">
                <a:extLst>
                  <a:ext uri="{FF2B5EF4-FFF2-40B4-BE49-F238E27FC236}">
                    <a16:creationId xmlns:a16="http://schemas.microsoft.com/office/drawing/2014/main" id="{A499CFC5-4B7A-86FB-48F8-C39A888FD01D}"/>
                  </a:ext>
                </a:extLst>
              </p:cNvPr>
              <p:cNvSpPr/>
              <p:nvPr/>
            </p:nvSpPr>
            <p:spPr bwMode="auto">
              <a:xfrm>
                <a:off x="10395074" y="325016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17" name="Rectangle: Rounded Corners 16">
                <a:extLst>
                  <a:ext uri="{FF2B5EF4-FFF2-40B4-BE49-F238E27FC236}">
                    <a16:creationId xmlns:a16="http://schemas.microsoft.com/office/drawing/2014/main" id="{7722B5DF-9A5E-E6C4-0F2D-63A51A39661B}"/>
                  </a:ext>
                </a:extLst>
              </p:cNvPr>
              <p:cNvSpPr/>
              <p:nvPr/>
            </p:nvSpPr>
            <p:spPr>
              <a:xfrm>
                <a:off x="10488512" y="330485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8" name="Rectangle: Rounded Corners 17">
                <a:extLst>
                  <a:ext uri="{FF2B5EF4-FFF2-40B4-BE49-F238E27FC236}">
                    <a16:creationId xmlns:a16="http://schemas.microsoft.com/office/drawing/2014/main" id="{CDD925C3-CC99-D317-AD0B-DBBA0FE19611}"/>
                  </a:ext>
                </a:extLst>
              </p:cNvPr>
              <p:cNvSpPr/>
              <p:nvPr/>
            </p:nvSpPr>
            <p:spPr>
              <a:xfrm>
                <a:off x="10485385" y="346867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19" name="Rectangle: Rounded Corners 18">
                <a:extLst>
                  <a:ext uri="{FF2B5EF4-FFF2-40B4-BE49-F238E27FC236}">
                    <a16:creationId xmlns:a16="http://schemas.microsoft.com/office/drawing/2014/main" id="{68A11A94-071F-7FD6-D8D8-841460273925}"/>
                  </a:ext>
                </a:extLst>
              </p:cNvPr>
              <p:cNvSpPr/>
              <p:nvPr/>
            </p:nvSpPr>
            <p:spPr>
              <a:xfrm>
                <a:off x="10478235" y="399250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0" name="Rectangle: Rounded Corners 19">
                <a:extLst>
                  <a:ext uri="{FF2B5EF4-FFF2-40B4-BE49-F238E27FC236}">
                    <a16:creationId xmlns:a16="http://schemas.microsoft.com/office/drawing/2014/main" id="{96D75682-C4C2-0FB6-6A88-F19C59A46E8E}"/>
                  </a:ext>
                </a:extLst>
              </p:cNvPr>
              <p:cNvSpPr/>
              <p:nvPr/>
            </p:nvSpPr>
            <p:spPr>
              <a:xfrm>
                <a:off x="10843185" y="348694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1" name="Rectangle: Rounded Corners 20">
                <a:extLst>
                  <a:ext uri="{FF2B5EF4-FFF2-40B4-BE49-F238E27FC236}">
                    <a16:creationId xmlns:a16="http://schemas.microsoft.com/office/drawing/2014/main" id="{9707643A-C4C4-9332-2F40-54CA07D591CE}"/>
                  </a:ext>
                </a:extLst>
              </p:cNvPr>
              <p:cNvSpPr/>
              <p:nvPr/>
            </p:nvSpPr>
            <p:spPr>
              <a:xfrm>
                <a:off x="10843185" y="365012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2" name="Rectangle: Rounded Corners 21">
                <a:extLst>
                  <a:ext uri="{FF2B5EF4-FFF2-40B4-BE49-F238E27FC236}">
                    <a16:creationId xmlns:a16="http://schemas.microsoft.com/office/drawing/2014/main" id="{08ECE3F9-05D8-BF2F-7523-961E27308A32}"/>
                  </a:ext>
                </a:extLst>
              </p:cNvPr>
              <p:cNvSpPr/>
              <p:nvPr/>
            </p:nvSpPr>
            <p:spPr>
              <a:xfrm>
                <a:off x="10843185" y="381042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3" name="Rectangle: Rounded Corners 22">
                <a:extLst>
                  <a:ext uri="{FF2B5EF4-FFF2-40B4-BE49-F238E27FC236}">
                    <a16:creationId xmlns:a16="http://schemas.microsoft.com/office/drawing/2014/main" id="{EFFB9466-3B86-26D0-C523-14F7C9F73B9D}"/>
                  </a:ext>
                </a:extLst>
              </p:cNvPr>
              <p:cNvSpPr/>
              <p:nvPr/>
            </p:nvSpPr>
            <p:spPr bwMode="auto">
              <a:xfrm>
                <a:off x="10395074" y="4411399"/>
                <a:ext cx="1090690" cy="895375"/>
              </a:xfrm>
              <a:prstGeom prst="roundRect">
                <a:avLst>
                  <a:gd name="adj" fmla="val 7222"/>
                </a:avLst>
              </a:prstGeom>
              <a:noFill/>
              <a:ln w="12700" cap="flat" cmpd="sng" algn="ctr">
                <a:gradFill flip="none" rotWithShape="1">
                  <a:gsLst>
                    <a:gs pos="100000">
                      <a:schemeClr val="accent3"/>
                    </a:gs>
                    <a:gs pos="0">
                      <a:schemeClr val="accent1"/>
                    </a:gs>
                  </a:gsLst>
                  <a:lin ang="0" scaled="1"/>
                  <a:tileRect/>
                </a:gradFill>
                <a:prstDash val="solid"/>
                <a:miter lim="800000"/>
              </a:ln>
              <a:effectLst/>
            </p:spPr>
            <p:txBody>
              <a:bodyPr lIns="288000" tIns="171450" bIns="171450" rtlCol="0" anchor="ct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0000"/>
                  </a:solidFill>
                  <a:effectLst/>
                  <a:uLnTx/>
                  <a:uFillTx/>
                  <a:latin typeface="Segoe UI Semibold"/>
                  <a:ea typeface="+mn-ea"/>
                  <a:cs typeface="+mn-cs"/>
                </a:endParaRPr>
              </a:p>
            </p:txBody>
          </p:sp>
          <p:sp>
            <p:nvSpPr>
              <p:cNvPr id="24" name="Rectangle: Rounded Corners 23">
                <a:extLst>
                  <a:ext uri="{FF2B5EF4-FFF2-40B4-BE49-F238E27FC236}">
                    <a16:creationId xmlns:a16="http://schemas.microsoft.com/office/drawing/2014/main" id="{6DFEF521-918D-7239-D88A-AEA36F219F08}"/>
                  </a:ext>
                </a:extLst>
              </p:cNvPr>
              <p:cNvSpPr/>
              <p:nvPr/>
            </p:nvSpPr>
            <p:spPr>
              <a:xfrm>
                <a:off x="10488512" y="4466088"/>
                <a:ext cx="90550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5" name="Rectangle: Rounded Corners 24">
                <a:extLst>
                  <a:ext uri="{FF2B5EF4-FFF2-40B4-BE49-F238E27FC236}">
                    <a16:creationId xmlns:a16="http://schemas.microsoft.com/office/drawing/2014/main" id="{F553A7B6-3C9F-55C2-01F3-2D4B6BE76CAD}"/>
                  </a:ext>
                </a:extLst>
              </p:cNvPr>
              <p:cNvSpPr/>
              <p:nvPr/>
            </p:nvSpPr>
            <p:spPr>
              <a:xfrm>
                <a:off x="10485385" y="4629905"/>
                <a:ext cx="267488" cy="461591"/>
              </a:xfrm>
              <a:prstGeom prst="roundRect">
                <a:avLst>
                  <a:gd name="adj" fmla="val 12394"/>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8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6" name="Rectangle: Rounded Corners 25">
                <a:extLst>
                  <a:ext uri="{FF2B5EF4-FFF2-40B4-BE49-F238E27FC236}">
                    <a16:creationId xmlns:a16="http://schemas.microsoft.com/office/drawing/2014/main" id="{E1A73EA1-2FF2-F4FF-6731-1744A9C4C4EC}"/>
                  </a:ext>
                </a:extLst>
              </p:cNvPr>
              <p:cNvSpPr/>
              <p:nvPr/>
            </p:nvSpPr>
            <p:spPr>
              <a:xfrm>
                <a:off x="10478235" y="5153738"/>
                <a:ext cx="939934" cy="98692"/>
              </a:xfrm>
              <a:prstGeom prst="roundRect">
                <a:avLst/>
              </a:prstGeom>
              <a:noFill/>
              <a:ln w="12700" cap="rnd">
                <a:solidFill>
                  <a:srgbClr val="0074CC"/>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2000" b="0" i="0" u="none" strike="noStrike" kern="1200" cap="none" spc="0" normalizeH="0" baseline="0" noProof="0">
                  <a:ln w="3175">
                    <a:noFill/>
                  </a:ln>
                  <a:solidFill>
                    <a:prstClr val="black"/>
                  </a:solidFill>
                  <a:effectLst/>
                  <a:uLnTx/>
                  <a:uFillTx/>
                  <a:latin typeface="Segoe UI Semibold" panose="020B0702040204020203" pitchFamily="34" charset="0"/>
                  <a:ea typeface="+mn-ea"/>
                  <a:cs typeface="Segoe UI Semibold" panose="020B0702040204020203" pitchFamily="34" charset="0"/>
                </a:endParaRPr>
              </a:p>
            </p:txBody>
          </p:sp>
          <p:sp>
            <p:nvSpPr>
              <p:cNvPr id="27" name="Rectangle: Rounded Corners 26">
                <a:extLst>
                  <a:ext uri="{FF2B5EF4-FFF2-40B4-BE49-F238E27FC236}">
                    <a16:creationId xmlns:a16="http://schemas.microsoft.com/office/drawing/2014/main" id="{813211A1-6012-15F2-A788-CA092BDB8CFA}"/>
                  </a:ext>
                </a:extLst>
              </p:cNvPr>
              <p:cNvSpPr/>
              <p:nvPr/>
            </p:nvSpPr>
            <p:spPr>
              <a:xfrm>
                <a:off x="10843185" y="4648176"/>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8" name="Rectangle: Rounded Corners 27">
                <a:extLst>
                  <a:ext uri="{FF2B5EF4-FFF2-40B4-BE49-F238E27FC236}">
                    <a16:creationId xmlns:a16="http://schemas.microsoft.com/office/drawing/2014/main" id="{E53937C8-A107-CA3A-71DF-5BE88D1B21DB}"/>
                  </a:ext>
                </a:extLst>
              </p:cNvPr>
              <p:cNvSpPr/>
              <p:nvPr/>
            </p:nvSpPr>
            <p:spPr>
              <a:xfrm>
                <a:off x="10843185" y="4811354"/>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sp>
            <p:nvSpPr>
              <p:cNvPr id="29" name="Rectangle: Rounded Corners 28">
                <a:extLst>
                  <a:ext uri="{FF2B5EF4-FFF2-40B4-BE49-F238E27FC236}">
                    <a16:creationId xmlns:a16="http://schemas.microsoft.com/office/drawing/2014/main" id="{B1608538-44E3-9296-1076-4CA2D90C6B83}"/>
                  </a:ext>
                </a:extLst>
              </p:cNvPr>
              <p:cNvSpPr/>
              <p:nvPr/>
            </p:nvSpPr>
            <p:spPr>
              <a:xfrm>
                <a:off x="10843185" y="4971650"/>
                <a:ext cx="550832" cy="98692"/>
              </a:xfrm>
              <a:prstGeom prst="roundRect">
                <a:avLst>
                  <a:gd name="adj" fmla="val 10024"/>
                </a:avLst>
              </a:prstGeom>
              <a:noFill/>
              <a:ln w="12700" cap="rnd">
                <a:solidFill>
                  <a:srgbClr val="595CCD"/>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endParaRPr kumimoji="0" lang="en-US" sz="1400" b="0" i="0" u="none" strike="noStrike" kern="1200" cap="none" spc="0" normalizeH="0" baseline="0" noProof="0">
                  <a:ln w="3175">
                    <a:noFill/>
                  </a:ln>
                  <a:solidFill>
                    <a:prstClr val="black"/>
                  </a:solidFill>
                  <a:effectLst/>
                  <a:uLnTx/>
                  <a:uFillTx/>
                  <a:latin typeface="Segoe UI Semilight" panose="020B0402040204020203" pitchFamily="34" charset="0"/>
                  <a:ea typeface="+mn-ea"/>
                  <a:cs typeface="Segoe UI Semilight" panose="020B0402040204020203" pitchFamily="34" charset="0"/>
                </a:endParaRPr>
              </a:p>
            </p:txBody>
          </p:sp>
        </p:grpSp>
        <p:sp>
          <p:nvSpPr>
            <p:cNvPr id="7" name="TextBox 6">
              <a:extLst>
                <a:ext uri="{FF2B5EF4-FFF2-40B4-BE49-F238E27FC236}">
                  <a16:creationId xmlns:a16="http://schemas.microsoft.com/office/drawing/2014/main" id="{48E421EB-E394-6D8F-9E6E-858D53CF749C}"/>
                </a:ext>
              </a:extLst>
            </p:cNvPr>
            <p:cNvSpPr txBox="1"/>
            <p:nvPr/>
          </p:nvSpPr>
          <p:spPr>
            <a:xfrm>
              <a:off x="10614208" y="1596842"/>
              <a:ext cx="652422" cy="246221"/>
            </a:xfrm>
            <a:prstGeom prst="rect">
              <a:avLst/>
            </a:prstGeom>
            <a:noFill/>
          </p:spPr>
          <p:txBody>
            <a:bodyPr wrap="none" lIns="0" tIns="0" rIns="0" bIns="0">
              <a:spAutoFit/>
            </a:bodyPr>
            <a:lstStyle/>
            <a:p>
              <a:pPr marL="0" marR="0" lvl="0" indent="0" algn="ctr" defTabSz="760067" rtl="0" eaLnBrk="1" fontAlgn="base" latinLnBrk="0" hangingPunct="1">
                <a:lnSpc>
                  <a:spcPct val="100000"/>
                </a:lnSpc>
                <a:spcBef>
                  <a:spcPct val="0"/>
                </a:spcBef>
                <a:spcAft>
                  <a:spcPct val="0"/>
                </a:spcAft>
                <a:buClrTx/>
                <a:buSzTx/>
                <a:buFontTx/>
                <a:buNone/>
                <a:tabLst>
                  <a:tab pos="750370" algn="l"/>
                </a:tabLst>
                <a:defRPr/>
              </a:pPr>
              <a:r>
                <a:rPr kumimoji="0" lang="en-US" sz="1600" b="0" i="0" u="none" strike="noStrike" kern="1200" cap="none" spc="0" normalizeH="0" baseline="0" noProof="0">
                  <a:ln w="3175">
                    <a:noFill/>
                  </a:ln>
                  <a:effectLst/>
                  <a:uLnTx/>
                  <a:uFillTx/>
                  <a:latin typeface="Segoe UI Semibold"/>
                  <a:ea typeface="+mn-ea"/>
                  <a:cs typeface="+mn-cs"/>
                </a:rPr>
                <a:t>Agents</a:t>
              </a:r>
            </a:p>
          </p:txBody>
        </p:sp>
      </p:grpSp>
      <p:sp>
        <p:nvSpPr>
          <p:cNvPr id="30" name="Rectangle: Rounded Corners 29">
            <a:extLst>
              <a:ext uri="{FF2B5EF4-FFF2-40B4-BE49-F238E27FC236}">
                <a16:creationId xmlns:a16="http://schemas.microsoft.com/office/drawing/2014/main" id="{AA9EC185-CA72-9E92-49A0-AD01CDA3C73F}"/>
              </a:ext>
            </a:extLst>
          </p:cNvPr>
          <p:cNvSpPr/>
          <p:nvPr/>
        </p:nvSpPr>
        <p:spPr>
          <a:xfrm>
            <a:off x="293688" y="5566493"/>
            <a:ext cx="1828800" cy="457200"/>
          </a:xfrm>
          <a:prstGeom prst="roundRect">
            <a:avLst>
              <a:gd name="adj" fmla="val 8328"/>
            </a:avLst>
          </a:prstGeom>
          <a:solidFill>
            <a:srgbClr val="162A37"/>
          </a:solidFill>
          <a:ln w="6350">
            <a:noFill/>
            <a:headEnd type="none" w="med" len="med"/>
            <a:tailEnd type="none" w="med" len="med"/>
          </a:ln>
          <a:effectLst>
            <a:glow rad="38100">
              <a:schemeClr val="accent6">
                <a:satMod val="175000"/>
                <a:alpha val="20000"/>
              </a:schemeClr>
            </a:glow>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1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Semibold"/>
                <a:ea typeface="+mn-ea"/>
                <a:cs typeface="+mn-cs"/>
              </a:rPr>
              <a:t>Microsoft provided</a:t>
            </a:r>
          </a:p>
        </p:txBody>
      </p:sp>
      <p:sp>
        <p:nvSpPr>
          <p:cNvPr id="31" name="Rectangle: Rounded Corners 30">
            <a:extLst>
              <a:ext uri="{FF2B5EF4-FFF2-40B4-BE49-F238E27FC236}">
                <a16:creationId xmlns:a16="http://schemas.microsoft.com/office/drawing/2014/main" id="{9F05E6C2-B01E-D76C-FF5E-B3A222266017}"/>
              </a:ext>
            </a:extLst>
          </p:cNvPr>
          <p:cNvSpPr/>
          <p:nvPr/>
        </p:nvSpPr>
        <p:spPr bwMode="auto">
          <a:xfrm>
            <a:off x="293688" y="6107113"/>
            <a:ext cx="1828800" cy="457200"/>
          </a:xfrm>
          <a:prstGeom prst="roundRect">
            <a:avLst>
              <a:gd name="adj" fmla="val 11519"/>
            </a:avLst>
          </a:prstGeom>
          <a:solidFill>
            <a:srgbClr val="172B37"/>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8661C5">
                    <a:lumMod val="40000"/>
                    <a:lumOff val="60000"/>
                  </a:srgbClr>
                </a:solidFill>
                <a:effectLst/>
                <a:uLnTx/>
                <a:uFillTx/>
                <a:latin typeface="Segoe UI Semibold"/>
                <a:ea typeface="+mn-ea"/>
                <a:cs typeface="Segoe UI" pitchFamily="34" charset="0"/>
              </a:rPr>
              <a:t>Developer provided</a:t>
            </a:r>
          </a:p>
        </p:txBody>
      </p:sp>
      <p:sp>
        <p:nvSpPr>
          <p:cNvPr id="32" name="Rectangle: Rounded Corners 31">
            <a:extLst>
              <a:ext uri="{FF2B5EF4-FFF2-40B4-BE49-F238E27FC236}">
                <a16:creationId xmlns:a16="http://schemas.microsoft.com/office/drawing/2014/main" id="{4907F6B4-22D1-3146-BD1B-2CE2A4EE9159}"/>
              </a:ext>
              <a:ext uri="{C183D7F6-B498-43B3-948B-1728B52AA6E4}">
                <adec:decorative xmlns:adec="http://schemas.microsoft.com/office/drawing/2017/decorative" val="1"/>
              </a:ext>
            </a:extLst>
          </p:cNvPr>
          <p:cNvSpPr/>
          <p:nvPr/>
        </p:nvSpPr>
        <p:spPr bwMode="auto">
          <a:xfrm>
            <a:off x="370460" y="6188177"/>
            <a:ext cx="1675256" cy="295072"/>
          </a:xfrm>
          <a:prstGeom prst="roundRect">
            <a:avLst>
              <a:gd name="adj" fmla="val 12632"/>
            </a:avLst>
          </a:prstGeom>
          <a:solidFill>
            <a:srgbClr val="162A37">
              <a:alpha val="0"/>
            </a:srgbClr>
          </a:solidFill>
          <a:ln w="15875" cap="rnd">
            <a:solidFill>
              <a:schemeClr val="accent1">
                <a:lumMod val="40000"/>
                <a:lumOff val="60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019017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26D73-6A36-EDE4-EC8D-DE4AD2AEFA4D}"/>
            </a:ext>
          </a:extLst>
        </p:cNvPr>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DB6AB65-D284-C9A1-C66B-8C4AC4436B03}"/>
              </a:ext>
              <a:ext uri="{C183D7F6-B498-43B3-948B-1728B52AA6E4}">
                <adec:decorative xmlns:adec="http://schemas.microsoft.com/office/drawing/2017/decorative" val="1"/>
              </a:ext>
            </a:extLst>
          </p:cNvPr>
          <p:cNvSpPr>
            <a:spLocks/>
          </p:cNvSpPr>
          <p:nvPr/>
        </p:nvSpPr>
        <p:spPr bwMode="auto">
          <a:xfrm>
            <a:off x="875184" y="1504860"/>
            <a:ext cx="10730076" cy="4776670"/>
          </a:xfrm>
          <a:prstGeom prst="roundRect">
            <a:avLst>
              <a:gd name="adj" fmla="val 4735"/>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8E0E8ABE-E1A8-9BF5-B4D4-94C1BC4BCB25}"/>
              </a:ext>
            </a:extLst>
          </p:cNvPr>
          <p:cNvSpPr>
            <a:spLocks noGrp="1"/>
          </p:cNvSpPr>
          <p:nvPr>
            <p:ph type="title"/>
          </p:nvPr>
        </p:nvSpPr>
        <p:spPr>
          <a:xfrm>
            <a:off x="586740" y="457200"/>
            <a:ext cx="11018520" cy="492443"/>
          </a:xfrm>
        </p:spPr>
        <p:txBody>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Building </a:t>
            </a:r>
            <a:r>
              <a:rPr lang="en-US" sz="3200">
                <a:solidFill>
                  <a:schemeClr val="tx1"/>
                </a:solidFill>
                <a:cs typeface="Segoe UI Semibold" panose="020B0702040204020203" pitchFamily="34" charset="0"/>
              </a:rPr>
              <a:t>blocks</a:t>
            </a: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 of a custom engine </a:t>
            </a:r>
            <a:r>
              <a:rPr lang="en-US" sz="3200">
                <a:solidFill>
                  <a:schemeClr val="tx1"/>
                </a:solidFill>
                <a:cs typeface="Segoe UI Semibold" panose="020B0702040204020203" pitchFamily="34" charset="0"/>
              </a:rPr>
              <a:t>a</a:t>
            </a:r>
            <a:r>
              <a:rPr kumimoji="0" lang="en-US" sz="3200" b="0" i="0" u="none" strike="noStrike" kern="1200" cap="none" spc="-50" normalizeH="0" baseline="0" noProof="0">
                <a:ln w="3175">
                  <a:noFill/>
                </a:ln>
                <a:solidFill>
                  <a:schemeClr val="tx1"/>
                </a:solidFill>
                <a:effectLst/>
                <a:uLnTx/>
                <a:uFillTx/>
                <a:ea typeface="+mn-ea"/>
                <a:cs typeface="Segoe UI Semibold" panose="020B0702040204020203" pitchFamily="34" charset="0"/>
              </a:rPr>
              <a:t>gent</a:t>
            </a:r>
            <a:endParaRPr kumimoji="0" lang="en-US" sz="3600" b="0" i="0" u="none" strike="noStrike" kern="1200" cap="none" spc="-50" normalizeH="0" baseline="0" noProof="0">
              <a:ln w="3175">
                <a:noFill/>
              </a:ln>
              <a:solidFill>
                <a:schemeClr val="tx1"/>
              </a:solidFill>
              <a:effectLst/>
              <a:uLnTx/>
              <a:uFillTx/>
              <a:ea typeface="+mn-ea"/>
              <a:cs typeface="Segoe UI Semibold" panose="020B0702040204020203" pitchFamily="34" charset="0"/>
            </a:endParaRPr>
          </a:p>
        </p:txBody>
      </p:sp>
      <p:sp>
        <p:nvSpPr>
          <p:cNvPr id="4" name="Rectangle: Rounded Corners 3">
            <a:extLst>
              <a:ext uri="{FF2B5EF4-FFF2-40B4-BE49-F238E27FC236}">
                <a16:creationId xmlns:a16="http://schemas.microsoft.com/office/drawing/2014/main" id="{6F8A1AF5-5A3A-6A86-F3FF-114A96D9965C}"/>
              </a:ext>
            </a:extLst>
          </p:cNvPr>
          <p:cNvSpPr/>
          <p:nvPr/>
        </p:nvSpPr>
        <p:spPr bwMode="auto">
          <a:xfrm>
            <a:off x="1304727" y="1828800"/>
            <a:ext cx="2054631" cy="4115602"/>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F4364C"/>
                </a:solidFill>
                <a:latin typeface="Segoe UI Semibold"/>
              </a:rPr>
              <a:t>Instructions</a:t>
            </a:r>
            <a:endParaRPr lang="en-GB">
              <a:solidFill>
                <a:srgbClr val="F4364C"/>
              </a:solidFill>
              <a:latin typeface="Segoe UI Semibold"/>
            </a:endParaRP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A prompt that defines how the agent should work to achieve its specific goals</a:t>
            </a:r>
          </a:p>
        </p:txBody>
      </p:sp>
      <p:sp>
        <p:nvSpPr>
          <p:cNvPr id="8" name="TextBox 7">
            <a:extLst>
              <a:ext uri="{FF2B5EF4-FFF2-40B4-BE49-F238E27FC236}">
                <a16:creationId xmlns:a16="http://schemas.microsoft.com/office/drawing/2014/main" id="{9305E54B-64D3-E97D-93ED-A232C847CEF1}"/>
              </a:ext>
            </a:extLst>
          </p:cNvPr>
          <p:cNvSpPr txBox="1"/>
          <p:nvPr/>
        </p:nvSpPr>
        <p:spPr>
          <a:xfrm>
            <a:off x="1566695" y="3944383"/>
            <a:ext cx="1451252" cy="1938992"/>
          </a:xfrm>
          <a:prstGeom prst="rect">
            <a:avLst/>
          </a:prstGeom>
          <a:noFill/>
        </p:spPr>
        <p:txBody>
          <a:bodyPr wrap="square" lIns="0" tIns="0" rIns="0" bIns="0" rtlCol="0">
            <a:spAutoFit/>
          </a:bodyPr>
          <a:lstStyle/>
          <a:p>
            <a:pPr algn="l"/>
            <a:r>
              <a:rPr lang="en-GB" sz="900">
                <a:latin typeface="Consolas" panose="020B0609020204030204" pitchFamily="49" charset="0"/>
              </a:rPr>
              <a:t>You are Product </a:t>
            </a:r>
            <a:r>
              <a:rPr lang="en-GB" sz="900" err="1">
                <a:latin typeface="Consolas" panose="020B0609020204030204" pitchFamily="49" charset="0"/>
              </a:rPr>
              <a:t>Catalog</a:t>
            </a:r>
            <a:r>
              <a:rPr lang="en-GB" sz="900">
                <a:latin typeface="Consolas" panose="020B0609020204030204" pitchFamily="49" charset="0"/>
              </a:rPr>
              <a:t> agent. </a:t>
            </a:r>
            <a:br>
              <a:rPr lang="en-GB" sz="900">
                <a:latin typeface="Consolas" panose="020B0609020204030204" pitchFamily="49" charset="0"/>
              </a:rPr>
            </a:br>
            <a:r>
              <a:rPr lang="en-GB" sz="900">
                <a:latin typeface="Consolas" panose="020B0609020204030204" pitchFamily="49" charset="0"/>
              </a:rPr>
              <a:t>You answer queries related to Contoso Electronics product </a:t>
            </a:r>
            <a:r>
              <a:rPr lang="en-GB" sz="900" err="1">
                <a:latin typeface="Consolas" panose="020B0609020204030204" pitchFamily="49" charset="0"/>
              </a:rPr>
              <a:t>catalog</a:t>
            </a:r>
            <a:r>
              <a:rPr lang="en-GB" sz="900">
                <a:latin typeface="Consolas" panose="020B0609020204030204" pitchFamily="49" charset="0"/>
              </a:rPr>
              <a:t> and refuse to answer any other questions.</a:t>
            </a:r>
          </a:p>
          <a:p>
            <a:pPr algn="l"/>
            <a:r>
              <a:rPr lang="en-GB" sz="900">
                <a:latin typeface="Consolas" panose="020B0609020204030204" pitchFamily="49" charset="0"/>
              </a:rPr>
              <a:t>You can return product details in the following format:</a:t>
            </a:r>
            <a:br>
              <a:rPr lang="en-GB" sz="900">
                <a:latin typeface="Consolas" panose="020B0609020204030204" pitchFamily="49" charset="0"/>
              </a:rPr>
            </a:br>
            <a:r>
              <a:rPr lang="en-GB" sz="900">
                <a:latin typeface="Consolas" panose="020B0609020204030204" pitchFamily="49" charset="0"/>
              </a:rPr>
              <a:t>Product Title: **title in bold font**</a:t>
            </a:r>
          </a:p>
          <a:p>
            <a:pPr algn="l"/>
            <a:endParaRPr lang="en-US" sz="900">
              <a:latin typeface="Consolas" panose="020B0609020204030204" pitchFamily="49" charset="0"/>
            </a:endParaRPr>
          </a:p>
        </p:txBody>
      </p:sp>
      <p:cxnSp>
        <p:nvCxnSpPr>
          <p:cNvPr id="10" name="Straight Connector 9">
            <a:extLst>
              <a:ext uri="{FF2B5EF4-FFF2-40B4-BE49-F238E27FC236}">
                <a16:creationId xmlns:a16="http://schemas.microsoft.com/office/drawing/2014/main" id="{DB04626C-68FB-35AE-071F-F461CBF5C883}"/>
              </a:ext>
              <a:ext uri="{C183D7F6-B498-43B3-948B-1728B52AA6E4}">
                <adec:decorative xmlns:adec="http://schemas.microsoft.com/office/drawing/2017/decorative" val="1"/>
              </a:ext>
            </a:extLst>
          </p:cNvPr>
          <p:cNvCxnSpPr>
            <a:cxnSpLocks/>
          </p:cNvCxnSpPr>
          <p:nvPr/>
        </p:nvCxnSpPr>
        <p:spPr>
          <a:xfrm>
            <a:off x="1601551" y="3847560"/>
            <a:ext cx="1381539"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6" name="Rectangle: Rounded Corners 5">
            <a:extLst>
              <a:ext uri="{FF2B5EF4-FFF2-40B4-BE49-F238E27FC236}">
                <a16:creationId xmlns:a16="http://schemas.microsoft.com/office/drawing/2014/main" id="{8D22EC15-C86B-A7DE-984D-BFE2F945CA7E}"/>
              </a:ext>
            </a:extLst>
          </p:cNvPr>
          <p:cNvSpPr/>
          <p:nvPr/>
        </p:nvSpPr>
        <p:spPr bwMode="auto">
          <a:xfrm>
            <a:off x="3830571" y="1828799"/>
            <a:ext cx="1975187"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C03BC4"/>
                </a:solidFill>
                <a:latin typeface="Segoe UI Semibold"/>
              </a:rPr>
              <a:t>Knowledge</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SharePoint sites, Azure AI Search, databases, files, repositories, etc.  </a:t>
            </a:r>
          </a:p>
        </p:txBody>
      </p:sp>
      <p:pic>
        <p:nvPicPr>
          <p:cNvPr id="16" name="Picture 15">
            <a:extLst>
              <a:ext uri="{FF2B5EF4-FFF2-40B4-BE49-F238E27FC236}">
                <a16:creationId xmlns:a16="http://schemas.microsoft.com/office/drawing/2014/main" id="{9F74CFE1-BCA4-BAF3-8070-41D6C1394445}"/>
              </a:ext>
              <a:ext uri="{C183D7F6-B498-43B3-948B-1728B52AA6E4}">
                <adec:decorative xmlns:adec="http://schemas.microsoft.com/office/drawing/2017/decorative" val="1"/>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4177748" y="4118461"/>
            <a:ext cx="414123" cy="403770"/>
          </a:xfrm>
          <a:prstGeom prst="rect">
            <a:avLst/>
          </a:prstGeom>
        </p:spPr>
      </p:pic>
      <p:sp>
        <p:nvSpPr>
          <p:cNvPr id="7" name="Rectangle: Rounded Corners 6">
            <a:extLst>
              <a:ext uri="{FF2B5EF4-FFF2-40B4-BE49-F238E27FC236}">
                <a16:creationId xmlns:a16="http://schemas.microsoft.com/office/drawing/2014/main" id="{DFE35613-6EB3-3B47-C379-8DBBB3448BAE}"/>
              </a:ext>
            </a:extLst>
          </p:cNvPr>
          <p:cNvSpPr/>
          <p:nvPr/>
        </p:nvSpPr>
        <p:spPr bwMode="auto">
          <a:xfrm>
            <a:off x="6301551" y="1835393"/>
            <a:ext cx="208231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0078D4"/>
                </a:solidFill>
                <a:latin typeface="Segoe UI Semibold"/>
              </a:rPr>
              <a:t>Actions / Tools</a:t>
            </a:r>
          </a:p>
          <a:p>
            <a:pPr algn="ctr" defTabSz="698548"/>
            <a:r>
              <a:rPr lang="en-GB" sz="1600">
                <a:solidFill>
                  <a:schemeClr val="tx1"/>
                </a:solidFill>
                <a:cs typeface="Segoe Sans Display Semibold"/>
              </a:rPr>
              <a:t>Power Platform connectors, Power Automate flows, AI Builder prompts, REST APIs, MCP servers</a:t>
            </a:r>
          </a:p>
        </p:txBody>
      </p:sp>
      <p:pic>
        <p:nvPicPr>
          <p:cNvPr id="25" name="Picture 24">
            <a:extLst>
              <a:ext uri="{FF2B5EF4-FFF2-40B4-BE49-F238E27FC236}">
                <a16:creationId xmlns:a16="http://schemas.microsoft.com/office/drawing/2014/main" id="{730E0015-C094-9E5D-9E64-6A62E65E436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14660" y="4437412"/>
            <a:ext cx="389928" cy="389928"/>
          </a:xfrm>
          <a:prstGeom prst="rect">
            <a:avLst/>
          </a:prstGeom>
        </p:spPr>
      </p:pic>
      <p:cxnSp>
        <p:nvCxnSpPr>
          <p:cNvPr id="11" name="Straight Connector 10">
            <a:extLst>
              <a:ext uri="{FF2B5EF4-FFF2-40B4-BE49-F238E27FC236}">
                <a16:creationId xmlns:a16="http://schemas.microsoft.com/office/drawing/2014/main" id="{699DC246-30BF-418C-9AB3-5CB4EDE579E6}"/>
              </a:ext>
              <a:ext uri="{C183D7F6-B498-43B3-948B-1728B52AA6E4}">
                <adec:decorative xmlns:adec="http://schemas.microsoft.com/office/drawing/2017/decorative" val="1"/>
              </a:ext>
            </a:extLst>
          </p:cNvPr>
          <p:cNvCxnSpPr>
            <a:cxnSpLocks/>
          </p:cNvCxnSpPr>
          <p:nvPr/>
        </p:nvCxnSpPr>
        <p:spPr>
          <a:xfrm>
            <a:off x="4146272" y="3696669"/>
            <a:ext cx="1358346"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2" name="Straight Connector 11">
            <a:extLst>
              <a:ext uri="{FF2B5EF4-FFF2-40B4-BE49-F238E27FC236}">
                <a16:creationId xmlns:a16="http://schemas.microsoft.com/office/drawing/2014/main" id="{7911DF02-7BB8-128F-5C14-8374820B478E}"/>
              </a:ext>
              <a:ext uri="{C183D7F6-B498-43B3-948B-1728B52AA6E4}">
                <adec:decorative xmlns:adec="http://schemas.microsoft.com/office/drawing/2017/decorative" val="1"/>
              </a:ext>
            </a:extLst>
          </p:cNvPr>
          <p:cNvCxnSpPr>
            <a:cxnSpLocks/>
          </p:cNvCxnSpPr>
          <p:nvPr/>
        </p:nvCxnSpPr>
        <p:spPr>
          <a:xfrm>
            <a:off x="6577401" y="4187193"/>
            <a:ext cx="1643850"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5" name="AutoShape 6" descr="Free Azure Devops Icon - Free Download Logos Icons | IconScout">
            <a:extLst>
              <a:ext uri="{FF2B5EF4-FFF2-40B4-BE49-F238E27FC236}">
                <a16:creationId xmlns:a16="http://schemas.microsoft.com/office/drawing/2014/main" id="{B07D7F1C-6783-F2D3-18EA-5750369A41F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058" name="Picture 10" descr="SQL Database (generic) | Microsoft Azure Color">
            <a:extLst>
              <a:ext uri="{FF2B5EF4-FFF2-40B4-BE49-F238E27FC236}">
                <a16:creationId xmlns:a16="http://schemas.microsoft.com/office/drawing/2014/main" id="{A12F7DC1-F956-87C0-D643-BE256F107C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72974" y="4719767"/>
            <a:ext cx="531218" cy="70556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ricing - Azure AI Search | Microsoft Azure">
            <a:extLst>
              <a:ext uri="{FF2B5EF4-FFF2-40B4-BE49-F238E27FC236}">
                <a16:creationId xmlns:a16="http://schemas.microsoft.com/office/drawing/2014/main" id="{A44AC8B5-DF2C-67A6-4639-6373C1E4C8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05636" y="4719767"/>
            <a:ext cx="1358346" cy="713132"/>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Azure Storage - Visual Studio Marketplace">
            <a:extLst>
              <a:ext uri="{FF2B5EF4-FFF2-40B4-BE49-F238E27FC236}">
                <a16:creationId xmlns:a16="http://schemas.microsoft.com/office/drawing/2014/main" id="{BCAD3F75-9B53-746F-26C1-CED5BDB7BF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56921" y="4035598"/>
            <a:ext cx="569495" cy="56949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Api Logo Images – Browse 5,468 Stock Photos, Vectors, and Video | Adobe  Stock">
            <a:extLst>
              <a:ext uri="{FF2B5EF4-FFF2-40B4-BE49-F238E27FC236}">
                <a16:creationId xmlns:a16="http://schemas.microsoft.com/office/drawing/2014/main" id="{E6BCAF4E-7C3C-EFB5-0C12-6C2E967FE8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5926" y="4280589"/>
            <a:ext cx="705566" cy="70556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55B775CA-9D04-C6EB-CE93-6C4FF01CEA8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75154" y="5077559"/>
            <a:ext cx="648344" cy="648344"/>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D9534CA7-692B-8B2B-021B-DD9AC966A93F}"/>
              </a:ext>
            </a:extLst>
          </p:cNvPr>
          <p:cNvSpPr/>
          <p:nvPr/>
        </p:nvSpPr>
        <p:spPr bwMode="auto">
          <a:xfrm>
            <a:off x="8912088" y="1835393"/>
            <a:ext cx="2082313" cy="4115603"/>
          </a:xfrm>
          <a:prstGeom prst="roundRect">
            <a:avLst>
              <a:gd name="adj" fmla="val 2452"/>
            </a:avLst>
          </a:prstGeom>
          <a:solidFill>
            <a:schemeClr val="bg1"/>
          </a:solidFill>
          <a:ln w="12700">
            <a:gradFill>
              <a:gsLst>
                <a:gs pos="0">
                  <a:srgbClr val="C03BC4"/>
                </a:gs>
                <a:gs pos="80000">
                  <a:srgbClr val="1073D3"/>
                </a:gs>
              </a:gsLst>
              <a:lin ang="5400000" scaled="1"/>
            </a:gra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50800" bIns="40640" numCol="1" spcCol="0" rtlCol="0" fromWordArt="0" anchor="t" anchorCtr="0" forceAA="0" compatLnSpc="1">
            <a:prstTxWarp prst="textNoShape">
              <a:avLst/>
            </a:prstTxWarp>
            <a:noAutofit/>
          </a:bodyPr>
          <a:lstStyle/>
          <a:p>
            <a:pPr algn="ctr" defTabSz="698548"/>
            <a:r>
              <a:rPr lang="en-GB" sz="2400">
                <a:solidFill>
                  <a:srgbClr val="0078D4"/>
                </a:solidFill>
                <a:latin typeface="Segoe UI Semibold"/>
              </a:rPr>
              <a:t>Triggers</a:t>
            </a:r>
          </a:p>
          <a:p>
            <a:pPr algn="ctr" defTabSz="698548"/>
            <a:endParaRPr lang="en-GB" sz="1600" b="1">
              <a:solidFill>
                <a:schemeClr val="tx1"/>
              </a:solidFill>
              <a:latin typeface="Segoe UI Semibold"/>
              <a:cs typeface="Segoe Sans Display Semibold"/>
            </a:endParaRPr>
          </a:p>
          <a:p>
            <a:pPr algn="ctr" defTabSz="698548"/>
            <a:r>
              <a:rPr lang="en-GB" sz="1600">
                <a:solidFill>
                  <a:schemeClr val="tx1"/>
                </a:solidFill>
                <a:cs typeface="Segoe Sans Display Semibold"/>
              </a:rPr>
              <a:t>When you receive a mail, when you receive a message, when a new file is added, etc.</a:t>
            </a:r>
          </a:p>
        </p:txBody>
      </p:sp>
      <p:cxnSp>
        <p:nvCxnSpPr>
          <p:cNvPr id="18" name="Straight Connector 17">
            <a:extLst>
              <a:ext uri="{FF2B5EF4-FFF2-40B4-BE49-F238E27FC236}">
                <a16:creationId xmlns:a16="http://schemas.microsoft.com/office/drawing/2014/main" id="{5B5B16F9-BF80-77B9-4ABF-BA776364CE2B}"/>
              </a:ext>
              <a:ext uri="{C183D7F6-B498-43B3-948B-1728B52AA6E4}">
                <adec:decorative xmlns:adec="http://schemas.microsoft.com/office/drawing/2017/decorative" val="1"/>
              </a:ext>
            </a:extLst>
          </p:cNvPr>
          <p:cNvCxnSpPr>
            <a:cxnSpLocks/>
          </p:cNvCxnSpPr>
          <p:nvPr/>
        </p:nvCxnSpPr>
        <p:spPr>
          <a:xfrm>
            <a:off x="9242811" y="4187193"/>
            <a:ext cx="1643850" cy="0"/>
          </a:xfrm>
          <a:prstGeom prst="line">
            <a:avLst/>
          </a:prstGeom>
          <a:solidFill>
            <a:srgbClr val="F7F6FE"/>
          </a:solidFill>
          <a:ln w="12700">
            <a:gradFill>
              <a:gsLst>
                <a:gs pos="0">
                  <a:srgbClr val="C03BC4"/>
                </a:gs>
                <a:gs pos="80000">
                  <a:srgbClr val="1073D3"/>
                </a:gs>
              </a:gsLst>
              <a:lin ang="5400000" scaled="1"/>
            </a:gra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pic>
        <p:nvPicPr>
          <p:cNvPr id="19" name="Picture 18">
            <a:extLst>
              <a:ext uri="{FF2B5EF4-FFF2-40B4-BE49-F238E27FC236}">
                <a16:creationId xmlns:a16="http://schemas.microsoft.com/office/drawing/2014/main" id="{85BBE61D-E833-A8CA-57FE-DC17A23767A8}"/>
              </a:ext>
              <a:ext uri="{C183D7F6-B498-43B3-948B-1728B52AA6E4}">
                <adec:decorative xmlns:adec="http://schemas.microsoft.com/office/drawing/2017/decorative" val="1"/>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9242811" y="4482475"/>
            <a:ext cx="414123" cy="403770"/>
          </a:xfrm>
          <a:prstGeom prst="rect">
            <a:avLst/>
          </a:prstGeom>
        </p:spPr>
      </p:pic>
      <p:pic>
        <p:nvPicPr>
          <p:cNvPr id="21" name="Picture 20">
            <a:extLst>
              <a:ext uri="{FF2B5EF4-FFF2-40B4-BE49-F238E27FC236}">
                <a16:creationId xmlns:a16="http://schemas.microsoft.com/office/drawing/2014/main" id="{BE03128E-C902-4DEA-E74A-EEB9035C19E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52727" y="4488451"/>
            <a:ext cx="389928" cy="389928"/>
          </a:xfrm>
          <a:prstGeom prst="rect">
            <a:avLst/>
          </a:prstGeom>
        </p:spPr>
      </p:pic>
      <p:pic>
        <p:nvPicPr>
          <p:cNvPr id="3084" name="Picture 12">
            <a:extLst>
              <a:ext uri="{FF2B5EF4-FFF2-40B4-BE49-F238E27FC236}">
                <a16:creationId xmlns:a16="http://schemas.microsoft.com/office/drawing/2014/main" id="{0143B6ED-096B-739A-8864-A89BD268BA3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56934" y="5187502"/>
            <a:ext cx="617682" cy="5748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649309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67C9F-B5C6-CD9A-CF8F-4718B63A881F}"/>
            </a:ext>
          </a:extLst>
        </p:cNvPr>
        <p:cNvGrpSpPr/>
        <p:nvPr/>
      </p:nvGrpSpPr>
      <p:grpSpPr>
        <a:xfrm>
          <a:off x="0" y="0"/>
          <a:ext cx="0" cy="0"/>
          <a:chOff x="0" y="0"/>
          <a:chExt cx="0" cy="0"/>
        </a:xfrm>
      </p:grpSpPr>
      <p:grpSp>
        <p:nvGrpSpPr>
          <p:cNvPr id="63" name="Group 62">
            <a:extLst>
              <a:ext uri="{FF2B5EF4-FFF2-40B4-BE49-F238E27FC236}">
                <a16:creationId xmlns:a16="http://schemas.microsoft.com/office/drawing/2014/main" id="{C53F3A85-9E5A-5503-3716-37A198643EC0}"/>
              </a:ext>
            </a:extLst>
          </p:cNvPr>
          <p:cNvGrpSpPr>
            <a:grpSpLocks/>
          </p:cNvGrpSpPr>
          <p:nvPr/>
        </p:nvGrpSpPr>
        <p:grpSpPr>
          <a:xfrm>
            <a:off x="548640" y="1202133"/>
            <a:ext cx="11058143" cy="5357693"/>
            <a:chOff x="2499360" y="1501962"/>
            <a:chExt cx="11058143" cy="5357693"/>
          </a:xfrm>
        </p:grpSpPr>
        <p:sp>
          <p:nvSpPr>
            <p:cNvPr id="39" name="Rectangle: Rounded Corners 38">
              <a:extLst>
                <a:ext uri="{FF2B5EF4-FFF2-40B4-BE49-F238E27FC236}">
                  <a16:creationId xmlns:a16="http://schemas.microsoft.com/office/drawing/2014/main" id="{42B6221E-2C5A-0DF6-0D07-D073E24CB049}"/>
                </a:ext>
                <a:ext uri="{C183D7F6-B498-43B3-948B-1728B52AA6E4}">
                  <adec:decorative xmlns:adec="http://schemas.microsoft.com/office/drawing/2017/decorative" val="1"/>
                </a:ext>
              </a:extLst>
            </p:cNvPr>
            <p:cNvSpPr>
              <a:spLocks/>
            </p:cNvSpPr>
            <p:nvPr/>
          </p:nvSpPr>
          <p:spPr bwMode="auto">
            <a:xfrm>
              <a:off x="2499360" y="1501962"/>
              <a:ext cx="11058143" cy="5357693"/>
            </a:xfrm>
            <a:prstGeom prst="roundRect">
              <a:avLst>
                <a:gd name="adj" fmla="val 536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sp>
          <p:nvSpPr>
            <p:cNvPr id="9" name="Rectangle: Rounded Corners 8">
              <a:extLst>
                <a:ext uri="{FF2B5EF4-FFF2-40B4-BE49-F238E27FC236}">
                  <a16:creationId xmlns:a16="http://schemas.microsoft.com/office/drawing/2014/main" id="{0725F807-61CE-DEB1-5633-06B0A5D9B188}"/>
                </a:ext>
              </a:extLst>
            </p:cNvPr>
            <p:cNvSpPr>
              <a:spLocks/>
            </p:cNvSpPr>
            <p:nvPr/>
          </p:nvSpPr>
          <p:spPr bwMode="auto">
            <a:xfrm>
              <a:off x="8490840" y="2630998"/>
              <a:ext cx="2307010" cy="2731112"/>
            </a:xfrm>
            <a:prstGeom prst="roundRect">
              <a:avLst>
                <a:gd name="adj" fmla="val 9338"/>
              </a:avLst>
            </a:prstGeom>
            <a:solidFill>
              <a:srgbClr val="E9F5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7177C17F-76B3-FDD8-27D6-A6CA9EFEB1F8}"/>
                </a:ext>
              </a:extLst>
            </p:cNvPr>
            <p:cNvSpPr>
              <a:spLocks/>
            </p:cNvSpPr>
            <p:nvPr/>
          </p:nvSpPr>
          <p:spPr bwMode="auto">
            <a:xfrm>
              <a:off x="4941790" y="2672661"/>
              <a:ext cx="2308421" cy="2731112"/>
            </a:xfrm>
            <a:prstGeom prst="roundRect">
              <a:avLst>
                <a:gd name="adj" fmla="val 9338"/>
              </a:avLst>
            </a:prstGeom>
            <a:solidFill>
              <a:srgbClr val="F0F0F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1DACD039-DFF9-6BFD-8428-A371BAE6DB22}"/>
                </a:ext>
              </a:extLst>
            </p:cNvPr>
            <p:cNvSpPr>
              <a:spLocks/>
            </p:cNvSpPr>
            <p:nvPr/>
          </p:nvSpPr>
          <p:spPr bwMode="auto">
            <a:xfrm>
              <a:off x="3320390" y="2490052"/>
              <a:ext cx="8986904" cy="523220"/>
            </a:xfrm>
            <a:prstGeom prst="roundRect">
              <a:avLst>
                <a:gd name="adj" fmla="val 50000"/>
              </a:avLst>
            </a:pr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Segoe UI Semibold"/>
                <a:ea typeface="+mn-ea"/>
                <a:cs typeface="+mn-cs"/>
              </a:endParaRPr>
            </a:p>
          </p:txBody>
        </p:sp>
        <p:sp>
          <p:nvSpPr>
            <p:cNvPr id="15" name="Rectangle 14">
              <a:extLst>
                <a:ext uri="{FF2B5EF4-FFF2-40B4-BE49-F238E27FC236}">
                  <a16:creationId xmlns:a16="http://schemas.microsoft.com/office/drawing/2014/main" id="{D3A53F92-6FE8-281E-5F4D-75600951CEE0}"/>
                </a:ext>
              </a:extLst>
            </p:cNvPr>
            <p:cNvSpPr>
              <a:spLocks/>
            </p:cNvSpPr>
            <p:nvPr/>
          </p:nvSpPr>
          <p:spPr bwMode="auto">
            <a:xfrm>
              <a:off x="4941790" y="1852156"/>
              <a:ext cx="2308421" cy="903598"/>
            </a:xfrm>
            <a:prstGeom prst="rect">
              <a:avLst/>
            </a:prstGeom>
            <a:solidFill>
              <a:srgbClr val="595CCD">
                <a:alpha val="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4D968594-9D39-DB0B-ED62-B95344578682}"/>
                </a:ext>
              </a:extLst>
            </p:cNvPr>
            <p:cNvSpPr>
              <a:spLocks/>
            </p:cNvSpPr>
            <p:nvPr/>
          </p:nvSpPr>
          <p:spPr bwMode="auto">
            <a:xfrm>
              <a:off x="8490840" y="1612840"/>
              <a:ext cx="2307010" cy="1059821"/>
            </a:xfrm>
            <a:prstGeom prst="rect">
              <a:avLst/>
            </a:prstGeom>
            <a:solidFill>
              <a:srgbClr val="0D8ECF">
                <a:alpha val="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2E800F21-E4F7-EB24-CF06-B83034A9E7D8}"/>
                </a:ext>
              </a:extLst>
            </p:cNvPr>
            <p:cNvSpPr txBox="1">
              <a:spLocks/>
            </p:cNvSpPr>
            <p:nvPr/>
          </p:nvSpPr>
          <p:spPr>
            <a:xfrm>
              <a:off x="3610455" y="2628403"/>
              <a:ext cx="999758" cy="21544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Low code</a:t>
              </a:r>
            </a:p>
          </p:txBody>
        </p:sp>
        <p:sp>
          <p:nvSpPr>
            <p:cNvPr id="22" name="TextBox 21">
              <a:extLst>
                <a:ext uri="{FF2B5EF4-FFF2-40B4-BE49-F238E27FC236}">
                  <a16:creationId xmlns:a16="http://schemas.microsoft.com/office/drawing/2014/main" id="{4C73AE7F-F8C2-FD7F-5EE2-7E4A54B52EA8}"/>
                </a:ext>
              </a:extLst>
            </p:cNvPr>
            <p:cNvSpPr txBox="1">
              <a:spLocks/>
            </p:cNvSpPr>
            <p:nvPr/>
          </p:nvSpPr>
          <p:spPr>
            <a:xfrm>
              <a:off x="11348564" y="2637985"/>
              <a:ext cx="749679" cy="215444"/>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ro code</a:t>
              </a:r>
            </a:p>
          </p:txBody>
        </p:sp>
        <p:cxnSp>
          <p:nvCxnSpPr>
            <p:cNvPr id="41" name="Straight Arrow Connector 40">
              <a:extLst>
                <a:ext uri="{FF2B5EF4-FFF2-40B4-BE49-F238E27FC236}">
                  <a16:creationId xmlns:a16="http://schemas.microsoft.com/office/drawing/2014/main" id="{206B7297-728A-541C-A6E9-A074E9CD6F46}"/>
                </a:ext>
              </a:extLst>
            </p:cNvPr>
            <p:cNvCxnSpPr>
              <a:cxnSpLocks/>
            </p:cNvCxnSpPr>
            <p:nvPr/>
          </p:nvCxnSpPr>
          <p:spPr>
            <a:xfrm>
              <a:off x="7257219" y="2748017"/>
              <a:ext cx="1379163" cy="7737"/>
            </a:xfrm>
            <a:prstGeom prst="straightConnector1">
              <a:avLst/>
            </a:prstGeom>
            <a:ln w="22225">
              <a:solidFill>
                <a:schemeClr val="bg1"/>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AA7CF30B-57A3-BA92-0546-9B904762C9C8}"/>
                </a:ext>
              </a:extLst>
            </p:cNvPr>
            <p:cNvGrpSpPr>
              <a:grpSpLocks/>
            </p:cNvGrpSpPr>
            <p:nvPr/>
          </p:nvGrpSpPr>
          <p:grpSpPr>
            <a:xfrm>
              <a:off x="4610573" y="2241267"/>
              <a:ext cx="2924583" cy="3773097"/>
              <a:chOff x="4633708" y="2260733"/>
              <a:chExt cx="2924583" cy="3773097"/>
            </a:xfrm>
          </p:grpSpPr>
          <p:grpSp>
            <p:nvGrpSpPr>
              <p:cNvPr id="16" name="Group 15">
                <a:extLst>
                  <a:ext uri="{FF2B5EF4-FFF2-40B4-BE49-F238E27FC236}">
                    <a16:creationId xmlns:a16="http://schemas.microsoft.com/office/drawing/2014/main" id="{E6F58646-CECC-7645-0560-0FCD404653E6}"/>
                  </a:ext>
                </a:extLst>
              </p:cNvPr>
              <p:cNvGrpSpPr>
                <a:grpSpLocks/>
              </p:cNvGrpSpPr>
              <p:nvPr/>
            </p:nvGrpSpPr>
            <p:grpSpPr>
              <a:xfrm>
                <a:off x="5600328" y="2260733"/>
                <a:ext cx="991344" cy="991341"/>
                <a:chOff x="5693247" y="2519965"/>
                <a:chExt cx="991344" cy="991341"/>
              </a:xfrm>
            </p:grpSpPr>
            <p:grpSp>
              <p:nvGrpSpPr>
                <p:cNvPr id="30" name="Group 29">
                  <a:extLst>
                    <a:ext uri="{FF2B5EF4-FFF2-40B4-BE49-F238E27FC236}">
                      <a16:creationId xmlns:a16="http://schemas.microsoft.com/office/drawing/2014/main" id="{BF878DC7-B350-4110-D542-74727D3E1D2F}"/>
                    </a:ext>
                  </a:extLst>
                </p:cNvPr>
                <p:cNvGrpSpPr>
                  <a:grpSpLocks/>
                </p:cNvGrpSpPr>
                <p:nvPr/>
              </p:nvGrpSpPr>
              <p:grpSpPr>
                <a:xfrm>
                  <a:off x="5693247" y="2519965"/>
                  <a:ext cx="991344" cy="991341"/>
                  <a:chOff x="3031080" y="2734209"/>
                  <a:chExt cx="752622" cy="752623"/>
                </a:xfrm>
              </p:grpSpPr>
              <p:sp>
                <p:nvSpPr>
                  <p:cNvPr id="32" name="Oval 31">
                    <a:extLst>
                      <a:ext uri="{FF2B5EF4-FFF2-40B4-BE49-F238E27FC236}">
                        <a16:creationId xmlns:a16="http://schemas.microsoft.com/office/drawing/2014/main" id="{1A38DFAA-6542-3C0B-0C6C-B6BDE510AA03}"/>
                      </a:ext>
                    </a:extLst>
                  </p:cNvPr>
                  <p:cNvSpPr>
                    <a:spLocks/>
                  </p:cNvSpPr>
                  <p:nvPr/>
                </p:nvSpPr>
                <p:spPr bwMode="auto">
                  <a:xfrm>
                    <a:off x="3031080" y="2734209"/>
                    <a:ext cx="752622"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9086BAD3-4F53-7396-A13D-126C4A1949E2}"/>
                      </a:ext>
                    </a:extLst>
                  </p:cNvPr>
                  <p:cNvSpPr>
                    <a:spLocks/>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31" name="Graphic 30" descr="Flowchart outline">
                  <a:extLst>
                    <a:ext uri="{FF2B5EF4-FFF2-40B4-BE49-F238E27FC236}">
                      <a16:creationId xmlns:a16="http://schemas.microsoft.com/office/drawing/2014/main" id="{19B34D62-41CB-0A5D-7E20-F9CCD52D16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14768" y="2731859"/>
                  <a:ext cx="552075" cy="552075"/>
                </a:xfrm>
                <a:prstGeom prst="rect">
                  <a:avLst/>
                </a:prstGeom>
              </p:spPr>
            </p:pic>
          </p:grpSp>
          <p:sp>
            <p:nvSpPr>
              <p:cNvPr id="17" name="TextBox 16">
                <a:extLst>
                  <a:ext uri="{FF2B5EF4-FFF2-40B4-BE49-F238E27FC236}">
                    <a16:creationId xmlns:a16="http://schemas.microsoft.com/office/drawing/2014/main" id="{398D610C-72EC-E97C-04CF-BE88258C2238}"/>
                  </a:ext>
                </a:extLst>
              </p:cNvPr>
              <p:cNvSpPr txBox="1">
                <a:spLocks/>
              </p:cNvSpPr>
              <p:nvPr/>
            </p:nvSpPr>
            <p:spPr>
              <a:xfrm>
                <a:off x="5103024" y="3308572"/>
                <a:ext cx="198595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95CCD"/>
                    </a:solidFill>
                    <a:effectLst/>
                    <a:uLnTx/>
                    <a:uFillTx/>
                    <a:latin typeface="Segoe UI Semibold" panose="020B0702040204020203" pitchFamily="34" charset="0"/>
                    <a:ea typeface="+mn-ea"/>
                    <a:cs typeface="Segoe UI Semibold" panose="020B0702040204020203" pitchFamily="34" charset="0"/>
                  </a:rPr>
                  <a:t>For Makers</a:t>
                </a:r>
                <a:endParaRPr kumimoji="0" lang="en-US" sz="1400" b="0" i="0" u="none" strike="noStrike" kern="1200" cap="none" spc="0" normalizeH="0" baseline="0" noProof="0">
                  <a:ln>
                    <a:noFill/>
                  </a:ln>
                  <a:solidFill>
                    <a:srgbClr val="595CCD"/>
                  </a:solidFill>
                  <a:effectLst/>
                  <a:uLnTx/>
                  <a:uFillTx/>
                  <a:latin typeface="Segoe UI Semibold" panose="020B0702040204020203" pitchFamily="34" charset="0"/>
                  <a:ea typeface="+mn-ea"/>
                  <a:cs typeface="Segoe UI Semibold" panose="020B0702040204020203" pitchFamily="34" charset="0"/>
                </a:endParaRPr>
              </a:p>
            </p:txBody>
          </p:sp>
          <p:sp>
            <p:nvSpPr>
              <p:cNvPr id="25" name="Rectangle: Rounded Corners 24">
                <a:extLst>
                  <a:ext uri="{FF2B5EF4-FFF2-40B4-BE49-F238E27FC236}">
                    <a16:creationId xmlns:a16="http://schemas.microsoft.com/office/drawing/2014/main" id="{AC17BD9F-D6D8-1081-9AFF-D4ABCF4135F2}"/>
                  </a:ext>
                  <a:ext uri="{C183D7F6-B498-43B3-948B-1728B52AA6E4}">
                    <adec:decorative xmlns:adec="http://schemas.microsoft.com/office/drawing/2017/decorative" val="0"/>
                  </a:ext>
                </a:extLst>
              </p:cNvPr>
              <p:cNvSpPr>
                <a:spLocks/>
              </p:cNvSpPr>
              <p:nvPr/>
            </p:nvSpPr>
            <p:spPr bwMode="auto">
              <a:xfrm>
                <a:off x="5309683" y="5668034"/>
                <a:ext cx="1572640" cy="365796"/>
              </a:xfrm>
              <a:prstGeom prst="roundRect">
                <a:avLst>
                  <a:gd name="adj" fmla="val 31242"/>
                </a:avLst>
              </a:prstGeom>
              <a:solidFill>
                <a:schemeClr val="bg1">
                  <a:alpha val="67000"/>
                </a:schemeClr>
              </a:solidFill>
              <a:ln w="25400" cap="flat">
                <a:solidFill>
                  <a:schemeClr val="bg1"/>
                </a:solidFill>
                <a:prstDash val="solid"/>
                <a:miter/>
              </a:ln>
              <a:effectLst>
                <a:outerShdw blurRad="76200" sx="102000" sy="102000" algn="ctr" rotWithShape="0">
                  <a:prstClr val="black">
                    <a:alpha val="17000"/>
                  </a:prstClr>
                </a:outerShdw>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000000"/>
                    </a:solidFill>
                    <a:effectLst/>
                    <a:uLnTx/>
                    <a:uFillTx/>
                    <a:latin typeface="Segoe UI Semibold"/>
                    <a:ea typeface="+mn-ea"/>
                    <a:cs typeface="Segoe UI" pitchFamily="34" charset="0"/>
                  </a:rPr>
                  <a:t>Copilot Studio</a:t>
                </a:r>
              </a:p>
            </p:txBody>
          </p:sp>
          <p:pic>
            <p:nvPicPr>
              <p:cNvPr id="47" name="Picture 46">
                <a:extLst>
                  <a:ext uri="{FF2B5EF4-FFF2-40B4-BE49-F238E27FC236}">
                    <a16:creationId xmlns:a16="http://schemas.microsoft.com/office/drawing/2014/main" id="{C73FDD8C-E462-64BA-4238-51411C2C5ECB}"/>
                  </a:ext>
                </a:extLst>
              </p:cNvPr>
              <p:cNvPicPr>
                <a:picLocks noChangeAspect="1"/>
              </p:cNvPicPr>
              <p:nvPr/>
            </p:nvPicPr>
            <p:blipFill>
              <a:blip r:embed="rId5"/>
              <a:stretch>
                <a:fillRect/>
              </a:stretch>
            </p:blipFill>
            <p:spPr>
              <a:xfrm>
                <a:off x="4633708" y="3911529"/>
                <a:ext cx="2924583" cy="1476581"/>
              </a:xfrm>
              <a:prstGeom prst="rect">
                <a:avLst/>
              </a:prstGeom>
              <a:effectLst>
                <a:outerShdw blurRad="63500" sx="102000" sy="102000" algn="ctr" rotWithShape="0">
                  <a:prstClr val="black">
                    <a:alpha val="40000"/>
                  </a:prstClr>
                </a:outerShdw>
              </a:effectLst>
            </p:spPr>
          </p:pic>
        </p:grpSp>
        <p:grpSp>
          <p:nvGrpSpPr>
            <p:cNvPr id="53" name="Group 52">
              <a:extLst>
                <a:ext uri="{FF2B5EF4-FFF2-40B4-BE49-F238E27FC236}">
                  <a16:creationId xmlns:a16="http://schemas.microsoft.com/office/drawing/2014/main" id="{CB217ECE-6A06-0F0C-37A1-0BD1C91AB824}"/>
                </a:ext>
              </a:extLst>
            </p:cNvPr>
            <p:cNvGrpSpPr>
              <a:grpSpLocks/>
            </p:cNvGrpSpPr>
            <p:nvPr/>
          </p:nvGrpSpPr>
          <p:grpSpPr>
            <a:xfrm>
              <a:off x="8440731" y="2240455"/>
              <a:ext cx="2514951" cy="4195967"/>
              <a:chOff x="8388832" y="2259921"/>
              <a:chExt cx="2514951" cy="4195967"/>
            </a:xfrm>
          </p:grpSpPr>
          <p:grpSp>
            <p:nvGrpSpPr>
              <p:cNvPr id="19" name="Group 18">
                <a:extLst>
                  <a:ext uri="{FF2B5EF4-FFF2-40B4-BE49-F238E27FC236}">
                    <a16:creationId xmlns:a16="http://schemas.microsoft.com/office/drawing/2014/main" id="{185E10B1-72F6-BD93-5814-EF9E35BD8130}"/>
                  </a:ext>
                </a:extLst>
              </p:cNvPr>
              <p:cNvGrpSpPr>
                <a:grpSpLocks/>
              </p:cNvGrpSpPr>
              <p:nvPr/>
            </p:nvGrpSpPr>
            <p:grpSpPr>
              <a:xfrm>
                <a:off x="9112182" y="2259921"/>
                <a:ext cx="991344" cy="991341"/>
                <a:chOff x="8326586" y="2528545"/>
                <a:chExt cx="991344" cy="991341"/>
              </a:xfrm>
            </p:grpSpPr>
            <p:grpSp>
              <p:nvGrpSpPr>
                <p:cNvPr id="26" name="Group 25">
                  <a:extLst>
                    <a:ext uri="{FF2B5EF4-FFF2-40B4-BE49-F238E27FC236}">
                      <a16:creationId xmlns:a16="http://schemas.microsoft.com/office/drawing/2014/main" id="{3182268C-627D-A019-F36B-A7BF30A15DD6}"/>
                    </a:ext>
                  </a:extLst>
                </p:cNvPr>
                <p:cNvGrpSpPr>
                  <a:grpSpLocks/>
                </p:cNvGrpSpPr>
                <p:nvPr/>
              </p:nvGrpSpPr>
              <p:grpSpPr>
                <a:xfrm>
                  <a:off x="8326586" y="2528545"/>
                  <a:ext cx="991344" cy="991341"/>
                  <a:chOff x="3031102" y="2734209"/>
                  <a:chExt cx="752628" cy="752623"/>
                </a:xfrm>
              </p:grpSpPr>
              <p:sp>
                <p:nvSpPr>
                  <p:cNvPr id="28" name="Oval 27">
                    <a:extLst>
                      <a:ext uri="{FF2B5EF4-FFF2-40B4-BE49-F238E27FC236}">
                        <a16:creationId xmlns:a16="http://schemas.microsoft.com/office/drawing/2014/main" id="{B0DB64F5-7C0A-D035-2AD0-6AD619D10343}"/>
                      </a:ext>
                    </a:extLst>
                  </p:cNvPr>
                  <p:cNvSpPr>
                    <a:spLocks/>
                  </p:cNvSpPr>
                  <p:nvPr/>
                </p:nvSpPr>
                <p:spPr bwMode="auto">
                  <a:xfrm>
                    <a:off x="3031102" y="2734209"/>
                    <a:ext cx="752628" cy="752623"/>
                  </a:xfrm>
                  <a:prstGeom prst="ellipse">
                    <a:avLst/>
                  </a:prstGeom>
                  <a:solidFill>
                    <a:schemeClr val="bg1">
                      <a:lumMod val="95000"/>
                      <a:alpha val="50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5FA77B5F-3DE3-C950-7346-722969822D19}"/>
                      </a:ext>
                    </a:extLst>
                  </p:cNvPr>
                  <p:cNvSpPr>
                    <a:spLocks/>
                  </p:cNvSpPr>
                  <p:nvPr/>
                </p:nvSpPr>
                <p:spPr bwMode="auto">
                  <a:xfrm>
                    <a:off x="3104982" y="2808102"/>
                    <a:ext cx="604841" cy="604837"/>
                  </a:xfrm>
                  <a:prstGeom prst="ellipse">
                    <a:avLst/>
                  </a:prstGeom>
                  <a:solidFill>
                    <a:schemeClr val="bg1"/>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1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pic>
              <p:nvPicPr>
                <p:cNvPr id="27" name="Graphic 26" descr="Robot Hand outline">
                  <a:extLst>
                    <a:ext uri="{FF2B5EF4-FFF2-40B4-BE49-F238E27FC236}">
                      <a16:creationId xmlns:a16="http://schemas.microsoft.com/office/drawing/2014/main" id="{00A9D47A-9B7E-2F2D-05A9-5521511B73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85864" y="2737513"/>
                  <a:ext cx="549697" cy="549697"/>
                </a:xfrm>
                <a:prstGeom prst="rect">
                  <a:avLst/>
                </a:prstGeom>
              </p:spPr>
            </p:pic>
          </p:grpSp>
          <p:sp>
            <p:nvSpPr>
              <p:cNvPr id="20" name="TextBox 19">
                <a:extLst>
                  <a:ext uri="{FF2B5EF4-FFF2-40B4-BE49-F238E27FC236}">
                    <a16:creationId xmlns:a16="http://schemas.microsoft.com/office/drawing/2014/main" id="{7EAED1BE-CBE7-0FAC-1E1B-AB6DFE3941A7}"/>
                  </a:ext>
                </a:extLst>
              </p:cNvPr>
              <p:cNvSpPr txBox="1">
                <a:spLocks/>
              </p:cNvSpPr>
              <p:nvPr/>
            </p:nvSpPr>
            <p:spPr>
              <a:xfrm>
                <a:off x="8531629" y="3309923"/>
                <a:ext cx="214962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D8ECF"/>
                    </a:solidFill>
                    <a:effectLst/>
                    <a:uLnTx/>
                    <a:uFillTx/>
                    <a:latin typeface="Segoe UI Semibold" panose="020B0702040204020203" pitchFamily="34" charset="0"/>
                    <a:ea typeface="+mn-ea"/>
                    <a:cs typeface="Segoe UI Semibold" panose="020B0702040204020203" pitchFamily="34" charset="0"/>
                  </a:rPr>
                  <a:t>For Developers</a:t>
                </a:r>
                <a:endParaRPr kumimoji="0" lang="en-US" sz="1400" b="0" i="0" u="none" strike="noStrike" kern="1200" cap="none" spc="0" normalizeH="0" baseline="0" noProof="0">
                  <a:ln>
                    <a:noFill/>
                  </a:ln>
                  <a:solidFill>
                    <a:srgbClr val="0D8ECF"/>
                  </a:solidFill>
                  <a:effectLst/>
                  <a:uLnTx/>
                  <a:uFillTx/>
                  <a:latin typeface="Segoe UI Semibold" panose="020B0702040204020203" pitchFamily="34" charset="0"/>
                  <a:ea typeface="+mn-ea"/>
                  <a:cs typeface="Segoe UI Semibold" panose="020B0702040204020203" pitchFamily="34" charset="0"/>
                </a:endParaRPr>
              </a:p>
            </p:txBody>
          </p:sp>
          <p:sp>
            <p:nvSpPr>
              <p:cNvPr id="23" name="Rectangle: Rounded Corners 22">
                <a:extLst>
                  <a:ext uri="{FF2B5EF4-FFF2-40B4-BE49-F238E27FC236}">
                    <a16:creationId xmlns:a16="http://schemas.microsoft.com/office/drawing/2014/main" id="{5E1BE0DF-D40C-2CD0-0F09-6226F14B5CD3}"/>
                  </a:ext>
                  <a:ext uri="{C183D7F6-B498-43B3-948B-1728B52AA6E4}">
                    <adec:decorative xmlns:adec="http://schemas.microsoft.com/office/drawing/2017/decorative" val="0"/>
                  </a:ext>
                </a:extLst>
              </p:cNvPr>
              <p:cNvSpPr>
                <a:spLocks/>
              </p:cNvSpPr>
              <p:nvPr/>
            </p:nvSpPr>
            <p:spPr bwMode="auto">
              <a:xfrm>
                <a:off x="8596851" y="5492875"/>
                <a:ext cx="2098911" cy="963013"/>
              </a:xfrm>
              <a:prstGeom prst="roundRect">
                <a:avLst>
                  <a:gd name="adj" fmla="val 31242"/>
                </a:avLst>
              </a:prstGeom>
              <a:solidFill>
                <a:schemeClr val="bg1">
                  <a:alpha val="67000"/>
                </a:schemeClr>
              </a:solidFill>
              <a:ln w="25400" cap="flat">
                <a:solidFill>
                  <a:schemeClr val="bg1"/>
                </a:solidFill>
                <a:prstDash val="solid"/>
                <a:miter/>
              </a:ln>
              <a:effectLst>
                <a:outerShdw blurRad="76200" sx="102000" sy="102000" algn="ctr" rotWithShape="0">
                  <a:prstClr val="black">
                    <a:alpha val="17000"/>
                  </a:prstClr>
                </a:outerShdw>
              </a:effectLst>
            </p:spPr>
            <p:txBody>
              <a:bodyPr rot="0" spcFirstLastPara="0" vertOverflow="overflow" horzOverflow="overflow" vert="horz" wrap="none" lIns="91440" tIns="18288" rIns="91440" bIns="36576" numCol="1" spcCol="0" rtlCol="0" fromWordArt="0" anchor="ctr" anchorCtr="0" forceAA="0" compatLnSpc="1">
                <a:prstTxWarp prst="textNoShape">
                  <a:avLst/>
                </a:prstTxWarp>
                <a:spAutoFit/>
              </a:bodyPr>
              <a:lstStyle/>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000000"/>
                    </a:solidFill>
                    <a:effectLst/>
                    <a:uLnTx/>
                    <a:uFillTx/>
                    <a:latin typeface="Segoe UI Semibold"/>
                    <a:ea typeface="+mn-ea"/>
                    <a:cs typeface="Segoe UI" pitchFamily="34" charset="0"/>
                  </a:rPr>
                  <a:t>Visual Studio Code</a:t>
                </a:r>
              </a:p>
              <a:p>
                <a:pPr marL="0" marR="0" lvl="0" indent="0" algn="ctr" defTabSz="914365" rtl="0" eaLnBrk="1" fontAlgn="base" latinLnBrk="0" hangingPunct="1">
                  <a:lnSpc>
                    <a:spcPct val="100000"/>
                  </a:lnSpc>
                  <a:spcBef>
                    <a:spcPct val="0"/>
                  </a:spcBef>
                  <a:spcAft>
                    <a:spcPct val="0"/>
                  </a:spcAft>
                  <a:buClrTx/>
                  <a:buSzTx/>
                  <a:buFontTx/>
                  <a:buNone/>
                  <a:tabLst/>
                  <a:defRPr/>
                </a:pPr>
                <a:r>
                  <a:rPr lang="en-US" sz="1600" b="1">
                    <a:ln w="3175">
                      <a:noFill/>
                    </a:ln>
                    <a:solidFill>
                      <a:srgbClr val="000000"/>
                    </a:solidFill>
                    <a:latin typeface="Segoe UI Semibold"/>
                    <a:cs typeface="Segoe UI" pitchFamily="34" charset="0"/>
                  </a:rPr>
                  <a:t>Teams Toolkit</a:t>
                </a:r>
              </a:p>
              <a:p>
                <a:pPr marL="0" marR="0" lvl="0" indent="0" algn="ctr" defTabSz="91436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solidFill>
                      <a:srgbClr val="000000"/>
                    </a:solidFill>
                    <a:effectLst/>
                    <a:uLnTx/>
                    <a:uFillTx/>
                    <a:latin typeface="Segoe UI Semibold"/>
                    <a:ea typeface="+mn-ea"/>
                    <a:cs typeface="Segoe UI" pitchFamily="34" charset="0"/>
                  </a:rPr>
                  <a:t>Azure AI Foundry</a:t>
                </a:r>
              </a:p>
            </p:txBody>
          </p:sp>
          <p:pic>
            <p:nvPicPr>
              <p:cNvPr id="50" name="Picture 49">
                <a:extLst>
                  <a:ext uri="{FF2B5EF4-FFF2-40B4-BE49-F238E27FC236}">
                    <a16:creationId xmlns:a16="http://schemas.microsoft.com/office/drawing/2014/main" id="{C3DEE5CD-8D2F-20A2-1516-3A466A301A6C}"/>
                  </a:ext>
                </a:extLst>
              </p:cNvPr>
              <p:cNvPicPr>
                <a:picLocks noChangeAspect="1"/>
              </p:cNvPicPr>
              <p:nvPr/>
            </p:nvPicPr>
            <p:blipFill>
              <a:blip r:embed="rId8"/>
              <a:stretch>
                <a:fillRect/>
              </a:stretch>
            </p:blipFill>
            <p:spPr>
              <a:xfrm>
                <a:off x="8388832" y="3895469"/>
                <a:ext cx="2514951" cy="1486107"/>
              </a:xfrm>
              <a:prstGeom prst="rect">
                <a:avLst/>
              </a:prstGeom>
              <a:effectLst>
                <a:outerShdw blurRad="63500" sx="102000" sy="102000" algn="ctr" rotWithShape="0">
                  <a:prstClr val="black">
                    <a:alpha val="40000"/>
                  </a:prstClr>
                </a:outerShdw>
              </a:effectLst>
            </p:spPr>
          </p:pic>
        </p:grpSp>
        <p:sp>
          <p:nvSpPr>
            <p:cNvPr id="57" name="Rectangle 56">
              <a:extLst>
                <a:ext uri="{FF2B5EF4-FFF2-40B4-BE49-F238E27FC236}">
                  <a16:creationId xmlns:a16="http://schemas.microsoft.com/office/drawing/2014/main" id="{DECD0114-1611-2AAB-81AB-4C30A960F6AA}"/>
                </a:ext>
              </a:extLst>
            </p:cNvPr>
            <p:cNvSpPr>
              <a:spLocks/>
            </p:cNvSpPr>
            <p:nvPr/>
          </p:nvSpPr>
          <p:spPr bwMode="auto">
            <a:xfrm>
              <a:off x="5798714" y="2519281"/>
              <a:ext cx="591887" cy="42240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0FF12991-0886-4E48-334D-CB3633DB2395}"/>
                </a:ext>
              </a:extLst>
            </p:cNvPr>
            <p:cNvSpPr>
              <a:spLocks/>
            </p:cNvSpPr>
            <p:nvPr/>
          </p:nvSpPr>
          <p:spPr bwMode="auto">
            <a:xfrm>
              <a:off x="9351217" y="2518263"/>
              <a:ext cx="591887" cy="422404"/>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LID4096"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60" name="Picture 2" descr="A blue and green rectangles&#10;&#10;Description automatically generated">
              <a:extLst>
                <a:ext uri="{FF2B5EF4-FFF2-40B4-BE49-F238E27FC236}">
                  <a16:creationId xmlns:a16="http://schemas.microsoft.com/office/drawing/2014/main" id="{8A8AC51E-576F-C89C-1F6D-D59D3F8A67EA}"/>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5834784" y="2502036"/>
              <a:ext cx="514417" cy="487343"/>
            </a:xfrm>
            <a:prstGeom prst="rect">
              <a:avLst/>
            </a:prstGeom>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C15E36FA-0FCB-3366-703E-4A9FFD2FB252}"/>
                </a:ext>
              </a:extLst>
            </p:cNvPr>
            <p:cNvPicPr>
              <a:picLocks noChangeAspect="1"/>
            </p:cNvPicPr>
            <p:nvPr/>
          </p:nvPicPr>
          <p:blipFill>
            <a:blip r:embed="rId10"/>
            <a:stretch>
              <a:fillRect/>
            </a:stretch>
          </p:blipFill>
          <p:spPr>
            <a:xfrm>
              <a:off x="9404160" y="2496347"/>
              <a:ext cx="486000" cy="486000"/>
            </a:xfrm>
            <a:prstGeom prst="rect">
              <a:avLst/>
            </a:prstGeom>
          </p:spPr>
        </p:pic>
      </p:grpSp>
      <p:sp>
        <p:nvSpPr>
          <p:cNvPr id="2" name="Title 1">
            <a:extLst>
              <a:ext uri="{FF2B5EF4-FFF2-40B4-BE49-F238E27FC236}">
                <a16:creationId xmlns:a16="http://schemas.microsoft.com/office/drawing/2014/main" id="{469464FD-236C-6FA7-D87D-7311469E6328}"/>
              </a:ext>
            </a:extLst>
          </p:cNvPr>
          <p:cNvSpPr>
            <a:spLocks noGrp="1"/>
          </p:cNvSpPr>
          <p:nvPr>
            <p:ph type="title"/>
          </p:nvPr>
        </p:nvSpPr>
        <p:spPr>
          <a:xfrm>
            <a:off x="588263" y="457200"/>
            <a:ext cx="11018520" cy="461665"/>
          </a:xfrm>
        </p:spPr>
        <p:txBody>
          <a:bodyPr/>
          <a:lstStyle/>
          <a:p>
            <a:r>
              <a:rPr lang="en-GB" sz="3000"/>
              <a:t>Tools to build custom engine agents</a:t>
            </a:r>
            <a:endParaRPr lang="en-US" sz="3000"/>
          </a:p>
        </p:txBody>
      </p:sp>
    </p:spTree>
    <p:extLst>
      <p:ext uri="{BB962C8B-B14F-4D97-AF65-F5344CB8AC3E}">
        <p14:creationId xmlns:p14="http://schemas.microsoft.com/office/powerpoint/2010/main" val="126606713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306171-6C63-C1BE-895A-17CF2250A8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3697BE-C784-EC4D-AFF5-FA1D5953B486}"/>
              </a:ext>
            </a:extLst>
          </p:cNvPr>
          <p:cNvSpPr>
            <a:spLocks noGrp="1"/>
          </p:cNvSpPr>
          <p:nvPr>
            <p:ph type="title"/>
          </p:nvPr>
        </p:nvSpPr>
        <p:spPr/>
        <p:txBody>
          <a:bodyPr/>
          <a:lstStyle/>
          <a:p>
            <a:r>
              <a:rPr lang="en-IN"/>
              <a:t>Why custom engine agents?</a:t>
            </a:r>
          </a:p>
        </p:txBody>
      </p:sp>
      <p:sp>
        <p:nvSpPr>
          <p:cNvPr id="3" name="Content Placeholder 3">
            <a:extLst>
              <a:ext uri="{FF2B5EF4-FFF2-40B4-BE49-F238E27FC236}">
                <a16:creationId xmlns:a16="http://schemas.microsoft.com/office/drawing/2014/main" id="{A4DC12FD-1F26-8E59-C7CB-92A0CBAC15D5}"/>
              </a:ext>
            </a:extLst>
          </p:cNvPr>
          <p:cNvSpPr txBox="1">
            <a:spLocks/>
          </p:cNvSpPr>
          <p:nvPr/>
        </p:nvSpPr>
        <p:spPr>
          <a:xfrm>
            <a:off x="1306023" y="1593221"/>
            <a:ext cx="10147301"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Scenarios that require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usage</a:t>
            </a:r>
            <a:r>
              <a:rPr kumimoji="0" lang="en-US" sz="2000" b="0" i="0" u="none" strike="noStrike" kern="1200" cap="none" spc="-50" normalizeH="0" baseline="0" noProof="0">
                <a:ln w="3175">
                  <a:noFill/>
                </a:ln>
                <a:gradFill>
                  <a:gsLst>
                    <a:gs pos="21000">
                      <a:srgbClr val="0078D4"/>
                    </a:gs>
                    <a:gs pos="100000">
                      <a:srgbClr val="50E6FF"/>
                    </a:gs>
                  </a:gsLst>
                  <a:lin ang="2400000" scaled="0"/>
                </a:gradFill>
                <a:effectLst/>
                <a:uLnTx/>
                <a:uFillTx/>
                <a:latin typeface="Segoe UI Semibold (Headings)"/>
                <a:ea typeface="+mn-ea"/>
                <a:cs typeface="Segoe UI Semibold"/>
              </a:rPr>
              <a:t>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of</a:t>
            </a:r>
            <a:r>
              <a:rPr kumimoji="0" lang="en-US" sz="2000" b="0" i="0" u="none" strike="noStrike" kern="1200" cap="none" spc="-50" normalizeH="0" baseline="0" noProof="0">
                <a:ln w="3175">
                  <a:noFill/>
                </a:ln>
                <a:gradFill>
                  <a:gsLst>
                    <a:gs pos="21000">
                      <a:srgbClr val="0078D4"/>
                    </a:gs>
                    <a:gs pos="100000">
                      <a:srgbClr val="50E6FF"/>
                    </a:gs>
                  </a:gsLst>
                  <a:lin ang="2400000" scaled="0"/>
                </a:gradFill>
                <a:effectLst/>
                <a:uLnTx/>
                <a:uFillTx/>
                <a:latin typeface="Segoe UI Semibold (Headings)"/>
                <a:ea typeface="+mn-ea"/>
                <a:cs typeface="Segoe UI Semibold"/>
              </a:rPr>
              <a:t>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specific</a:t>
            </a:r>
            <a:r>
              <a:rPr kumimoji="0" lang="en-US" sz="2000" b="0" i="0" u="none" strike="noStrike" kern="1200" cap="none" spc="-50" normalizeH="0" baseline="0" noProof="0">
                <a:ln w="3175">
                  <a:noFill/>
                </a:ln>
                <a:gradFill>
                  <a:gsLst>
                    <a:gs pos="21000">
                      <a:srgbClr val="0078D4"/>
                    </a:gs>
                    <a:gs pos="100000">
                      <a:srgbClr val="50E6FF"/>
                    </a:gs>
                  </a:gsLst>
                  <a:lin ang="2400000" scaled="0"/>
                </a:gradFill>
                <a:effectLst/>
                <a:uLnTx/>
                <a:uFillTx/>
                <a:latin typeface="Segoe UI Semibold (Headings)"/>
                <a:ea typeface="+mn-ea"/>
                <a:cs typeface="Segoe UI Semibold"/>
              </a:rPr>
              <a:t>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LLM/SLM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t>
            </a:r>
            <a:r>
              <a:rPr kumimoji="0" lang="en-US" sz="16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pen source or custom, instead of Microsoft 365 Copilot)</a:t>
            </a:r>
            <a:endParaRPr kumimoji="0" lang="en-GB" sz="20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4" name="Content Placeholder 3">
            <a:extLst>
              <a:ext uri="{FF2B5EF4-FFF2-40B4-BE49-F238E27FC236}">
                <a16:creationId xmlns:a16="http://schemas.microsoft.com/office/drawing/2014/main" id="{1D75381E-E4EE-D0B8-52C9-131591F9D59C}"/>
              </a:ext>
            </a:extLst>
          </p:cNvPr>
          <p:cNvSpPr txBox="1">
            <a:spLocks/>
          </p:cNvSpPr>
          <p:nvPr/>
        </p:nvSpPr>
        <p:spPr>
          <a:xfrm>
            <a:off x="1306023" y="2284021"/>
            <a:ext cx="10147301"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Publish agents to </a:t>
            </a:r>
            <a:r>
              <a:rPr kumimoji="0" lang="en-AU"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external users</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 </a:t>
            </a: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who are not on Microsoft 365 </a:t>
            </a:r>
            <a:endParaRPr kumimoji="0" lang="en-GB"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5" name="Content Placeholder 3">
            <a:extLst>
              <a:ext uri="{FF2B5EF4-FFF2-40B4-BE49-F238E27FC236}">
                <a16:creationId xmlns:a16="http://schemas.microsoft.com/office/drawing/2014/main" id="{1C637134-5736-03A2-3FD7-264EEB60786E}"/>
              </a:ext>
            </a:extLst>
          </p:cNvPr>
          <p:cNvSpPr txBox="1">
            <a:spLocks/>
          </p:cNvSpPr>
          <p:nvPr/>
        </p:nvSpPr>
        <p:spPr>
          <a:xfrm>
            <a:off x="1306023" y="2974821"/>
            <a:ext cx="10147301"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Enable </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Custom user experiences</a:t>
            </a:r>
            <a:endParaRPr kumimoji="0" lang="en-GB" sz="2000" b="1"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6" name="Content Placeholder 3">
            <a:extLst>
              <a:ext uri="{FF2B5EF4-FFF2-40B4-BE49-F238E27FC236}">
                <a16:creationId xmlns:a16="http://schemas.microsoft.com/office/drawing/2014/main" id="{3EE431DD-3A1C-08DB-A02C-B78FFC51B18F}"/>
              </a:ext>
            </a:extLst>
          </p:cNvPr>
          <p:cNvSpPr txBox="1">
            <a:spLocks/>
          </p:cNvSpPr>
          <p:nvPr/>
        </p:nvSpPr>
        <p:spPr>
          <a:xfrm>
            <a:off x="1306023" y="3665621"/>
            <a:ext cx="10147301"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AU"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More control over experience</a:t>
            </a:r>
            <a:r>
              <a:rPr kumimoji="0" lang="en-US"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 </a:t>
            </a: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han </a:t>
            </a:r>
            <a:r>
              <a:rPr kumimoji="0" lang="en-AU"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Declarative agents</a:t>
            </a:r>
            <a:br>
              <a:rPr kumimoji="0" lang="en-US" sz="2000" b="0" i="0" u="none" strike="noStrike" kern="1200" cap="none" spc="0" normalizeH="0" baseline="0" noProof="0">
                <a:ln>
                  <a:noFill/>
                </a:ln>
                <a:gradFill>
                  <a:gsLst>
                    <a:gs pos="0">
                      <a:srgbClr val="D59ED7"/>
                    </a:gs>
                    <a:gs pos="68000">
                      <a:srgbClr val="8DC8E8"/>
                    </a:gs>
                  </a:gsLst>
                  <a:lin ang="10800000" scaled="1"/>
                </a:gradFill>
                <a:effectLst/>
                <a:uLnTx/>
                <a:uFillTx/>
                <a:latin typeface="Segoe UI Semibold"/>
                <a:ea typeface="+mn-ea"/>
                <a:cs typeface="Segoe UI" panose="020B0502040204020203" pitchFamily="34" charset="0"/>
              </a:rPr>
            </a:br>
            <a:r>
              <a:rPr kumimoji="0" lang="en-US" sz="16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e. Custom Moderation, regulatory frameworks, custom legal &amp; compliance etc.)</a:t>
            </a:r>
          </a:p>
        </p:txBody>
      </p:sp>
      <p:sp>
        <p:nvSpPr>
          <p:cNvPr id="7" name="Content Placeholder 3">
            <a:extLst>
              <a:ext uri="{FF2B5EF4-FFF2-40B4-BE49-F238E27FC236}">
                <a16:creationId xmlns:a16="http://schemas.microsoft.com/office/drawing/2014/main" id="{ACFD9CFF-DDF2-0E09-4BD3-5D34C7255073}"/>
              </a:ext>
            </a:extLst>
          </p:cNvPr>
          <p:cNvSpPr txBox="1">
            <a:spLocks/>
          </p:cNvSpPr>
          <p:nvPr/>
        </p:nvSpPr>
        <p:spPr>
          <a:xfrm>
            <a:off x="1275543" y="4356421"/>
            <a:ext cx="10147301" cy="531020"/>
          </a:xfrm>
          <a:prstGeom prst="rect">
            <a:avLst/>
          </a:prstGeom>
        </p:spPr>
        <p:txBody>
          <a:bodyPr anchor="ct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400"/>
              </a:spcBef>
              <a:spcAft>
                <a:spcPts val="1200"/>
              </a:spcAft>
              <a:buClrTx/>
              <a:buSzPct val="90000"/>
              <a:buFont typeface="Wingdings" panose="05000000000000000000" pitchFamily="2" charset="2"/>
              <a:buNone/>
              <a:tabLst/>
              <a:defRPr/>
            </a:pPr>
            <a:r>
              <a:rPr kumimoji="0" lang="en-AU" sz="2000" b="0" i="0" u="none" strike="noStrike" kern="1200" cap="none" spc="-5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rPr>
              <a:t>Full control </a:t>
            </a: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on Prompt Management, Actions, Triggers, Planner, Orchestration</a:t>
            </a:r>
            <a:endParaRPr kumimoji="0" lang="en-GB"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grpSp>
        <p:nvGrpSpPr>
          <p:cNvPr id="10" name="Group 9">
            <a:extLst>
              <a:ext uri="{FF2B5EF4-FFF2-40B4-BE49-F238E27FC236}">
                <a16:creationId xmlns:a16="http://schemas.microsoft.com/office/drawing/2014/main" id="{3FE1115C-86AA-B2B8-82C7-318A4A6A8668}"/>
              </a:ext>
            </a:extLst>
          </p:cNvPr>
          <p:cNvGrpSpPr/>
          <p:nvPr/>
        </p:nvGrpSpPr>
        <p:grpSpPr>
          <a:xfrm>
            <a:off x="588263" y="1593221"/>
            <a:ext cx="531020" cy="531020"/>
            <a:chOff x="588263" y="1593221"/>
            <a:chExt cx="531020" cy="531020"/>
          </a:xfrm>
        </p:grpSpPr>
        <p:sp>
          <p:nvSpPr>
            <p:cNvPr id="11" name="Oval 10">
              <a:extLst>
                <a:ext uri="{FF2B5EF4-FFF2-40B4-BE49-F238E27FC236}">
                  <a16:creationId xmlns:a16="http://schemas.microsoft.com/office/drawing/2014/main" id="{E18CC447-6CC6-77FC-4153-A40929266800}"/>
                </a:ext>
                <a:ext uri="{C183D7F6-B498-43B3-948B-1728B52AA6E4}">
                  <adec:decorative xmlns:adec="http://schemas.microsoft.com/office/drawing/2017/decorative" val="1"/>
                </a:ext>
              </a:extLst>
            </p:cNvPr>
            <p:cNvSpPr/>
            <p:nvPr/>
          </p:nvSpPr>
          <p:spPr bwMode="auto">
            <a:xfrm>
              <a:off x="588263" y="1593221"/>
              <a:ext cx="531020" cy="531020"/>
            </a:xfrm>
            <a:prstGeom prst="ellipse">
              <a:avLst/>
            </a:prstGeom>
            <a:gradFill>
              <a:gsLst>
                <a:gs pos="0">
                  <a:srgbClr val="C03BC4"/>
                </a:gs>
                <a:gs pos="80000">
                  <a:srgbClr val="0078D4"/>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pic>
          <p:nvPicPr>
            <p:cNvPr id="12" name="Graphic 11">
              <a:extLst>
                <a:ext uri="{FF2B5EF4-FFF2-40B4-BE49-F238E27FC236}">
                  <a16:creationId xmlns:a16="http://schemas.microsoft.com/office/drawing/2014/main" id="{AD73B081-AC3A-3A9F-E8A3-142B2652F5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0120" y="1698715"/>
              <a:ext cx="327306" cy="327306"/>
            </a:xfrm>
            <a:prstGeom prst="rect">
              <a:avLst/>
            </a:prstGeom>
          </p:spPr>
        </p:pic>
      </p:grpSp>
      <p:grpSp>
        <p:nvGrpSpPr>
          <p:cNvPr id="19" name="Group 18">
            <a:extLst>
              <a:ext uri="{FF2B5EF4-FFF2-40B4-BE49-F238E27FC236}">
                <a16:creationId xmlns:a16="http://schemas.microsoft.com/office/drawing/2014/main" id="{8E03CD39-39DE-08BD-4ACD-F0629D9D17C1}"/>
              </a:ext>
            </a:extLst>
          </p:cNvPr>
          <p:cNvGrpSpPr/>
          <p:nvPr/>
        </p:nvGrpSpPr>
        <p:grpSpPr>
          <a:xfrm>
            <a:off x="588263" y="3665621"/>
            <a:ext cx="531020" cy="531020"/>
            <a:chOff x="588263" y="3665621"/>
            <a:chExt cx="531020" cy="531020"/>
          </a:xfrm>
        </p:grpSpPr>
        <p:sp>
          <p:nvSpPr>
            <p:cNvPr id="20" name="Oval 19">
              <a:extLst>
                <a:ext uri="{FF2B5EF4-FFF2-40B4-BE49-F238E27FC236}">
                  <a16:creationId xmlns:a16="http://schemas.microsoft.com/office/drawing/2014/main" id="{3D0CC6E1-0CAA-EF49-7597-F3D167468AE1}"/>
                </a:ext>
                <a:ext uri="{C183D7F6-B498-43B3-948B-1728B52AA6E4}">
                  <adec:decorative xmlns:adec="http://schemas.microsoft.com/office/drawing/2017/decorative" val="1"/>
                </a:ext>
              </a:extLst>
            </p:cNvPr>
            <p:cNvSpPr/>
            <p:nvPr/>
          </p:nvSpPr>
          <p:spPr bwMode="auto">
            <a:xfrm>
              <a:off x="588263" y="3665621"/>
              <a:ext cx="531020" cy="531020"/>
            </a:xfrm>
            <a:prstGeom prst="ellipse">
              <a:avLst/>
            </a:prstGeom>
            <a:gradFill>
              <a:gsLst>
                <a:gs pos="0">
                  <a:srgbClr val="C03BC4"/>
                </a:gs>
                <a:gs pos="80000">
                  <a:srgbClr val="0078D4"/>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pic>
          <p:nvPicPr>
            <p:cNvPr id="21" name="Graphic 20">
              <a:extLst>
                <a:ext uri="{FF2B5EF4-FFF2-40B4-BE49-F238E27FC236}">
                  <a16:creationId xmlns:a16="http://schemas.microsoft.com/office/drawing/2014/main" id="{AA0FEEEF-81D7-5ECA-E75A-3DE11BD59D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0120" y="3767478"/>
              <a:ext cx="327306" cy="327306"/>
            </a:xfrm>
            <a:prstGeom prst="rect">
              <a:avLst/>
            </a:prstGeom>
          </p:spPr>
        </p:pic>
      </p:grpSp>
      <p:grpSp>
        <p:nvGrpSpPr>
          <p:cNvPr id="22" name="Group 21">
            <a:extLst>
              <a:ext uri="{FF2B5EF4-FFF2-40B4-BE49-F238E27FC236}">
                <a16:creationId xmlns:a16="http://schemas.microsoft.com/office/drawing/2014/main" id="{2130EED8-7873-CBBF-B1AA-A5F689857BB2}"/>
              </a:ext>
            </a:extLst>
          </p:cNvPr>
          <p:cNvGrpSpPr/>
          <p:nvPr/>
        </p:nvGrpSpPr>
        <p:grpSpPr>
          <a:xfrm>
            <a:off x="588263" y="4356421"/>
            <a:ext cx="531020" cy="531020"/>
            <a:chOff x="588263" y="4356421"/>
            <a:chExt cx="531020" cy="531020"/>
          </a:xfrm>
        </p:grpSpPr>
        <p:sp>
          <p:nvSpPr>
            <p:cNvPr id="23" name="Oval 22">
              <a:extLst>
                <a:ext uri="{FF2B5EF4-FFF2-40B4-BE49-F238E27FC236}">
                  <a16:creationId xmlns:a16="http://schemas.microsoft.com/office/drawing/2014/main" id="{B0CCF007-E4A8-E82D-032F-C366638C115C}"/>
                </a:ext>
                <a:ext uri="{C183D7F6-B498-43B3-948B-1728B52AA6E4}">
                  <adec:decorative xmlns:adec="http://schemas.microsoft.com/office/drawing/2017/decorative" val="1"/>
                </a:ext>
              </a:extLst>
            </p:cNvPr>
            <p:cNvSpPr/>
            <p:nvPr/>
          </p:nvSpPr>
          <p:spPr bwMode="auto">
            <a:xfrm>
              <a:off x="588263" y="4356421"/>
              <a:ext cx="531020" cy="531020"/>
            </a:xfrm>
            <a:prstGeom prst="ellipse">
              <a:avLst/>
            </a:prstGeom>
            <a:gradFill>
              <a:gsLst>
                <a:gs pos="0">
                  <a:srgbClr val="C03BC4"/>
                </a:gs>
                <a:gs pos="80000">
                  <a:srgbClr val="0078D4"/>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pic>
          <p:nvPicPr>
            <p:cNvPr id="24" name="Graphic 23">
              <a:extLst>
                <a:ext uri="{FF2B5EF4-FFF2-40B4-BE49-F238E27FC236}">
                  <a16:creationId xmlns:a16="http://schemas.microsoft.com/office/drawing/2014/main" id="{4F0C3C23-9714-2E79-EAF7-2D95B1582B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0120" y="4458278"/>
              <a:ext cx="327306" cy="327306"/>
            </a:xfrm>
            <a:prstGeom prst="rect">
              <a:avLst/>
            </a:prstGeom>
          </p:spPr>
        </p:pic>
      </p:grpSp>
      <p:grpSp>
        <p:nvGrpSpPr>
          <p:cNvPr id="25" name="Group 24">
            <a:extLst>
              <a:ext uri="{FF2B5EF4-FFF2-40B4-BE49-F238E27FC236}">
                <a16:creationId xmlns:a16="http://schemas.microsoft.com/office/drawing/2014/main" id="{D5FBA10D-12BD-7204-EA63-0F56FE2AD044}"/>
              </a:ext>
            </a:extLst>
          </p:cNvPr>
          <p:cNvGrpSpPr/>
          <p:nvPr/>
        </p:nvGrpSpPr>
        <p:grpSpPr>
          <a:xfrm>
            <a:off x="588263" y="2974821"/>
            <a:ext cx="531020" cy="531020"/>
            <a:chOff x="588263" y="2974821"/>
            <a:chExt cx="531020" cy="531020"/>
          </a:xfrm>
        </p:grpSpPr>
        <p:sp>
          <p:nvSpPr>
            <p:cNvPr id="26" name="Oval 25">
              <a:extLst>
                <a:ext uri="{FF2B5EF4-FFF2-40B4-BE49-F238E27FC236}">
                  <a16:creationId xmlns:a16="http://schemas.microsoft.com/office/drawing/2014/main" id="{582BD9F7-7D64-E260-ED07-1B53C818201D}"/>
                </a:ext>
                <a:ext uri="{C183D7F6-B498-43B3-948B-1728B52AA6E4}">
                  <adec:decorative xmlns:adec="http://schemas.microsoft.com/office/drawing/2017/decorative" val="1"/>
                </a:ext>
              </a:extLst>
            </p:cNvPr>
            <p:cNvSpPr/>
            <p:nvPr/>
          </p:nvSpPr>
          <p:spPr bwMode="auto">
            <a:xfrm>
              <a:off x="588263" y="2974821"/>
              <a:ext cx="531020" cy="531020"/>
            </a:xfrm>
            <a:prstGeom prst="ellipse">
              <a:avLst/>
            </a:prstGeom>
            <a:gradFill>
              <a:gsLst>
                <a:gs pos="0">
                  <a:srgbClr val="C03BC4"/>
                </a:gs>
                <a:gs pos="80000">
                  <a:srgbClr val="0078D4"/>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pic>
          <p:nvPicPr>
            <p:cNvPr id="27" name="Graphic 26">
              <a:extLst>
                <a:ext uri="{FF2B5EF4-FFF2-40B4-BE49-F238E27FC236}">
                  <a16:creationId xmlns:a16="http://schemas.microsoft.com/office/drawing/2014/main" id="{EADF53E9-7B21-BED7-0DC9-0B8A38ACBB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0120" y="3076678"/>
              <a:ext cx="327306" cy="327306"/>
            </a:xfrm>
            <a:prstGeom prst="rect">
              <a:avLst/>
            </a:prstGeom>
          </p:spPr>
        </p:pic>
      </p:grpSp>
      <p:grpSp>
        <p:nvGrpSpPr>
          <p:cNvPr id="28" name="Group 27">
            <a:extLst>
              <a:ext uri="{FF2B5EF4-FFF2-40B4-BE49-F238E27FC236}">
                <a16:creationId xmlns:a16="http://schemas.microsoft.com/office/drawing/2014/main" id="{EFA80AD9-33B1-BB79-2EDE-CA932C9BF0E1}"/>
              </a:ext>
            </a:extLst>
          </p:cNvPr>
          <p:cNvGrpSpPr/>
          <p:nvPr/>
        </p:nvGrpSpPr>
        <p:grpSpPr>
          <a:xfrm>
            <a:off x="588263" y="2284021"/>
            <a:ext cx="531020" cy="531020"/>
            <a:chOff x="588263" y="2284021"/>
            <a:chExt cx="531020" cy="531020"/>
          </a:xfrm>
        </p:grpSpPr>
        <p:sp>
          <p:nvSpPr>
            <p:cNvPr id="29" name="Oval 28">
              <a:extLst>
                <a:ext uri="{FF2B5EF4-FFF2-40B4-BE49-F238E27FC236}">
                  <a16:creationId xmlns:a16="http://schemas.microsoft.com/office/drawing/2014/main" id="{AA0BBEAA-3079-DED7-18DD-5AFD0F1FB98B}"/>
                </a:ext>
                <a:ext uri="{C183D7F6-B498-43B3-948B-1728B52AA6E4}">
                  <adec:decorative xmlns:adec="http://schemas.microsoft.com/office/drawing/2017/decorative" val="1"/>
                </a:ext>
              </a:extLst>
            </p:cNvPr>
            <p:cNvSpPr/>
            <p:nvPr/>
          </p:nvSpPr>
          <p:spPr bwMode="auto">
            <a:xfrm>
              <a:off x="588263" y="2284021"/>
              <a:ext cx="531020" cy="531020"/>
            </a:xfrm>
            <a:prstGeom prst="ellipse">
              <a:avLst/>
            </a:prstGeom>
            <a:gradFill>
              <a:gsLst>
                <a:gs pos="0">
                  <a:srgbClr val="C03BC4"/>
                </a:gs>
                <a:gs pos="80000">
                  <a:srgbClr val="0078D4"/>
                </a:gs>
              </a:gsLst>
              <a:path path="circle">
                <a:fillToRect l="100000" t="100000"/>
              </a:path>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pic>
          <p:nvPicPr>
            <p:cNvPr id="30" name="Graphic 29">
              <a:extLst>
                <a:ext uri="{FF2B5EF4-FFF2-40B4-BE49-F238E27FC236}">
                  <a16:creationId xmlns:a16="http://schemas.microsoft.com/office/drawing/2014/main" id="{043982D0-D2B9-6B08-1417-3DE76C0E3E6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0120" y="2385878"/>
              <a:ext cx="327306" cy="327306"/>
            </a:xfrm>
            <a:prstGeom prst="rect">
              <a:avLst/>
            </a:prstGeom>
          </p:spPr>
        </p:pic>
      </p:grpSp>
    </p:spTree>
    <p:extLst>
      <p:ext uri="{BB962C8B-B14F-4D97-AF65-F5344CB8AC3E}">
        <p14:creationId xmlns:p14="http://schemas.microsoft.com/office/powerpoint/2010/main" val="10248489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2CECD-84C4-D2D7-4ACF-F072BF8E38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32F590-37C3-2307-284A-1C4BCA2E0452}"/>
              </a:ext>
            </a:extLst>
          </p:cNvPr>
          <p:cNvSpPr>
            <a:spLocks noGrp="1"/>
          </p:cNvSpPr>
          <p:nvPr>
            <p:ph type="title"/>
          </p:nvPr>
        </p:nvSpPr>
        <p:spPr>
          <a:xfrm>
            <a:off x="585216" y="2977823"/>
            <a:ext cx="9144000" cy="553998"/>
          </a:xfrm>
        </p:spPr>
        <p:txBody>
          <a:bodyPr/>
          <a:lstStyle/>
          <a:p>
            <a:r>
              <a:rPr lang="en-US"/>
              <a:t>Building an autonomous agent</a:t>
            </a:r>
          </a:p>
        </p:txBody>
      </p:sp>
      <p:sp>
        <p:nvSpPr>
          <p:cNvPr id="3" name="Text Placeholder 2">
            <a:extLst>
              <a:ext uri="{FF2B5EF4-FFF2-40B4-BE49-F238E27FC236}">
                <a16:creationId xmlns:a16="http://schemas.microsoft.com/office/drawing/2014/main" id="{AFAA94D0-352A-40F4-BEF1-54D9A4BB12B0}"/>
              </a:ext>
            </a:extLst>
          </p:cNvPr>
          <p:cNvSpPr>
            <a:spLocks noGrp="1"/>
          </p:cNvSpPr>
          <p:nvPr>
            <p:ph type="body" sz="quarter" idx="12"/>
          </p:nvPr>
        </p:nvSpPr>
        <p:spPr/>
        <p:txBody>
          <a:bodyPr/>
          <a:lstStyle/>
          <a:p>
            <a:r>
              <a:rPr lang="en-US"/>
              <a:t>Demo</a:t>
            </a:r>
          </a:p>
        </p:txBody>
      </p:sp>
    </p:spTree>
    <p:extLst>
      <p:ext uri="{BB962C8B-B14F-4D97-AF65-F5344CB8AC3E}">
        <p14:creationId xmlns:p14="http://schemas.microsoft.com/office/powerpoint/2010/main" val="11023071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Freeform: Shape 123">
            <a:extLst>
              <a:ext uri="{FF2B5EF4-FFF2-40B4-BE49-F238E27FC236}">
                <a16:creationId xmlns:a16="http://schemas.microsoft.com/office/drawing/2014/main" id="{FF20B4BD-77EE-A41D-0B93-1672E335BDC3}"/>
              </a:ext>
            </a:extLst>
          </p:cNvPr>
          <p:cNvSpPr/>
          <p:nvPr/>
        </p:nvSpPr>
        <p:spPr bwMode="auto">
          <a:xfrm>
            <a:off x="0" y="0"/>
            <a:ext cx="8327866" cy="6858000"/>
          </a:xfrm>
          <a:custGeom>
            <a:avLst/>
            <a:gdLst>
              <a:gd name="connsiteX0" fmla="*/ 0 w 8327866"/>
              <a:gd name="connsiteY0" fmla="*/ 0 h 6858000"/>
              <a:gd name="connsiteX1" fmla="*/ 7171716 w 8327866"/>
              <a:gd name="connsiteY1" fmla="*/ 0 h 6858000"/>
              <a:gd name="connsiteX2" fmla="*/ 7202170 w 8327866"/>
              <a:gd name="connsiteY2" fmla="*/ 38753 h 6858000"/>
              <a:gd name="connsiteX3" fmla="*/ 8327866 w 8327866"/>
              <a:gd name="connsiteY3" fmla="*/ 3429000 h 6858000"/>
              <a:gd name="connsiteX4" fmla="*/ 7202170 w 8327866"/>
              <a:gd name="connsiteY4" fmla="*/ 6819248 h 6858000"/>
              <a:gd name="connsiteX5" fmla="*/ 7171716 w 8327866"/>
              <a:gd name="connsiteY5" fmla="*/ 6858000 h 6858000"/>
              <a:gd name="connsiteX6" fmla="*/ 0 w 8327866"/>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27866" h="6858000">
                <a:moveTo>
                  <a:pt x="0" y="0"/>
                </a:moveTo>
                <a:lnTo>
                  <a:pt x="7171716" y="0"/>
                </a:lnTo>
                <a:lnTo>
                  <a:pt x="7202170" y="38753"/>
                </a:lnTo>
                <a:cubicBezTo>
                  <a:pt x="7909179" y="984136"/>
                  <a:pt x="8327866" y="2157673"/>
                  <a:pt x="8327866" y="3429000"/>
                </a:cubicBezTo>
                <a:cubicBezTo>
                  <a:pt x="8327866" y="4700327"/>
                  <a:pt x="7909179" y="5873864"/>
                  <a:pt x="7202170" y="6819248"/>
                </a:cubicBezTo>
                <a:lnTo>
                  <a:pt x="7171716" y="6858000"/>
                </a:lnTo>
                <a:lnTo>
                  <a:pt x="0" y="685800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Rectangle: Rounded Corners 23">
            <a:extLst>
              <a:ext uri="{FF2B5EF4-FFF2-40B4-BE49-F238E27FC236}">
                <a16:creationId xmlns:a16="http://schemas.microsoft.com/office/drawing/2014/main" id="{8121855B-182A-B457-850B-9E1A4D418D13}"/>
              </a:ext>
              <a:ext uri="{C183D7F6-B498-43B3-948B-1728B52AA6E4}">
                <adec:decorative xmlns:adec="http://schemas.microsoft.com/office/drawing/2017/decorative" val="1"/>
              </a:ext>
            </a:extLst>
          </p:cNvPr>
          <p:cNvSpPr>
            <a:spLocks/>
          </p:cNvSpPr>
          <p:nvPr/>
        </p:nvSpPr>
        <p:spPr bwMode="auto">
          <a:xfrm>
            <a:off x="7578849" y="866496"/>
            <a:ext cx="4038019" cy="5125009"/>
          </a:xfrm>
          <a:prstGeom prst="roundRect">
            <a:avLst>
              <a:gd name="adj" fmla="val 4185"/>
            </a:avLst>
          </a:prstGeom>
          <a:solidFill>
            <a:schemeClr val="bg1"/>
          </a:solidFill>
          <a:ln w="12700">
            <a:no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0" name="Text 1">
            <a:extLst>
              <a:ext uri="{FF2B5EF4-FFF2-40B4-BE49-F238E27FC236}">
                <a16:creationId xmlns:a16="http://schemas.microsoft.com/office/drawing/2014/main" id="{EBA78939-7052-A480-4AB2-61696889B23A}"/>
              </a:ext>
            </a:extLst>
          </p:cNvPr>
          <p:cNvSpPr>
            <a:spLocks/>
          </p:cNvSpPr>
          <p:nvPr/>
        </p:nvSpPr>
        <p:spPr>
          <a:xfrm>
            <a:off x="8570428" y="4311033"/>
            <a:ext cx="2773846" cy="1051570"/>
          </a:xfrm>
          <a:prstGeom prst="rect">
            <a:avLst/>
          </a:prstGeom>
          <a:noFill/>
          <a:ln/>
        </p:spPr>
        <p:txBody>
          <a:bodyPr wrap="square" lIns="0" tIns="0" rIns="0" bIns="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Semibold"/>
              </a:rPr>
              <a:t>Moderators</a:t>
            </a:r>
          </a:p>
          <a:p>
            <a:pPr marL="342900" marR="0" lvl="0" indent="-228600" algn="l" defTabSz="6095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Semibold"/>
              </a:rPr>
              <a:t>Frank Chen</a:t>
            </a:r>
          </a:p>
          <a:p>
            <a:pPr marL="114300" marR="0" lvl="0" indent="0" algn="l" defTabSz="609539"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Semibold"/>
              </a:rPr>
              <a:t> </a:t>
            </a:r>
          </a:p>
        </p:txBody>
      </p:sp>
      <p:sp>
        <p:nvSpPr>
          <p:cNvPr id="30" name="!!Web">
            <a:extLst>
              <a:ext uri="{FF2B5EF4-FFF2-40B4-BE49-F238E27FC236}">
                <a16:creationId xmlns:a16="http://schemas.microsoft.com/office/drawing/2014/main" id="{55E1C8E3-E38F-9AE5-58BC-BEA89A9FAC3B}"/>
              </a:ext>
            </a:extLst>
          </p:cNvPr>
          <p:cNvSpPr>
            <a:spLocks noChangeAspect="1"/>
          </p:cNvSpPr>
          <p:nvPr/>
        </p:nvSpPr>
        <p:spPr bwMode="auto">
          <a:xfrm>
            <a:off x="1840059" y="2607511"/>
            <a:ext cx="1642982" cy="1642978"/>
          </a:xfrm>
          <a:prstGeom prst="ellipse">
            <a:avLst/>
          </a:prstGeom>
          <a:solidFill>
            <a:schemeClr val="bg1"/>
          </a:solidFill>
          <a:ln w="38100" cap="flat" cmpd="sng" algn="ctr">
            <a:noFill/>
            <a:prstDash val="solid"/>
            <a:headEnd type="none" w="med" len="med"/>
            <a:tailEnd type="none" w="med" len="med"/>
          </a:ln>
          <a:effectLst>
            <a:outerShdw blurRad="63500" algn="ctr" rotWithShape="0">
              <a:schemeClr val="bg1">
                <a:lumMod val="65000"/>
                <a:alpha val="4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6405" rtl="0" eaLnBrk="1" fontAlgn="base" latinLnBrk="0" hangingPunct="1">
              <a:lnSpc>
                <a:spcPct val="100000"/>
              </a:lnSpc>
              <a:spcBef>
                <a:spcPts val="0"/>
              </a:spcBef>
              <a:spcAft>
                <a:spcPts val="0"/>
              </a:spcAft>
              <a:buClrTx/>
              <a:buSzTx/>
              <a:buFontTx/>
              <a:buNone/>
              <a:tabLst/>
              <a:defRPr/>
            </a:pPr>
            <a:endParaRPr kumimoji="0" lang="en-US" sz="667" b="1" i="0" u="none" strike="noStrike" kern="0" cap="none" spc="0" normalizeH="0" baseline="0" noProof="0">
              <a:ln>
                <a:noFill/>
              </a:ln>
              <a:gradFill flip="none" rotWithShape="1">
                <a:gsLst>
                  <a:gs pos="100000">
                    <a:srgbClr val="FFFFFF"/>
                  </a:gs>
                  <a:gs pos="0">
                    <a:srgbClr val="8DC8E8"/>
                  </a:gs>
                </a:gsLst>
                <a:path path="circle">
                  <a:fillToRect l="100000" t="100000"/>
                </a:path>
                <a:tileRect r="-100000" b="-100000"/>
              </a:gradFill>
              <a:effectLst/>
              <a:uLnTx/>
              <a:uFillTx/>
              <a:latin typeface="Segoe UI Variable Display Semibold" pitchFamily="2" charset="0"/>
              <a:ea typeface="+mn-ea"/>
              <a:cs typeface="Segoe UI Semibold" panose="020B0502040204020203" pitchFamily="34" charset="0"/>
            </a:endParaRPr>
          </a:p>
        </p:txBody>
      </p:sp>
      <p:sp>
        <p:nvSpPr>
          <p:cNvPr id="85" name="Oval 84">
            <a:extLst>
              <a:ext uri="{FF2B5EF4-FFF2-40B4-BE49-F238E27FC236}">
                <a16:creationId xmlns:a16="http://schemas.microsoft.com/office/drawing/2014/main" id="{DA9D9379-C366-2F54-B46D-3C91EDE7ACB9}"/>
              </a:ext>
            </a:extLst>
          </p:cNvPr>
          <p:cNvSpPr>
            <a:spLocks/>
          </p:cNvSpPr>
          <p:nvPr/>
        </p:nvSpPr>
        <p:spPr bwMode="auto">
          <a:xfrm>
            <a:off x="221054" y="988504"/>
            <a:ext cx="4880992" cy="4880992"/>
          </a:xfrm>
          <a:prstGeom prst="ellipse">
            <a:avLst/>
          </a:prstGeom>
          <a:noFill/>
          <a:ln w="6350">
            <a:solidFill>
              <a:srgbClr val="F4364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7" name="Oval 86">
            <a:extLst>
              <a:ext uri="{FF2B5EF4-FFF2-40B4-BE49-F238E27FC236}">
                <a16:creationId xmlns:a16="http://schemas.microsoft.com/office/drawing/2014/main" id="{50B5193A-03B4-FD28-3E7D-A8DDEFE3E5D1}"/>
              </a:ext>
            </a:extLst>
          </p:cNvPr>
          <p:cNvSpPr>
            <a:spLocks/>
          </p:cNvSpPr>
          <p:nvPr/>
        </p:nvSpPr>
        <p:spPr bwMode="auto">
          <a:xfrm>
            <a:off x="-1391856" y="-624406"/>
            <a:ext cx="8106812" cy="8106812"/>
          </a:xfrm>
          <a:prstGeom prst="ellipse">
            <a:avLst/>
          </a:prstGeom>
          <a:noFill/>
          <a:ln w="6350">
            <a:solidFill>
              <a:srgbClr val="C03BC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 name="Image 2" descr="preencoded.png">
            <a:extLst>
              <a:ext uri="{FF2B5EF4-FFF2-40B4-BE49-F238E27FC236}">
                <a16:creationId xmlns:a16="http://schemas.microsoft.com/office/drawing/2014/main" id="{DCDB5CD6-181C-8FEF-3802-1E916D8C68F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264272" y="1724768"/>
            <a:ext cx="562019" cy="353436"/>
          </a:xfrm>
          <a:prstGeom prst="rect">
            <a:avLst/>
          </a:prstGeom>
          <a:effectLst>
            <a:outerShdw blurRad="63500" algn="ctr" rotWithShape="0">
              <a:prstClr val="black">
                <a:alpha val="20000"/>
              </a:prstClr>
            </a:outerShdw>
          </a:effectLst>
        </p:spPr>
      </p:pic>
      <p:pic>
        <p:nvPicPr>
          <p:cNvPr id="6" name="Image 3" descr="preencoded.png">
            <a:extLst>
              <a:ext uri="{FF2B5EF4-FFF2-40B4-BE49-F238E27FC236}">
                <a16:creationId xmlns:a16="http://schemas.microsoft.com/office/drawing/2014/main" id="{03ECEAE8-C597-EE95-61C3-1B2658EACF0D}"/>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401528" y="5625262"/>
            <a:ext cx="520043" cy="447434"/>
          </a:xfrm>
          <a:prstGeom prst="rect">
            <a:avLst/>
          </a:prstGeom>
          <a:effectLst>
            <a:outerShdw blurRad="63500" algn="ctr" rotWithShape="0">
              <a:srgbClr val="000000">
                <a:alpha val="20000"/>
              </a:srgbClr>
            </a:outerShdw>
          </a:effectLst>
        </p:spPr>
      </p:pic>
      <p:pic>
        <p:nvPicPr>
          <p:cNvPr id="7" name="Image 4" descr="preencoded.png">
            <a:extLst>
              <a:ext uri="{FF2B5EF4-FFF2-40B4-BE49-F238E27FC236}">
                <a16:creationId xmlns:a16="http://schemas.microsoft.com/office/drawing/2014/main" id="{F8770BD6-BB63-50FF-4E56-356EED6108B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232" b="232"/>
          <a:stretch/>
        </p:blipFill>
        <p:spPr>
          <a:xfrm>
            <a:off x="2401956" y="744487"/>
            <a:ext cx="519187" cy="425578"/>
          </a:xfrm>
          <a:prstGeom prst="rect">
            <a:avLst/>
          </a:prstGeom>
          <a:effectLst>
            <a:outerShdw blurRad="63500" algn="ctr" rotWithShape="0">
              <a:prstClr val="black">
                <a:alpha val="20000"/>
              </a:prstClr>
            </a:outerShdw>
          </a:effectLst>
        </p:spPr>
      </p:pic>
      <p:pic>
        <p:nvPicPr>
          <p:cNvPr id="8" name="Image 5" descr="preencoded.png">
            <a:extLst>
              <a:ext uri="{FF2B5EF4-FFF2-40B4-BE49-F238E27FC236}">
                <a16:creationId xmlns:a16="http://schemas.microsoft.com/office/drawing/2014/main" id="{7C9C3EC9-B4CC-0412-A80A-E8E0629147D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846696" y="3166340"/>
            <a:ext cx="494835" cy="525320"/>
          </a:xfrm>
          <a:prstGeom prst="rect">
            <a:avLst/>
          </a:prstGeom>
          <a:effectLst>
            <a:outerShdw blurRad="63500" algn="ctr" rotWithShape="0">
              <a:prstClr val="black">
                <a:alpha val="20000"/>
              </a:prstClr>
            </a:outerShdw>
          </a:effectLst>
        </p:spPr>
      </p:pic>
      <p:pic>
        <p:nvPicPr>
          <p:cNvPr id="9" name="Image 6" descr="preencoded.png">
            <a:extLst>
              <a:ext uri="{FF2B5EF4-FFF2-40B4-BE49-F238E27FC236}">
                <a16:creationId xmlns:a16="http://schemas.microsoft.com/office/drawing/2014/main" id="{9F47E99C-C4CE-48F8-BC89-DA7591BF866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98444" y="4769547"/>
            <a:ext cx="535820" cy="501704"/>
          </a:xfrm>
          <a:prstGeom prst="rect">
            <a:avLst/>
          </a:prstGeom>
          <a:effectLst>
            <a:outerShdw blurRad="63500" algn="ctr" rotWithShape="0">
              <a:srgbClr val="000000">
                <a:alpha val="20000"/>
              </a:srgbClr>
            </a:outerShdw>
          </a:effectLst>
        </p:spPr>
      </p:pic>
      <p:grpSp>
        <p:nvGrpSpPr>
          <p:cNvPr id="136" name="Group 135">
            <a:extLst>
              <a:ext uri="{FF2B5EF4-FFF2-40B4-BE49-F238E27FC236}">
                <a16:creationId xmlns:a16="http://schemas.microsoft.com/office/drawing/2014/main" id="{CAB6281F-5F27-B24E-E6C1-A41F7017E6D7}"/>
              </a:ext>
            </a:extLst>
          </p:cNvPr>
          <p:cNvGrpSpPr/>
          <p:nvPr/>
        </p:nvGrpSpPr>
        <p:grpSpPr>
          <a:xfrm>
            <a:off x="2297490" y="3080077"/>
            <a:ext cx="728120" cy="972516"/>
            <a:chOff x="2297490" y="3080077"/>
            <a:chExt cx="728120" cy="972516"/>
          </a:xfrm>
        </p:grpSpPr>
        <p:pic>
          <p:nvPicPr>
            <p:cNvPr id="33" name="Picture 32" descr="A rainbow colored logo on a black background&#10;&#10;Description automatically generated">
              <a:extLst>
                <a:ext uri="{FF2B5EF4-FFF2-40B4-BE49-F238E27FC236}">
                  <a16:creationId xmlns:a16="http://schemas.microsoft.com/office/drawing/2014/main" id="{A7C2F18A-3A47-89C1-E43D-FD3396D5D636}"/>
                </a:ext>
              </a:extLst>
            </p:cNvPr>
            <p:cNvPicPr>
              <a:picLocks/>
            </p:cNvPicPr>
            <p:nvPr/>
          </p:nvPicPr>
          <p:blipFill>
            <a:blip r:embed="rId9"/>
            <a:srcRect l="20655" r="20655"/>
            <a:stretch/>
          </p:blipFill>
          <p:spPr>
            <a:xfrm>
              <a:off x="2297490" y="3080077"/>
              <a:ext cx="728120" cy="697846"/>
            </a:xfrm>
            <a:prstGeom prst="rect">
              <a:avLst/>
            </a:prstGeom>
          </p:spPr>
        </p:pic>
        <p:sp>
          <p:nvSpPr>
            <p:cNvPr id="14" name="Text 0">
              <a:extLst>
                <a:ext uri="{FF2B5EF4-FFF2-40B4-BE49-F238E27FC236}">
                  <a16:creationId xmlns:a16="http://schemas.microsoft.com/office/drawing/2014/main" id="{77FBABEE-FF58-0E68-2D41-3B52DD15A8DF}"/>
                </a:ext>
              </a:extLst>
            </p:cNvPr>
            <p:cNvSpPr/>
            <p:nvPr/>
          </p:nvSpPr>
          <p:spPr>
            <a:xfrm>
              <a:off x="2324253" y="3900478"/>
              <a:ext cx="674594" cy="152115"/>
            </a:xfrm>
            <a:prstGeom prst="rect">
              <a:avLst/>
            </a:prstGeom>
            <a:noFill/>
            <a:ln w="381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COPILOT</a:t>
              </a:r>
            </a:p>
          </p:txBody>
        </p:sp>
      </p:grpSp>
      <p:sp>
        <p:nvSpPr>
          <p:cNvPr id="16" name="Text 2">
            <a:extLst>
              <a:ext uri="{FF2B5EF4-FFF2-40B4-BE49-F238E27FC236}">
                <a16:creationId xmlns:a16="http://schemas.microsoft.com/office/drawing/2014/main" id="{A5E13EE9-3116-8357-0D5E-E282F4B6352F}"/>
              </a:ext>
            </a:extLst>
          </p:cNvPr>
          <p:cNvSpPr/>
          <p:nvPr/>
        </p:nvSpPr>
        <p:spPr>
          <a:xfrm>
            <a:off x="3592769" y="2995124"/>
            <a:ext cx="1041424" cy="251146"/>
          </a:xfrm>
          <a:prstGeom prst="roundRect">
            <a:avLst>
              <a:gd name="adj" fmla="val 50000"/>
            </a:avLst>
          </a:prstGeom>
          <a:solidFill>
            <a:schemeClr val="bg1"/>
          </a:solidFill>
          <a:ln w="38100" cap="flat" cmpd="sng" algn="ctr">
            <a:noFill/>
            <a:prstDash val="solid"/>
            <a:headEnd type="none" w="med" len="med"/>
            <a:tailEnd type="none" w="med" len="med"/>
          </a:ln>
          <a:effectLst>
            <a:outerShdw blurRad="63500" algn="ctr" rotWithShape="0">
              <a:srgbClr val="000000">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PRIVACY</a:t>
            </a:r>
          </a:p>
        </p:txBody>
      </p:sp>
      <p:sp>
        <p:nvSpPr>
          <p:cNvPr id="17" name="Text 3">
            <a:extLst>
              <a:ext uri="{FF2B5EF4-FFF2-40B4-BE49-F238E27FC236}">
                <a16:creationId xmlns:a16="http://schemas.microsoft.com/office/drawing/2014/main" id="{3B209D54-966D-5E9B-37F8-6DC8EED44E00}"/>
              </a:ext>
            </a:extLst>
          </p:cNvPr>
          <p:cNvSpPr/>
          <p:nvPr/>
        </p:nvSpPr>
        <p:spPr>
          <a:xfrm>
            <a:off x="686584" y="2995124"/>
            <a:ext cx="1041424" cy="251146"/>
          </a:xfrm>
          <a:prstGeom prst="roundRect">
            <a:avLst>
              <a:gd name="adj" fmla="val 50000"/>
            </a:avLst>
          </a:prstGeom>
          <a:solidFill>
            <a:schemeClr val="bg1"/>
          </a:solidFill>
          <a:ln w="38100" cap="flat" cmpd="sng" algn="ctr">
            <a:noFill/>
            <a:prstDash val="solid"/>
            <a:headEnd type="none" w="med" len="med"/>
            <a:tailEnd type="none" w="med" len="med"/>
          </a:ln>
          <a:effectLst>
            <a:outerShdw blurRad="63500" algn="ctr" rotWithShape="0">
              <a:srgbClr val="000000">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COMPLIANCE</a:t>
            </a:r>
          </a:p>
        </p:txBody>
      </p:sp>
      <p:sp>
        <p:nvSpPr>
          <p:cNvPr id="18" name="Text 4">
            <a:extLst>
              <a:ext uri="{FF2B5EF4-FFF2-40B4-BE49-F238E27FC236}">
                <a16:creationId xmlns:a16="http://schemas.microsoft.com/office/drawing/2014/main" id="{01EA266E-9940-7F77-BA59-250255AB610F}"/>
              </a:ext>
            </a:extLst>
          </p:cNvPr>
          <p:cNvSpPr/>
          <p:nvPr/>
        </p:nvSpPr>
        <p:spPr>
          <a:xfrm>
            <a:off x="3117419" y="4243361"/>
            <a:ext cx="1041424" cy="251146"/>
          </a:xfrm>
          <a:prstGeom prst="roundRect">
            <a:avLst>
              <a:gd name="adj" fmla="val 50000"/>
            </a:avLst>
          </a:prstGeom>
          <a:solidFill>
            <a:schemeClr val="bg1"/>
          </a:solidFill>
          <a:ln w="38100" cap="flat" cmpd="sng" algn="ctr">
            <a:noFill/>
            <a:prstDash val="solid"/>
            <a:headEnd type="none" w="med" len="med"/>
            <a:tailEnd type="none" w="med" len="med"/>
          </a:ln>
          <a:effectLst>
            <a:outerShdw blurRad="63500" algn="ctr" rotWithShape="0">
              <a:srgbClr val="000000">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RESPONSIBLE AI</a:t>
            </a:r>
          </a:p>
        </p:txBody>
      </p:sp>
      <p:sp>
        <p:nvSpPr>
          <p:cNvPr id="19" name="Text 5">
            <a:extLst>
              <a:ext uri="{FF2B5EF4-FFF2-40B4-BE49-F238E27FC236}">
                <a16:creationId xmlns:a16="http://schemas.microsoft.com/office/drawing/2014/main" id="{6D1404E1-2F33-DBD8-6351-66320D63B2E6}"/>
              </a:ext>
            </a:extLst>
          </p:cNvPr>
          <p:cNvSpPr/>
          <p:nvPr/>
        </p:nvSpPr>
        <p:spPr>
          <a:xfrm>
            <a:off x="1164256" y="4243361"/>
            <a:ext cx="1041424" cy="251146"/>
          </a:xfrm>
          <a:prstGeom prst="roundRect">
            <a:avLst>
              <a:gd name="adj" fmla="val 50000"/>
            </a:avLst>
          </a:prstGeom>
          <a:solidFill>
            <a:schemeClr val="bg1"/>
          </a:solidFill>
          <a:ln w="38100" cap="flat" cmpd="sng" algn="ctr">
            <a:noFill/>
            <a:prstDash val="solid"/>
            <a:headEnd type="none" w="med" len="med"/>
            <a:tailEnd type="none" w="med" len="med"/>
          </a:ln>
          <a:effectLst>
            <a:outerShdw blurRad="63500" algn="ctr" rotWithShape="0">
              <a:srgbClr val="000000">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SECURITY</a:t>
            </a:r>
          </a:p>
        </p:txBody>
      </p:sp>
      <p:sp>
        <p:nvSpPr>
          <p:cNvPr id="22" name="Text 3">
            <a:extLst>
              <a:ext uri="{FF2B5EF4-FFF2-40B4-BE49-F238E27FC236}">
                <a16:creationId xmlns:a16="http://schemas.microsoft.com/office/drawing/2014/main" id="{5193DC68-D251-468E-C47B-392617A7D846}"/>
              </a:ext>
            </a:extLst>
          </p:cNvPr>
          <p:cNvSpPr/>
          <p:nvPr/>
        </p:nvSpPr>
        <p:spPr>
          <a:xfrm>
            <a:off x="2140838" y="2212458"/>
            <a:ext cx="1041424" cy="251146"/>
          </a:xfrm>
          <a:prstGeom prst="roundRect">
            <a:avLst>
              <a:gd name="adj" fmla="val 50000"/>
            </a:avLst>
          </a:prstGeom>
          <a:solidFill>
            <a:schemeClr val="bg1"/>
          </a:solidFill>
          <a:ln w="38100" cap="flat" cmpd="sng" algn="ctr">
            <a:noFill/>
            <a:prstDash val="solid"/>
            <a:headEnd type="none" w="med" len="med"/>
            <a:tailEnd type="none" w="med" len="med"/>
          </a:ln>
          <a:effectLst>
            <a:outerShdw blurRad="63500" algn="ctr" rotWithShape="0">
              <a:srgbClr val="000000">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136405" rtl="0" eaLnBrk="1" fontAlgn="base"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rPr>
              <a:t>PRODUCTIVITY</a:t>
            </a:r>
          </a:p>
        </p:txBody>
      </p:sp>
      <p:pic>
        <p:nvPicPr>
          <p:cNvPr id="102" name="Picture 8" descr="Microsoft Teams Logo: valor, história, PNG">
            <a:extLst>
              <a:ext uri="{FF2B5EF4-FFF2-40B4-BE49-F238E27FC236}">
                <a16:creationId xmlns:a16="http://schemas.microsoft.com/office/drawing/2014/main" id="{912A83A7-1A94-3D1E-F6D4-7FAF2C060DB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7402" r="17402"/>
          <a:stretch/>
        </p:blipFill>
        <p:spPr bwMode="auto">
          <a:xfrm>
            <a:off x="5502652" y="596466"/>
            <a:ext cx="556442" cy="480092"/>
          </a:xfrm>
          <a:prstGeom prst="rect">
            <a:avLst/>
          </a:prstGeom>
          <a:effectLst>
            <a:outerShdw blurRad="635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6" name="Picture 28" descr="Microsoft Outlook Logo PNG, Logo Outlook.com Transparent Images - Free ...">
            <a:extLst>
              <a:ext uri="{FF2B5EF4-FFF2-40B4-BE49-F238E27FC236}">
                <a16:creationId xmlns:a16="http://schemas.microsoft.com/office/drawing/2014/main" id="{79AC3164-B357-E998-BB57-C4B5E5B0685A}"/>
              </a:ext>
            </a:extLst>
          </p:cNvPr>
          <p:cNvPicPr>
            <a:picLocks noChangeArrowheads="1"/>
          </p:cNvPicPr>
          <p:nvPr/>
        </p:nvPicPr>
        <p:blipFill rotWithShape="1">
          <a:blip r:embed="rId11">
            <a:extLst>
              <a:ext uri="{28A0092B-C50C-407E-A947-70E740481C1C}">
                <a14:useLocalDpi xmlns:a14="http://schemas.microsoft.com/office/drawing/2010/main" val="0"/>
              </a:ext>
            </a:extLst>
          </a:blip>
          <a:srcRect t="-3781" b="-3781"/>
          <a:stretch/>
        </p:blipFill>
        <p:spPr bwMode="auto">
          <a:xfrm>
            <a:off x="6336672" y="2276140"/>
            <a:ext cx="502768" cy="502766"/>
          </a:xfrm>
          <a:prstGeom prst="rect">
            <a:avLst/>
          </a:prstGeom>
          <a:effectLst>
            <a:outerShdw blurRad="635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7" name="Picture 2" descr="Microsoft 365 Logo - MaxQ Technologies">
            <a:extLst>
              <a:ext uri="{FF2B5EF4-FFF2-40B4-BE49-F238E27FC236}">
                <a16:creationId xmlns:a16="http://schemas.microsoft.com/office/drawing/2014/main" id="{9552B184-2C9F-0BE4-0086-F36AC020002F}"/>
              </a:ext>
            </a:extLst>
          </p:cNvPr>
          <p:cNvPicPr>
            <a:picLocks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6300102" y="3978488"/>
            <a:ext cx="575908" cy="575906"/>
          </a:xfrm>
          <a:prstGeom prst="rect">
            <a:avLst/>
          </a:prstGeom>
          <a:effectLst>
            <a:outerShdw blurRad="635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8" name="Picture 34" descr="Microsoft Edge&quot; Icon - Download for free – Iconduck">
            <a:extLst>
              <a:ext uri="{FF2B5EF4-FFF2-40B4-BE49-F238E27FC236}">
                <a16:creationId xmlns:a16="http://schemas.microsoft.com/office/drawing/2014/main" id="{AB0F5DC3-7413-65BA-7187-30A2843E802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02652" y="5753976"/>
            <a:ext cx="507558" cy="507558"/>
          </a:xfrm>
          <a:prstGeom prst="rect">
            <a:avLst/>
          </a:prstGeom>
          <a:effectLst>
            <a:outerShdw blurRad="63500" algn="ctr"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26" name="TextBox 125">
            <a:extLst>
              <a:ext uri="{FF2B5EF4-FFF2-40B4-BE49-F238E27FC236}">
                <a16:creationId xmlns:a16="http://schemas.microsoft.com/office/drawing/2014/main" id="{4FEF083B-1BF1-07C3-D4F0-C79207259E85}"/>
              </a:ext>
            </a:extLst>
          </p:cNvPr>
          <p:cNvSpPr txBox="1">
            <a:spLocks noChangeAspect="1"/>
          </p:cNvSpPr>
          <p:nvPr/>
        </p:nvSpPr>
        <p:spPr>
          <a:xfrm>
            <a:off x="7693702" y="989605"/>
            <a:ext cx="3808311" cy="845806"/>
          </a:xfrm>
          <a:prstGeom prst="roundRect">
            <a:avLst>
              <a:gd name="adj" fmla="val 14156"/>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defPPr>
              <a:defRPr lang="en-US"/>
            </a:defPPr>
            <a:lvl1pPr algn="ctr" defTabSz="491019" fontAlgn="base">
              <a:spcBef>
                <a:spcPct val="0"/>
              </a:spcBef>
              <a:spcAft>
                <a:spcPct val="0"/>
              </a:spcAft>
              <a:defRPr sz="1600">
                <a:ln w="3175">
                  <a:noFill/>
                </a:ln>
                <a:solidFill>
                  <a:srgbClr val="FEFFFE"/>
                </a:soli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91019"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w="3175">
                  <a:noFill/>
                </a:ln>
                <a:solidFill>
                  <a:srgbClr val="FFFFFF"/>
                </a:solidFill>
                <a:effectLst/>
                <a:uLnTx/>
                <a:uFillTx/>
                <a:latin typeface="Segoe UI Semibold"/>
                <a:ea typeface="+mn-ea"/>
                <a:cs typeface="Segoe UI" pitchFamily="34" charset="0"/>
              </a:rPr>
              <a:t>Copilot Agents Overview</a:t>
            </a:r>
          </a:p>
        </p:txBody>
      </p:sp>
      <p:sp>
        <p:nvSpPr>
          <p:cNvPr id="128" name="TextBox 127">
            <a:extLst>
              <a:ext uri="{FF2B5EF4-FFF2-40B4-BE49-F238E27FC236}">
                <a16:creationId xmlns:a16="http://schemas.microsoft.com/office/drawing/2014/main" id="{33D582D1-DD35-3BCA-1404-9EFBB81ADF43}"/>
              </a:ext>
            </a:extLst>
          </p:cNvPr>
          <p:cNvSpPr txBox="1">
            <a:spLocks/>
          </p:cNvSpPr>
          <p:nvPr/>
        </p:nvSpPr>
        <p:spPr>
          <a:xfrm>
            <a:off x="8570429" y="2413040"/>
            <a:ext cx="2561121" cy="1405513"/>
          </a:xfrm>
          <a:prstGeom prst="rect">
            <a:avLst/>
          </a:prstGeom>
          <a:noFill/>
        </p:spPr>
        <p:txBody>
          <a:bodyPr wrap="square" lIns="0" tIns="0" rIns="0" bIns="0" anchor="t">
            <a:spAutoFit/>
          </a:bodyPr>
          <a:lstStyle/>
          <a:p>
            <a:pPr marL="0" marR="0" lvl="0" indent="0" algn="l" defTabSz="609539" rtl="0" eaLnBrk="1" fontAlgn="auto" latinLnBrk="0" hangingPunct="1">
              <a:lnSpc>
                <a:spcPct val="100000"/>
              </a:lnSpc>
              <a:spcBef>
                <a:spcPts val="0"/>
              </a:spcBef>
              <a:spcAft>
                <a:spcPts val="4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Semibold"/>
              </a:rPr>
              <a:t>Presenters</a:t>
            </a:r>
          </a:p>
          <a:p>
            <a:pPr marL="342900" marR="0" lvl="0" indent="-228600" algn="l" defTabSz="60953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solidFill>
                  <a:srgbClr val="000000"/>
                </a:solidFill>
                <a:latin typeface="Segoe UI"/>
                <a:cs typeface="Segoe UI Semibold"/>
              </a:rPr>
              <a:t>Kellen Winters</a:t>
            </a:r>
            <a:endParaRPr kumimoji="0" lang="ru-RU" sz="1800" b="0" i="0" u="none" strike="noStrike" kern="1200" cap="none" spc="0" normalizeH="0" baseline="0" noProof="0">
              <a:ln>
                <a:noFill/>
              </a:ln>
              <a:solidFill>
                <a:srgbClr val="000000"/>
              </a:solidFill>
              <a:effectLst/>
              <a:uLnTx/>
              <a:uFillTx/>
              <a:latin typeface="Segoe UI"/>
              <a:ea typeface="+mn-ea"/>
              <a:cs typeface="Segoe UI Semibold"/>
            </a:endParaRPr>
          </a:p>
          <a:p>
            <a:pPr marL="342900" marR="0" lvl="0" indent="-228600" algn="l" defTabSz="6095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000000"/>
                </a:solidFill>
                <a:effectLst/>
                <a:uLnTx/>
                <a:uFillTx/>
                <a:latin typeface="Segoe UI"/>
                <a:ea typeface="+mn-ea"/>
                <a:cs typeface="Segoe UI Semibold"/>
              </a:rPr>
              <a:t>Mike Francis</a:t>
            </a:r>
          </a:p>
          <a:p>
            <a:pPr marL="342900" marR="0" lvl="0" indent="-228600" algn="l" defTabSz="609539"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a:solidFill>
                  <a:srgbClr val="000000"/>
                </a:solidFill>
                <a:latin typeface="Segoe UI"/>
                <a:cs typeface="Segoe UI Semibold"/>
              </a:rPr>
              <a:t>Vas Perchuk</a:t>
            </a:r>
          </a:p>
        </p:txBody>
      </p:sp>
      <p:grpSp>
        <p:nvGrpSpPr>
          <p:cNvPr id="133" name="Group 132">
            <a:extLst>
              <a:ext uri="{FF2B5EF4-FFF2-40B4-BE49-F238E27FC236}">
                <a16:creationId xmlns:a16="http://schemas.microsoft.com/office/drawing/2014/main" id="{C93A22D1-DF2E-AA83-80ED-2B5D409506CC}"/>
              </a:ext>
            </a:extLst>
          </p:cNvPr>
          <p:cNvGrpSpPr/>
          <p:nvPr/>
        </p:nvGrpSpPr>
        <p:grpSpPr>
          <a:xfrm>
            <a:off x="7848771" y="2292969"/>
            <a:ext cx="609474" cy="609474"/>
            <a:chOff x="7949582" y="2666288"/>
            <a:chExt cx="609474" cy="609474"/>
          </a:xfrm>
        </p:grpSpPr>
        <p:sp>
          <p:nvSpPr>
            <p:cNvPr id="131" name="Freeform: Shape 33">
              <a:extLst>
                <a:ext uri="{FF2B5EF4-FFF2-40B4-BE49-F238E27FC236}">
                  <a16:creationId xmlns:a16="http://schemas.microsoft.com/office/drawing/2014/main" id="{35954151-2233-ED9A-9D1F-E2347AC7EBE2}"/>
                </a:ext>
                <a:ext uri="{C183D7F6-B498-43B3-948B-1728B52AA6E4}">
                  <adec:decorative xmlns:adec="http://schemas.microsoft.com/office/drawing/2017/decorative" val="1"/>
                </a:ext>
              </a:extLst>
            </p:cNvPr>
            <p:cNvSpPr>
              <a:spLocks/>
            </p:cNvSpPr>
            <p:nvPr/>
          </p:nvSpPr>
          <p:spPr bwMode="auto">
            <a:xfrm>
              <a:off x="7949582" y="2666288"/>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0" name="Graphic 77" descr="Icon of a person in front of a screen&#10;">
              <a:extLst>
                <a:ext uri="{FF2B5EF4-FFF2-40B4-BE49-F238E27FC236}">
                  <a16:creationId xmlns:a16="http://schemas.microsoft.com/office/drawing/2014/main" id="{607D14B4-7EF9-2145-A708-21A6E1BB96A4}"/>
                </a:ext>
              </a:extLst>
            </p:cNvPr>
            <p:cNvSpPr>
              <a:spLocks/>
            </p:cNvSpPr>
            <p:nvPr/>
          </p:nvSpPr>
          <p:spPr>
            <a:xfrm>
              <a:off x="8084475" y="2801181"/>
              <a:ext cx="339688" cy="339688"/>
            </a:xfrm>
            <a:custGeom>
              <a:avLst/>
              <a:gdLst>
                <a:gd name="connsiteX0" fmla="*/ 92869 w 200025"/>
                <a:gd name="connsiteY0" fmla="*/ 0 h 195262"/>
                <a:gd name="connsiteX1" fmla="*/ 100013 w 200025"/>
                <a:gd name="connsiteY1" fmla="*/ 7144 h 195262"/>
                <a:gd name="connsiteX2" fmla="*/ 100013 w 200025"/>
                <a:gd name="connsiteY2" fmla="*/ 9525 h 195262"/>
                <a:gd name="connsiteX3" fmla="*/ 159544 w 200025"/>
                <a:gd name="connsiteY3" fmla="*/ 9525 h 195262"/>
                <a:gd name="connsiteX4" fmla="*/ 190500 w 200025"/>
                <a:gd name="connsiteY4" fmla="*/ 40481 h 195262"/>
                <a:gd name="connsiteX5" fmla="*/ 190500 w 200025"/>
                <a:gd name="connsiteY5" fmla="*/ 104775 h 195262"/>
                <a:gd name="connsiteX6" fmla="*/ 188043 w 200025"/>
                <a:gd name="connsiteY6" fmla="*/ 104775 h 195262"/>
                <a:gd name="connsiteX7" fmla="*/ 154786 w 200025"/>
                <a:gd name="connsiteY7" fmla="*/ 66753 h 195262"/>
                <a:gd name="connsiteX8" fmla="*/ 116764 w 200025"/>
                <a:gd name="connsiteY8" fmla="*/ 100010 h 195262"/>
                <a:gd name="connsiteX9" fmla="*/ 128121 w 200025"/>
                <a:gd name="connsiteY9" fmla="*/ 128588 h 195262"/>
                <a:gd name="connsiteX10" fmla="*/ 119063 w 200025"/>
                <a:gd name="connsiteY10" fmla="*/ 128588 h 195262"/>
                <a:gd name="connsiteX11" fmla="*/ 95250 w 200025"/>
                <a:gd name="connsiteY11" fmla="*/ 152400 h 195262"/>
                <a:gd name="connsiteX12" fmla="*/ 95250 w 200025"/>
                <a:gd name="connsiteY12" fmla="*/ 157163 h 195262"/>
                <a:gd name="connsiteX13" fmla="*/ 95536 w 200025"/>
                <a:gd name="connsiteY13" fmla="*/ 161925 h 195262"/>
                <a:gd name="connsiteX14" fmla="*/ 72390 w 200025"/>
                <a:gd name="connsiteY14" fmla="*/ 161925 h 195262"/>
                <a:gd name="connsiteX15" fmla="*/ 50721 w 200025"/>
                <a:gd name="connsiteY15" fmla="*/ 187928 h 195262"/>
                <a:gd name="connsiteX16" fmla="*/ 40657 w 200025"/>
                <a:gd name="connsiteY16" fmla="*/ 188847 h 195262"/>
                <a:gd name="connsiteX17" fmla="*/ 39738 w 200025"/>
                <a:gd name="connsiteY17" fmla="*/ 178784 h 195262"/>
                <a:gd name="connsiteX18" fmla="*/ 53797 w 200025"/>
                <a:gd name="connsiteY18" fmla="*/ 161925 h 195262"/>
                <a:gd name="connsiteX19" fmla="*/ 30956 w 200025"/>
                <a:gd name="connsiteY19" fmla="*/ 161925 h 195262"/>
                <a:gd name="connsiteX20" fmla="*/ 0 w 200025"/>
                <a:gd name="connsiteY20" fmla="*/ 130969 h 195262"/>
                <a:gd name="connsiteX21" fmla="*/ 0 w 200025"/>
                <a:gd name="connsiteY21" fmla="*/ 40481 h 195262"/>
                <a:gd name="connsiteX22" fmla="*/ 30956 w 200025"/>
                <a:gd name="connsiteY22" fmla="*/ 9525 h 195262"/>
                <a:gd name="connsiteX23" fmla="*/ 85725 w 200025"/>
                <a:gd name="connsiteY23" fmla="*/ 9525 h 195262"/>
                <a:gd name="connsiteX24" fmla="*/ 85725 w 200025"/>
                <a:gd name="connsiteY24" fmla="*/ 7144 h 195262"/>
                <a:gd name="connsiteX25" fmla="*/ 92869 w 200025"/>
                <a:gd name="connsiteY25" fmla="*/ 0 h 195262"/>
                <a:gd name="connsiteX26" fmla="*/ 38100 w 200025"/>
                <a:gd name="connsiteY26" fmla="*/ 54769 h 195262"/>
                <a:gd name="connsiteX27" fmla="*/ 45244 w 200025"/>
                <a:gd name="connsiteY27" fmla="*/ 61913 h 195262"/>
                <a:gd name="connsiteX28" fmla="*/ 83344 w 200025"/>
                <a:gd name="connsiteY28" fmla="*/ 61913 h 195262"/>
                <a:gd name="connsiteX29" fmla="*/ 90488 w 200025"/>
                <a:gd name="connsiteY29" fmla="*/ 54769 h 195262"/>
                <a:gd name="connsiteX30" fmla="*/ 83344 w 200025"/>
                <a:gd name="connsiteY30" fmla="*/ 47625 h 195262"/>
                <a:gd name="connsiteX31" fmla="*/ 45244 w 200025"/>
                <a:gd name="connsiteY31" fmla="*/ 47625 h 195262"/>
                <a:gd name="connsiteX32" fmla="*/ 38100 w 200025"/>
                <a:gd name="connsiteY32" fmla="*/ 54769 h 195262"/>
                <a:gd name="connsiteX33" fmla="*/ 45244 w 200025"/>
                <a:gd name="connsiteY33" fmla="*/ 76200 h 195262"/>
                <a:gd name="connsiteX34" fmla="*/ 38100 w 200025"/>
                <a:gd name="connsiteY34" fmla="*/ 83344 h 195262"/>
                <a:gd name="connsiteX35" fmla="*/ 45244 w 200025"/>
                <a:gd name="connsiteY35" fmla="*/ 90488 h 195262"/>
                <a:gd name="connsiteX36" fmla="*/ 107156 w 200025"/>
                <a:gd name="connsiteY36" fmla="*/ 90488 h 195262"/>
                <a:gd name="connsiteX37" fmla="*/ 114300 w 200025"/>
                <a:gd name="connsiteY37" fmla="*/ 83344 h 195262"/>
                <a:gd name="connsiteX38" fmla="*/ 107156 w 200025"/>
                <a:gd name="connsiteY38" fmla="*/ 76200 h 195262"/>
                <a:gd name="connsiteX39" fmla="*/ 45244 w 200025"/>
                <a:gd name="connsiteY39" fmla="*/ 76200 h 195262"/>
                <a:gd name="connsiteX40" fmla="*/ 38100 w 200025"/>
                <a:gd name="connsiteY40" fmla="*/ 111919 h 195262"/>
                <a:gd name="connsiteX41" fmla="*/ 45244 w 200025"/>
                <a:gd name="connsiteY41" fmla="*/ 119063 h 195262"/>
                <a:gd name="connsiteX42" fmla="*/ 97631 w 200025"/>
                <a:gd name="connsiteY42" fmla="*/ 119063 h 195262"/>
                <a:gd name="connsiteX43" fmla="*/ 104775 w 200025"/>
                <a:gd name="connsiteY43" fmla="*/ 111919 h 195262"/>
                <a:gd name="connsiteX44" fmla="*/ 97631 w 200025"/>
                <a:gd name="connsiteY44" fmla="*/ 104775 h 195262"/>
                <a:gd name="connsiteX45" fmla="*/ 45244 w 200025"/>
                <a:gd name="connsiteY45" fmla="*/ 104775 h 195262"/>
                <a:gd name="connsiteX46" fmla="*/ 38100 w 200025"/>
                <a:gd name="connsiteY46" fmla="*/ 111919 h 195262"/>
                <a:gd name="connsiteX47" fmla="*/ 171450 w 200025"/>
                <a:gd name="connsiteY47" fmla="*/ 120367 h 195262"/>
                <a:gd name="connsiteX48" fmla="*/ 134422 w 200025"/>
                <a:gd name="connsiteY48" fmla="*/ 121439 h 195262"/>
                <a:gd name="connsiteX49" fmla="*/ 133350 w 200025"/>
                <a:gd name="connsiteY49" fmla="*/ 84411 h 195262"/>
                <a:gd name="connsiteX50" fmla="*/ 170378 w 200025"/>
                <a:gd name="connsiteY50" fmla="*/ 83339 h 195262"/>
                <a:gd name="connsiteX51" fmla="*/ 171450 w 200025"/>
                <a:gd name="connsiteY51" fmla="*/ 120367 h 195262"/>
                <a:gd name="connsiteX52" fmla="*/ 189548 w 200025"/>
                <a:gd name="connsiteY52" fmla="*/ 138627 h 195262"/>
                <a:gd name="connsiteX53" fmla="*/ 185738 w 200025"/>
                <a:gd name="connsiteY53" fmla="*/ 138113 h 195262"/>
                <a:gd name="connsiteX54" fmla="*/ 119063 w 200025"/>
                <a:gd name="connsiteY54" fmla="*/ 138113 h 195262"/>
                <a:gd name="connsiteX55" fmla="*/ 104775 w 200025"/>
                <a:gd name="connsiteY55" fmla="*/ 152400 h 195262"/>
                <a:gd name="connsiteX56" fmla="*/ 104775 w 200025"/>
                <a:gd name="connsiteY56" fmla="*/ 157163 h 195262"/>
                <a:gd name="connsiteX57" fmla="*/ 105156 w 200025"/>
                <a:gd name="connsiteY57" fmla="*/ 161925 h 195262"/>
                <a:gd name="connsiteX58" fmla="*/ 152400 w 200025"/>
                <a:gd name="connsiteY58" fmla="*/ 195263 h 195262"/>
                <a:gd name="connsiteX59" fmla="*/ 200025 w 200025"/>
                <a:gd name="connsiteY59" fmla="*/ 157163 h 195262"/>
                <a:gd name="connsiteX60" fmla="*/ 200025 w 200025"/>
                <a:gd name="connsiteY60" fmla="*/ 152400 h 195262"/>
                <a:gd name="connsiteX61" fmla="*/ 189548 w 200025"/>
                <a:gd name="connsiteY61" fmla="*/ 138627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00025" h="195262">
                  <a:moveTo>
                    <a:pt x="92869" y="0"/>
                  </a:moveTo>
                  <a:cubicBezTo>
                    <a:pt x="96814" y="0"/>
                    <a:pt x="100013" y="3198"/>
                    <a:pt x="100013" y="7144"/>
                  </a:cubicBezTo>
                  <a:lnTo>
                    <a:pt x="100013" y="9525"/>
                  </a:lnTo>
                  <a:lnTo>
                    <a:pt x="159544" y="9525"/>
                  </a:lnTo>
                  <a:cubicBezTo>
                    <a:pt x="176640" y="9525"/>
                    <a:pt x="190500" y="23385"/>
                    <a:pt x="190500" y="40481"/>
                  </a:cubicBezTo>
                  <a:lnTo>
                    <a:pt x="190500" y="104775"/>
                  </a:lnTo>
                  <a:lnTo>
                    <a:pt x="188043" y="104775"/>
                  </a:lnTo>
                  <a:cubicBezTo>
                    <a:pt x="189359" y="85092"/>
                    <a:pt x="174469" y="68069"/>
                    <a:pt x="154786" y="66753"/>
                  </a:cubicBezTo>
                  <a:cubicBezTo>
                    <a:pt x="135103" y="65437"/>
                    <a:pt x="118080" y="80327"/>
                    <a:pt x="116764" y="100010"/>
                  </a:cubicBezTo>
                  <a:cubicBezTo>
                    <a:pt x="116045" y="110761"/>
                    <a:pt x="120219" y="121262"/>
                    <a:pt x="128121" y="128588"/>
                  </a:cubicBezTo>
                  <a:lnTo>
                    <a:pt x="119063" y="128588"/>
                  </a:lnTo>
                  <a:cubicBezTo>
                    <a:pt x="105911" y="128588"/>
                    <a:pt x="95250" y="139249"/>
                    <a:pt x="95250" y="152400"/>
                  </a:cubicBezTo>
                  <a:lnTo>
                    <a:pt x="95250" y="157163"/>
                  </a:lnTo>
                  <a:cubicBezTo>
                    <a:pt x="95250" y="158763"/>
                    <a:pt x="95345" y="160353"/>
                    <a:pt x="95536" y="161925"/>
                  </a:cubicBezTo>
                  <a:lnTo>
                    <a:pt x="72390" y="161925"/>
                  </a:lnTo>
                  <a:lnTo>
                    <a:pt x="50721" y="187928"/>
                  </a:lnTo>
                  <a:cubicBezTo>
                    <a:pt x="48196" y="190961"/>
                    <a:pt x="43690" y="191373"/>
                    <a:pt x="40657" y="188847"/>
                  </a:cubicBezTo>
                  <a:cubicBezTo>
                    <a:pt x="37625" y="186322"/>
                    <a:pt x="37213" y="181817"/>
                    <a:pt x="39738" y="178784"/>
                  </a:cubicBezTo>
                  <a:lnTo>
                    <a:pt x="53797" y="161925"/>
                  </a:lnTo>
                  <a:lnTo>
                    <a:pt x="30956" y="161925"/>
                  </a:lnTo>
                  <a:cubicBezTo>
                    <a:pt x="13860" y="161925"/>
                    <a:pt x="0" y="148065"/>
                    <a:pt x="0" y="130969"/>
                  </a:cubicBezTo>
                  <a:lnTo>
                    <a:pt x="0" y="40481"/>
                  </a:lnTo>
                  <a:cubicBezTo>
                    <a:pt x="0" y="23385"/>
                    <a:pt x="13860" y="9525"/>
                    <a:pt x="30956" y="9525"/>
                  </a:cubicBezTo>
                  <a:lnTo>
                    <a:pt x="85725" y="9525"/>
                  </a:lnTo>
                  <a:lnTo>
                    <a:pt x="85725" y="7144"/>
                  </a:lnTo>
                  <a:cubicBezTo>
                    <a:pt x="85725" y="3198"/>
                    <a:pt x="88924" y="0"/>
                    <a:pt x="92869" y="0"/>
                  </a:cubicBezTo>
                  <a:close/>
                  <a:moveTo>
                    <a:pt x="38100" y="54769"/>
                  </a:moveTo>
                  <a:cubicBezTo>
                    <a:pt x="38100" y="58712"/>
                    <a:pt x="41300" y="61913"/>
                    <a:pt x="45244" y="61913"/>
                  </a:cubicBezTo>
                  <a:lnTo>
                    <a:pt x="83344" y="61913"/>
                  </a:lnTo>
                  <a:cubicBezTo>
                    <a:pt x="87289" y="61913"/>
                    <a:pt x="90488" y="58714"/>
                    <a:pt x="90488" y="54769"/>
                  </a:cubicBezTo>
                  <a:cubicBezTo>
                    <a:pt x="90488" y="50823"/>
                    <a:pt x="87289" y="47625"/>
                    <a:pt x="83344" y="47625"/>
                  </a:cubicBezTo>
                  <a:lnTo>
                    <a:pt x="45244" y="47625"/>
                  </a:lnTo>
                  <a:cubicBezTo>
                    <a:pt x="41298" y="47625"/>
                    <a:pt x="38100" y="50823"/>
                    <a:pt x="38100" y="54769"/>
                  </a:cubicBezTo>
                  <a:close/>
                  <a:moveTo>
                    <a:pt x="45244" y="76200"/>
                  </a:moveTo>
                  <a:cubicBezTo>
                    <a:pt x="41298" y="76200"/>
                    <a:pt x="38100" y="79399"/>
                    <a:pt x="38100" y="83344"/>
                  </a:cubicBezTo>
                  <a:cubicBezTo>
                    <a:pt x="38100" y="87289"/>
                    <a:pt x="41298" y="90488"/>
                    <a:pt x="45244" y="90488"/>
                  </a:cubicBezTo>
                  <a:lnTo>
                    <a:pt x="107156" y="90488"/>
                  </a:lnTo>
                  <a:cubicBezTo>
                    <a:pt x="111102" y="90488"/>
                    <a:pt x="114300" y="87289"/>
                    <a:pt x="114300" y="83344"/>
                  </a:cubicBezTo>
                  <a:cubicBezTo>
                    <a:pt x="114300" y="79399"/>
                    <a:pt x="111102" y="76200"/>
                    <a:pt x="107156" y="76200"/>
                  </a:cubicBezTo>
                  <a:lnTo>
                    <a:pt x="45244" y="76200"/>
                  </a:lnTo>
                  <a:close/>
                  <a:moveTo>
                    <a:pt x="38100" y="111919"/>
                  </a:moveTo>
                  <a:cubicBezTo>
                    <a:pt x="38100" y="115862"/>
                    <a:pt x="41300" y="119063"/>
                    <a:pt x="45244" y="119063"/>
                  </a:cubicBezTo>
                  <a:lnTo>
                    <a:pt x="97631" y="119063"/>
                  </a:lnTo>
                  <a:cubicBezTo>
                    <a:pt x="101577" y="119063"/>
                    <a:pt x="104775" y="115864"/>
                    <a:pt x="104775" y="111919"/>
                  </a:cubicBezTo>
                  <a:cubicBezTo>
                    <a:pt x="104775" y="107974"/>
                    <a:pt x="101577" y="104775"/>
                    <a:pt x="97631" y="104775"/>
                  </a:cubicBezTo>
                  <a:lnTo>
                    <a:pt x="45244" y="104775"/>
                  </a:lnTo>
                  <a:cubicBezTo>
                    <a:pt x="41298" y="104775"/>
                    <a:pt x="38100" y="107974"/>
                    <a:pt x="38100" y="111919"/>
                  </a:cubicBezTo>
                  <a:close/>
                  <a:moveTo>
                    <a:pt x="171450" y="120367"/>
                  </a:moveTo>
                  <a:cubicBezTo>
                    <a:pt x="161521" y="130889"/>
                    <a:pt x="144943" y="131368"/>
                    <a:pt x="134422" y="121439"/>
                  </a:cubicBezTo>
                  <a:cubicBezTo>
                    <a:pt x="123900" y="111510"/>
                    <a:pt x="123421" y="94932"/>
                    <a:pt x="133350" y="84411"/>
                  </a:cubicBezTo>
                  <a:cubicBezTo>
                    <a:pt x="143279" y="73890"/>
                    <a:pt x="159857" y="73410"/>
                    <a:pt x="170378" y="83339"/>
                  </a:cubicBezTo>
                  <a:cubicBezTo>
                    <a:pt x="180900" y="93268"/>
                    <a:pt x="181379" y="109846"/>
                    <a:pt x="171450" y="120367"/>
                  </a:cubicBezTo>
                  <a:close/>
                  <a:moveTo>
                    <a:pt x="189548" y="138627"/>
                  </a:moveTo>
                  <a:cubicBezTo>
                    <a:pt x="188306" y="138285"/>
                    <a:pt x="187025" y="138112"/>
                    <a:pt x="185738" y="138113"/>
                  </a:cubicBezTo>
                  <a:lnTo>
                    <a:pt x="119063" y="138113"/>
                  </a:lnTo>
                  <a:cubicBezTo>
                    <a:pt x="111172" y="138113"/>
                    <a:pt x="104775" y="144510"/>
                    <a:pt x="104775" y="152400"/>
                  </a:cubicBezTo>
                  <a:lnTo>
                    <a:pt x="104775" y="157163"/>
                  </a:lnTo>
                  <a:cubicBezTo>
                    <a:pt x="104775" y="158753"/>
                    <a:pt x="104899" y="160344"/>
                    <a:pt x="105156" y="161925"/>
                  </a:cubicBezTo>
                  <a:cubicBezTo>
                    <a:pt x="107861" y="179070"/>
                    <a:pt x="125016" y="195263"/>
                    <a:pt x="152400" y="195263"/>
                  </a:cubicBezTo>
                  <a:cubicBezTo>
                    <a:pt x="182309" y="195263"/>
                    <a:pt x="200025" y="175936"/>
                    <a:pt x="200025" y="157163"/>
                  </a:cubicBezTo>
                  <a:lnTo>
                    <a:pt x="200025" y="152400"/>
                  </a:lnTo>
                  <a:cubicBezTo>
                    <a:pt x="200026" y="145975"/>
                    <a:pt x="195740" y="140340"/>
                    <a:pt x="189548" y="138627"/>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134" name="Group 133">
            <a:extLst>
              <a:ext uri="{FF2B5EF4-FFF2-40B4-BE49-F238E27FC236}">
                <a16:creationId xmlns:a16="http://schemas.microsoft.com/office/drawing/2014/main" id="{9F61DD7A-13F3-8CCD-264D-3A07A46B2C6A}"/>
              </a:ext>
            </a:extLst>
          </p:cNvPr>
          <p:cNvGrpSpPr/>
          <p:nvPr/>
        </p:nvGrpSpPr>
        <p:grpSpPr>
          <a:xfrm>
            <a:off x="7846102" y="4190962"/>
            <a:ext cx="609474" cy="609474"/>
            <a:chOff x="7949582" y="3418579"/>
            <a:chExt cx="609474" cy="609474"/>
          </a:xfrm>
        </p:grpSpPr>
        <p:sp>
          <p:nvSpPr>
            <p:cNvPr id="132" name="Freeform: Shape 33">
              <a:extLst>
                <a:ext uri="{FF2B5EF4-FFF2-40B4-BE49-F238E27FC236}">
                  <a16:creationId xmlns:a16="http://schemas.microsoft.com/office/drawing/2014/main" id="{BFE57C48-F97E-16EB-ACE4-4176EC8F7326}"/>
                </a:ext>
                <a:ext uri="{C183D7F6-B498-43B3-948B-1728B52AA6E4}">
                  <adec:decorative xmlns:adec="http://schemas.microsoft.com/office/drawing/2017/decorative" val="1"/>
                </a:ext>
              </a:extLst>
            </p:cNvPr>
            <p:cNvSpPr>
              <a:spLocks/>
            </p:cNvSpPr>
            <p:nvPr/>
          </p:nvSpPr>
          <p:spPr bwMode="auto">
            <a:xfrm>
              <a:off x="7949582" y="3418579"/>
              <a:ext cx="609474" cy="609474"/>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29" name="Graphic 70" descr="Icon of a person standing behind a podium">
              <a:extLst>
                <a:ext uri="{FF2B5EF4-FFF2-40B4-BE49-F238E27FC236}">
                  <a16:creationId xmlns:a16="http://schemas.microsoft.com/office/drawing/2014/main" id="{77C79843-FD1F-5493-14E1-3E99A32E892C}"/>
                </a:ext>
              </a:extLst>
            </p:cNvPr>
            <p:cNvSpPr>
              <a:spLocks/>
            </p:cNvSpPr>
            <p:nvPr/>
          </p:nvSpPr>
          <p:spPr>
            <a:xfrm>
              <a:off x="8095199" y="3546464"/>
              <a:ext cx="318240" cy="353704"/>
            </a:xfrm>
            <a:custGeom>
              <a:avLst/>
              <a:gdLst>
                <a:gd name="connsiteX0" fmla="*/ 164274 w 171441"/>
                <a:gd name="connsiteY0" fmla="*/ 104746 h 190547"/>
                <a:gd name="connsiteX1" fmla="*/ 168750 w 171441"/>
                <a:gd name="connsiteY1" fmla="*/ 117472 h 190547"/>
                <a:gd name="connsiteX2" fmla="*/ 123802 w 171441"/>
                <a:gd name="connsiteY2" fmla="*/ 153448 h 190547"/>
                <a:gd name="connsiteX3" fmla="*/ 123802 w 171441"/>
                <a:gd name="connsiteY3" fmla="*/ 169116 h 190547"/>
                <a:gd name="connsiteX4" fmla="*/ 102371 w 171441"/>
                <a:gd name="connsiteY4" fmla="*/ 190548 h 190547"/>
                <a:gd name="connsiteX5" fmla="*/ 69081 w 171441"/>
                <a:gd name="connsiteY5" fmla="*/ 190548 h 190547"/>
                <a:gd name="connsiteX6" fmla="*/ 47649 w 171441"/>
                <a:gd name="connsiteY6" fmla="*/ 169116 h 190547"/>
                <a:gd name="connsiteX7" fmla="*/ 47649 w 171441"/>
                <a:gd name="connsiteY7" fmla="*/ 153448 h 190547"/>
                <a:gd name="connsiteX8" fmla="*/ 2691 w 171441"/>
                <a:gd name="connsiteY8" fmla="*/ 117472 h 190547"/>
                <a:gd name="connsiteX9" fmla="*/ 7159 w 171441"/>
                <a:gd name="connsiteY9" fmla="*/ 104746 h 190547"/>
                <a:gd name="connsiteX10" fmla="*/ 164274 w 171441"/>
                <a:gd name="connsiteY10" fmla="*/ 104746 h 190547"/>
                <a:gd name="connsiteX11" fmla="*/ 54793 w 171441"/>
                <a:gd name="connsiteY11" fmla="*/ 66675 h 190547"/>
                <a:gd name="connsiteX12" fmla="*/ 116658 w 171441"/>
                <a:gd name="connsiteY12" fmla="*/ 66675 h 190547"/>
                <a:gd name="connsiteX13" fmla="*/ 133270 w 171441"/>
                <a:gd name="connsiteY13" fmla="*/ 81982 h 190547"/>
                <a:gd name="connsiteX14" fmla="*/ 133327 w 171441"/>
                <a:gd name="connsiteY14" fmla="*/ 83344 h 190547"/>
                <a:gd name="connsiteX15" fmla="*/ 133327 w 171441"/>
                <a:gd name="connsiteY15" fmla="*/ 95250 h 190547"/>
                <a:gd name="connsiteX16" fmla="*/ 38124 w 171441"/>
                <a:gd name="connsiteY16" fmla="*/ 95250 h 190547"/>
                <a:gd name="connsiteX17" fmla="*/ 38124 w 171441"/>
                <a:gd name="connsiteY17" fmla="*/ 83344 h 190547"/>
                <a:gd name="connsiteX18" fmla="*/ 53422 w 171441"/>
                <a:gd name="connsiteY18" fmla="*/ 66732 h 190547"/>
                <a:gd name="connsiteX19" fmla="*/ 54793 w 171441"/>
                <a:gd name="connsiteY19" fmla="*/ 66675 h 190547"/>
                <a:gd name="connsiteX20" fmla="*/ 116658 w 171441"/>
                <a:gd name="connsiteY20" fmla="*/ 66675 h 190547"/>
                <a:gd name="connsiteX21" fmla="*/ 54793 w 171441"/>
                <a:gd name="connsiteY21" fmla="*/ 66675 h 190547"/>
                <a:gd name="connsiteX22" fmla="*/ 85749 w 171441"/>
                <a:gd name="connsiteY22" fmla="*/ 0 h 190547"/>
                <a:gd name="connsiteX23" fmla="*/ 114324 w 171441"/>
                <a:gd name="connsiteY23" fmla="*/ 28575 h 190547"/>
                <a:gd name="connsiteX24" fmla="*/ 85749 w 171441"/>
                <a:gd name="connsiteY24" fmla="*/ 57150 h 190547"/>
                <a:gd name="connsiteX25" fmla="*/ 57174 w 171441"/>
                <a:gd name="connsiteY25" fmla="*/ 28575 h 190547"/>
                <a:gd name="connsiteX26" fmla="*/ 85749 w 171441"/>
                <a:gd name="connsiteY26" fmla="*/ 0 h 19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41" h="190547">
                  <a:moveTo>
                    <a:pt x="164274" y="104746"/>
                  </a:moveTo>
                  <a:cubicBezTo>
                    <a:pt x="171036" y="104746"/>
                    <a:pt x="174018" y="113252"/>
                    <a:pt x="168750" y="117472"/>
                  </a:cubicBezTo>
                  <a:lnTo>
                    <a:pt x="123802" y="153448"/>
                  </a:lnTo>
                  <a:lnTo>
                    <a:pt x="123802" y="169116"/>
                  </a:lnTo>
                  <a:cubicBezTo>
                    <a:pt x="123802" y="180952"/>
                    <a:pt x="114206" y="190548"/>
                    <a:pt x="102371" y="190548"/>
                  </a:cubicBezTo>
                  <a:lnTo>
                    <a:pt x="69081" y="190548"/>
                  </a:lnTo>
                  <a:cubicBezTo>
                    <a:pt x="57245" y="190548"/>
                    <a:pt x="47649" y="180952"/>
                    <a:pt x="47649" y="169116"/>
                  </a:cubicBezTo>
                  <a:lnTo>
                    <a:pt x="47649" y="153448"/>
                  </a:lnTo>
                  <a:lnTo>
                    <a:pt x="2691" y="117472"/>
                  </a:lnTo>
                  <a:cubicBezTo>
                    <a:pt x="-2576" y="113252"/>
                    <a:pt x="405" y="104746"/>
                    <a:pt x="7159" y="104746"/>
                  </a:cubicBezTo>
                  <a:lnTo>
                    <a:pt x="164274" y="104746"/>
                  </a:lnTo>
                  <a:close/>
                  <a:moveTo>
                    <a:pt x="54793" y="66675"/>
                  </a:moveTo>
                  <a:lnTo>
                    <a:pt x="116658" y="66675"/>
                  </a:lnTo>
                  <a:cubicBezTo>
                    <a:pt x="125335" y="66676"/>
                    <a:pt x="132561" y="73333"/>
                    <a:pt x="133270" y="81982"/>
                  </a:cubicBezTo>
                  <a:lnTo>
                    <a:pt x="133327" y="83344"/>
                  </a:lnTo>
                  <a:lnTo>
                    <a:pt x="133327" y="95250"/>
                  </a:lnTo>
                  <a:lnTo>
                    <a:pt x="38124" y="95250"/>
                  </a:lnTo>
                  <a:lnTo>
                    <a:pt x="38124" y="83344"/>
                  </a:lnTo>
                  <a:cubicBezTo>
                    <a:pt x="38125" y="74670"/>
                    <a:pt x="44777" y="67446"/>
                    <a:pt x="53422" y="66732"/>
                  </a:cubicBezTo>
                  <a:lnTo>
                    <a:pt x="54793" y="66675"/>
                  </a:lnTo>
                  <a:lnTo>
                    <a:pt x="116658" y="66675"/>
                  </a:lnTo>
                  <a:lnTo>
                    <a:pt x="54793" y="66675"/>
                  </a:lnTo>
                  <a:close/>
                  <a:moveTo>
                    <a:pt x="85749" y="0"/>
                  </a:moveTo>
                  <a:cubicBezTo>
                    <a:pt x="101531" y="0"/>
                    <a:pt x="114324" y="12794"/>
                    <a:pt x="114324" y="28575"/>
                  </a:cubicBezTo>
                  <a:cubicBezTo>
                    <a:pt x="114324" y="44356"/>
                    <a:pt x="101531" y="57150"/>
                    <a:pt x="85749" y="57150"/>
                  </a:cubicBezTo>
                  <a:cubicBezTo>
                    <a:pt x="69967" y="57150"/>
                    <a:pt x="57174" y="44356"/>
                    <a:pt x="57174" y="28575"/>
                  </a:cubicBezTo>
                  <a:cubicBezTo>
                    <a:pt x="57174" y="12794"/>
                    <a:pt x="69967" y="0"/>
                    <a:pt x="85749"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4" name="Image 1" descr="preencoded.png">
            <a:extLst>
              <a:ext uri="{FF2B5EF4-FFF2-40B4-BE49-F238E27FC236}">
                <a16:creationId xmlns:a16="http://schemas.microsoft.com/office/drawing/2014/main" id="{958ADCB3-F1C4-8EB6-D535-15EC9DD42E44}"/>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4256442" y="4812354"/>
            <a:ext cx="403552" cy="451194"/>
          </a:xfrm>
          <a:prstGeom prst="rect">
            <a:avLst/>
          </a:prstGeom>
        </p:spPr>
      </p:pic>
      <p:grpSp>
        <p:nvGrpSpPr>
          <p:cNvPr id="11" name="Group 10">
            <a:extLst>
              <a:ext uri="{FF2B5EF4-FFF2-40B4-BE49-F238E27FC236}">
                <a16:creationId xmlns:a16="http://schemas.microsoft.com/office/drawing/2014/main" id="{1B7C37DF-9E8E-8A05-BD5E-F1E0040D72C7}"/>
              </a:ext>
            </a:extLst>
          </p:cNvPr>
          <p:cNvGrpSpPr/>
          <p:nvPr/>
        </p:nvGrpSpPr>
        <p:grpSpPr>
          <a:xfrm>
            <a:off x="596357" y="1638031"/>
            <a:ext cx="424244" cy="424298"/>
            <a:chOff x="652000" y="1639702"/>
            <a:chExt cx="452648" cy="452706"/>
          </a:xfrm>
        </p:grpSpPr>
        <p:sp>
          <p:nvSpPr>
            <p:cNvPr id="10" name="Oval 9">
              <a:extLst>
                <a:ext uri="{FF2B5EF4-FFF2-40B4-BE49-F238E27FC236}">
                  <a16:creationId xmlns:a16="http://schemas.microsoft.com/office/drawing/2014/main" id="{0C6498B8-030A-1E4F-0C46-F3A065B18971}"/>
                </a:ext>
              </a:extLst>
            </p:cNvPr>
            <p:cNvSpPr/>
            <p:nvPr/>
          </p:nvSpPr>
          <p:spPr bwMode="auto">
            <a:xfrm>
              <a:off x="710211" y="1724768"/>
              <a:ext cx="336225" cy="282575"/>
            </a:xfrm>
            <a:prstGeom prst="ellipse">
              <a:avLst/>
            </a:prstGeom>
            <a:solidFill>
              <a:srgbClr val="AEC9ED"/>
            </a:solidFill>
            <a:ln w="38100" cap="flat" cmpd="sng" algn="ctr">
              <a:noFill/>
              <a:prstDash val="solid"/>
              <a:headEnd type="none" w="med" len="med"/>
              <a:tailEnd type="none" w="med" len="med"/>
            </a:ln>
            <a:effectLst>
              <a:outerShdw blurRad="63500" algn="ctr" rotWithShape="0">
                <a:schemeClr val="bg1">
                  <a:lumMod val="65000"/>
                  <a:alpha val="4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6405" rtl="0" eaLnBrk="1" fontAlgn="base" latinLnBrk="0" hangingPunct="1">
                <a:lnSpc>
                  <a:spcPct val="100000"/>
                </a:lnSpc>
                <a:spcBef>
                  <a:spcPts val="0"/>
                </a:spcBef>
                <a:spcAft>
                  <a:spcPts val="0"/>
                </a:spcAft>
                <a:buClrTx/>
                <a:buSzTx/>
                <a:buFontTx/>
                <a:buNone/>
                <a:tabLst/>
                <a:defRPr/>
              </a:pPr>
              <a:endParaRPr kumimoji="0" lang="en-IN" sz="900" b="1" i="0" u="none" strike="noStrike" kern="0" cap="none" spc="0" normalizeH="0" baseline="0" noProof="0" err="1">
                <a:ln>
                  <a:noFill/>
                </a:ln>
                <a:solidFill>
                  <a:srgbClr val="000000"/>
                </a:solidFill>
                <a:effectLst/>
                <a:uLnTx/>
                <a:uFillTx/>
                <a:latin typeface="Segoe UI Semibold"/>
                <a:ea typeface="+mn-ea"/>
                <a:cs typeface="Segoe UI Semibold" panose="020B0502040204020203" pitchFamily="34" charset="0"/>
              </a:endParaRPr>
            </a:p>
          </p:txBody>
        </p:sp>
        <p:sp>
          <p:nvSpPr>
            <p:cNvPr id="2" name="Graphic 15">
              <a:extLst>
                <a:ext uri="{FF2B5EF4-FFF2-40B4-BE49-F238E27FC236}">
                  <a16:creationId xmlns:a16="http://schemas.microsoft.com/office/drawing/2014/main" id="{8083D56C-E26A-220F-BB58-6371A2E40068}"/>
                </a:ext>
              </a:extLst>
            </p:cNvPr>
            <p:cNvSpPr>
              <a:spLocks noChangeAspect="1"/>
            </p:cNvSpPr>
            <p:nvPr/>
          </p:nvSpPr>
          <p:spPr>
            <a:xfrm>
              <a:off x="652000" y="1639702"/>
              <a:ext cx="452648" cy="452706"/>
            </a:xfrm>
            <a:custGeom>
              <a:avLst/>
              <a:gdLst>
                <a:gd name="connsiteX0" fmla="*/ 171608 w 343215"/>
                <a:gd name="connsiteY0" fmla="*/ 0 h 343260"/>
                <a:gd name="connsiteX1" fmla="*/ 343215 w 343215"/>
                <a:gd name="connsiteY1" fmla="*/ 171608 h 343260"/>
                <a:gd name="connsiteX2" fmla="*/ 171608 w 343215"/>
                <a:gd name="connsiteY2" fmla="*/ 343215 h 343260"/>
                <a:gd name="connsiteX3" fmla="*/ 91913 w 343215"/>
                <a:gd name="connsiteY3" fmla="*/ 323617 h 343260"/>
                <a:gd name="connsiteX4" fmla="*/ 18294 w 343215"/>
                <a:gd name="connsiteY4" fmla="*/ 342786 h 343260"/>
                <a:gd name="connsiteX5" fmla="*/ 501 w 343215"/>
                <a:gd name="connsiteY5" fmla="*/ 332347 h 343260"/>
                <a:gd name="connsiteX6" fmla="*/ 498 w 343215"/>
                <a:gd name="connsiteY6" fmla="*/ 325007 h 343260"/>
                <a:gd name="connsiteX7" fmla="*/ 19649 w 343215"/>
                <a:gd name="connsiteY7" fmla="*/ 251405 h 343260"/>
                <a:gd name="connsiteX8" fmla="*/ 0 w 343215"/>
                <a:gd name="connsiteY8" fmla="*/ 171608 h 343260"/>
                <a:gd name="connsiteX9" fmla="*/ 171608 w 343215"/>
                <a:gd name="connsiteY9" fmla="*/ 0 h 343260"/>
                <a:gd name="connsiteX10" fmla="*/ 193093 w 343215"/>
                <a:gd name="connsiteY10" fmla="*/ 188768 h 343260"/>
                <a:gd name="connsiteX11" fmla="*/ 115835 w 343215"/>
                <a:gd name="connsiteY11" fmla="*/ 188768 h 343260"/>
                <a:gd name="connsiteX12" fmla="*/ 114085 w 343215"/>
                <a:gd name="connsiteY12" fmla="*/ 188888 h 343260"/>
                <a:gd name="connsiteX13" fmla="*/ 103089 w 343215"/>
                <a:gd name="connsiteY13" fmla="*/ 203393 h 343260"/>
                <a:gd name="connsiteX14" fmla="*/ 114085 w 343215"/>
                <a:gd name="connsiteY14" fmla="*/ 214389 h 343260"/>
                <a:gd name="connsiteX15" fmla="*/ 115835 w 343215"/>
                <a:gd name="connsiteY15" fmla="*/ 214509 h 343260"/>
                <a:gd name="connsiteX16" fmla="*/ 193093 w 343215"/>
                <a:gd name="connsiteY16" fmla="*/ 214509 h 343260"/>
                <a:gd name="connsiteX17" fmla="*/ 194826 w 343215"/>
                <a:gd name="connsiteY17" fmla="*/ 214389 h 343260"/>
                <a:gd name="connsiteX18" fmla="*/ 205823 w 343215"/>
                <a:gd name="connsiteY18" fmla="*/ 199885 h 343260"/>
                <a:gd name="connsiteX19" fmla="*/ 194826 w 343215"/>
                <a:gd name="connsiteY19" fmla="*/ 188888 h 343260"/>
                <a:gd name="connsiteX20" fmla="*/ 193093 w 343215"/>
                <a:gd name="connsiteY20" fmla="*/ 188768 h 343260"/>
                <a:gd name="connsiteX21" fmla="*/ 227380 w 343215"/>
                <a:gd name="connsiteY21" fmla="*/ 128706 h 343260"/>
                <a:gd name="connsiteX22" fmla="*/ 115835 w 343215"/>
                <a:gd name="connsiteY22" fmla="*/ 128706 h 343260"/>
                <a:gd name="connsiteX23" fmla="*/ 114085 w 343215"/>
                <a:gd name="connsiteY23" fmla="*/ 128826 h 343260"/>
                <a:gd name="connsiteX24" fmla="*/ 103089 w 343215"/>
                <a:gd name="connsiteY24" fmla="*/ 143330 h 343260"/>
                <a:gd name="connsiteX25" fmla="*/ 114085 w 343215"/>
                <a:gd name="connsiteY25" fmla="*/ 154327 h 343260"/>
                <a:gd name="connsiteX26" fmla="*/ 115835 w 343215"/>
                <a:gd name="connsiteY26" fmla="*/ 154447 h 343260"/>
                <a:gd name="connsiteX27" fmla="*/ 227380 w 343215"/>
                <a:gd name="connsiteY27" fmla="*/ 154447 h 343260"/>
                <a:gd name="connsiteX28" fmla="*/ 229131 w 343215"/>
                <a:gd name="connsiteY28" fmla="*/ 154327 h 343260"/>
                <a:gd name="connsiteX29" fmla="*/ 240127 w 343215"/>
                <a:gd name="connsiteY29" fmla="*/ 139822 h 343260"/>
                <a:gd name="connsiteX30" fmla="*/ 229131 w 343215"/>
                <a:gd name="connsiteY30" fmla="*/ 128826 h 343260"/>
                <a:gd name="connsiteX31" fmla="*/ 227380 w 343215"/>
                <a:gd name="connsiteY31" fmla="*/ 128706 h 34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3215" h="343260">
                  <a:moveTo>
                    <a:pt x="171608" y="0"/>
                  </a:moveTo>
                  <a:cubicBezTo>
                    <a:pt x="266387" y="0"/>
                    <a:pt x="343215" y="76829"/>
                    <a:pt x="343215" y="171608"/>
                  </a:cubicBezTo>
                  <a:cubicBezTo>
                    <a:pt x="343215" y="266386"/>
                    <a:pt x="266387" y="343215"/>
                    <a:pt x="171608" y="343215"/>
                  </a:cubicBezTo>
                  <a:cubicBezTo>
                    <a:pt x="143845" y="343251"/>
                    <a:pt x="116492" y="336526"/>
                    <a:pt x="91913" y="323617"/>
                  </a:cubicBezTo>
                  <a:lnTo>
                    <a:pt x="18294" y="342786"/>
                  </a:lnTo>
                  <a:cubicBezTo>
                    <a:pt x="10498" y="344816"/>
                    <a:pt x="2532" y="340143"/>
                    <a:pt x="501" y="332347"/>
                  </a:cubicBezTo>
                  <a:cubicBezTo>
                    <a:pt x="-125" y="329941"/>
                    <a:pt x="-126" y="327413"/>
                    <a:pt x="498" y="325007"/>
                  </a:cubicBezTo>
                  <a:lnTo>
                    <a:pt x="19649" y="251405"/>
                  </a:lnTo>
                  <a:cubicBezTo>
                    <a:pt x="6707" y="226800"/>
                    <a:pt x="-38" y="199410"/>
                    <a:pt x="0" y="171608"/>
                  </a:cubicBezTo>
                  <a:cubicBezTo>
                    <a:pt x="0" y="76829"/>
                    <a:pt x="76829" y="0"/>
                    <a:pt x="171608" y="0"/>
                  </a:cubicBezTo>
                  <a:close/>
                  <a:moveTo>
                    <a:pt x="193093" y="188768"/>
                  </a:moveTo>
                  <a:lnTo>
                    <a:pt x="115835" y="188768"/>
                  </a:lnTo>
                  <a:lnTo>
                    <a:pt x="114085" y="188888"/>
                  </a:lnTo>
                  <a:cubicBezTo>
                    <a:pt x="107043" y="189858"/>
                    <a:pt x="102120" y="196352"/>
                    <a:pt x="103089" y="203393"/>
                  </a:cubicBezTo>
                  <a:cubicBezTo>
                    <a:pt x="103875" y="209109"/>
                    <a:pt x="108369" y="213603"/>
                    <a:pt x="114085" y="214389"/>
                  </a:cubicBezTo>
                  <a:lnTo>
                    <a:pt x="115835" y="214509"/>
                  </a:lnTo>
                  <a:lnTo>
                    <a:pt x="193093" y="214509"/>
                  </a:lnTo>
                  <a:lnTo>
                    <a:pt x="194826" y="214389"/>
                  </a:lnTo>
                  <a:cubicBezTo>
                    <a:pt x="201867" y="213420"/>
                    <a:pt x="206791" y="206926"/>
                    <a:pt x="205823" y="199885"/>
                  </a:cubicBezTo>
                  <a:cubicBezTo>
                    <a:pt x="205035" y="194169"/>
                    <a:pt x="200542" y="189674"/>
                    <a:pt x="194826" y="188888"/>
                  </a:cubicBezTo>
                  <a:lnTo>
                    <a:pt x="193093" y="188768"/>
                  </a:lnTo>
                  <a:close/>
                  <a:moveTo>
                    <a:pt x="227380" y="128706"/>
                  </a:moveTo>
                  <a:lnTo>
                    <a:pt x="115835" y="128706"/>
                  </a:lnTo>
                  <a:lnTo>
                    <a:pt x="114085" y="128826"/>
                  </a:lnTo>
                  <a:cubicBezTo>
                    <a:pt x="107043" y="129795"/>
                    <a:pt x="102120" y="136289"/>
                    <a:pt x="103089" y="143330"/>
                  </a:cubicBezTo>
                  <a:cubicBezTo>
                    <a:pt x="103875" y="149046"/>
                    <a:pt x="108369" y="153541"/>
                    <a:pt x="114085" y="154327"/>
                  </a:cubicBezTo>
                  <a:lnTo>
                    <a:pt x="115835" y="154447"/>
                  </a:lnTo>
                  <a:lnTo>
                    <a:pt x="227380" y="154447"/>
                  </a:lnTo>
                  <a:lnTo>
                    <a:pt x="229131" y="154327"/>
                  </a:lnTo>
                  <a:cubicBezTo>
                    <a:pt x="236172" y="153357"/>
                    <a:pt x="241095" y="146863"/>
                    <a:pt x="240127" y="139822"/>
                  </a:cubicBezTo>
                  <a:cubicBezTo>
                    <a:pt x="239339" y="134106"/>
                    <a:pt x="234847" y="129612"/>
                    <a:pt x="229131" y="128826"/>
                  </a:cubicBezTo>
                  <a:lnTo>
                    <a:pt x="227380" y="128706"/>
                  </a:lnTo>
                  <a:close/>
                </a:path>
              </a:pathLst>
            </a:custGeom>
            <a:solidFill>
              <a:schemeClr val="bg1"/>
            </a:solidFill>
            <a:ln w="38100" cap="flat" cmpd="sng" algn="ctr">
              <a:noFill/>
              <a:prstDash val="solid"/>
              <a:headEnd type="none" w="med" len="med"/>
              <a:tailEnd type="none" w="med" len="med"/>
            </a:ln>
            <a:effectLst>
              <a:outerShdw blurRad="63500" algn="ctr" rotWithShape="0">
                <a:schemeClr val="bg1">
                  <a:lumMod val="65000"/>
                  <a:alpha val="40000"/>
                </a:scheme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36405" rtl="0" eaLnBrk="1" fontAlgn="base"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000000"/>
                </a:solidFill>
                <a:effectLst/>
                <a:uLnTx/>
                <a:uFillTx/>
                <a:latin typeface="Segoe UI Semibold"/>
                <a:ea typeface="+mn-ea"/>
                <a:cs typeface="Segoe UI Semibold" panose="020B0502040204020203" pitchFamily="34" charset="0"/>
              </a:endParaRPr>
            </a:p>
          </p:txBody>
        </p:sp>
      </p:grpSp>
    </p:spTree>
    <p:extLst>
      <p:ext uri="{BB962C8B-B14F-4D97-AF65-F5344CB8AC3E}">
        <p14:creationId xmlns:p14="http://schemas.microsoft.com/office/powerpoint/2010/main" val="2330538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500" fill="hold"/>
                                        <p:tgtEl>
                                          <p:spTgt spid="30"/>
                                        </p:tgtEl>
                                        <p:attrNameLst>
                                          <p:attrName>ppt_w</p:attrName>
                                        </p:attrNameLst>
                                      </p:cBhvr>
                                      <p:tavLst>
                                        <p:tav tm="0">
                                          <p:val>
                                            <p:fltVal val="0"/>
                                          </p:val>
                                        </p:tav>
                                        <p:tav tm="100000">
                                          <p:val>
                                            <p:strVal val="#ppt_w"/>
                                          </p:val>
                                        </p:tav>
                                      </p:tavLst>
                                    </p:anim>
                                    <p:anim calcmode="lin" valueType="num">
                                      <p:cBhvr>
                                        <p:cTn id="8" dur="500" fill="hold"/>
                                        <p:tgtEl>
                                          <p:spTgt spid="30"/>
                                        </p:tgtEl>
                                        <p:attrNameLst>
                                          <p:attrName>ppt_h</p:attrName>
                                        </p:attrNameLst>
                                      </p:cBhvr>
                                      <p:tavLst>
                                        <p:tav tm="0">
                                          <p:val>
                                            <p:fltVal val="0"/>
                                          </p:val>
                                        </p:tav>
                                        <p:tav tm="100000">
                                          <p:val>
                                            <p:strVal val="#ppt_h"/>
                                          </p:val>
                                        </p:tav>
                                      </p:tavLst>
                                    </p:anim>
                                    <p:animEffect transition="in" filter="fade">
                                      <p:cBhvr>
                                        <p:cTn id="9" dur="500"/>
                                        <p:tgtEl>
                                          <p:spTgt spid="30"/>
                                        </p:tgtEl>
                                      </p:cBhvr>
                                    </p:animEffect>
                                  </p:childTnLst>
                                </p:cTn>
                              </p:par>
                              <p:par>
                                <p:cTn id="10" presetID="53" presetClass="entr" presetSubtype="16" fill="hold" nodeType="withEffect">
                                  <p:stCondLst>
                                    <p:cond delay="0"/>
                                  </p:stCondLst>
                                  <p:childTnLst>
                                    <p:set>
                                      <p:cBhvr>
                                        <p:cTn id="11" dur="1" fill="hold">
                                          <p:stCondLst>
                                            <p:cond delay="0"/>
                                          </p:stCondLst>
                                        </p:cTn>
                                        <p:tgtEl>
                                          <p:spTgt spid="136"/>
                                        </p:tgtEl>
                                        <p:attrNameLst>
                                          <p:attrName>style.visibility</p:attrName>
                                        </p:attrNameLst>
                                      </p:cBhvr>
                                      <p:to>
                                        <p:strVal val="visible"/>
                                      </p:to>
                                    </p:set>
                                    <p:anim calcmode="lin" valueType="num">
                                      <p:cBhvr>
                                        <p:cTn id="12" dur="500" fill="hold"/>
                                        <p:tgtEl>
                                          <p:spTgt spid="136"/>
                                        </p:tgtEl>
                                        <p:attrNameLst>
                                          <p:attrName>ppt_w</p:attrName>
                                        </p:attrNameLst>
                                      </p:cBhvr>
                                      <p:tavLst>
                                        <p:tav tm="0">
                                          <p:val>
                                            <p:fltVal val="0"/>
                                          </p:val>
                                        </p:tav>
                                        <p:tav tm="100000">
                                          <p:val>
                                            <p:strVal val="#ppt_w"/>
                                          </p:val>
                                        </p:tav>
                                      </p:tavLst>
                                    </p:anim>
                                    <p:anim calcmode="lin" valueType="num">
                                      <p:cBhvr>
                                        <p:cTn id="13" dur="500" fill="hold"/>
                                        <p:tgtEl>
                                          <p:spTgt spid="136"/>
                                        </p:tgtEl>
                                        <p:attrNameLst>
                                          <p:attrName>ppt_h</p:attrName>
                                        </p:attrNameLst>
                                      </p:cBhvr>
                                      <p:tavLst>
                                        <p:tav tm="0">
                                          <p:val>
                                            <p:fltVal val="0"/>
                                          </p:val>
                                        </p:tav>
                                        <p:tav tm="100000">
                                          <p:val>
                                            <p:strVal val="#ppt_h"/>
                                          </p:val>
                                        </p:tav>
                                      </p:tavLst>
                                    </p:anim>
                                    <p:animEffect transition="in" filter="fade">
                                      <p:cBhvr>
                                        <p:cTn id="14" dur="500"/>
                                        <p:tgtEl>
                                          <p:spTgt spid="13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p:cTn id="17" dur="500" fill="hold"/>
                                        <p:tgtEl>
                                          <p:spTgt spid="22"/>
                                        </p:tgtEl>
                                        <p:attrNameLst>
                                          <p:attrName>ppt_w</p:attrName>
                                        </p:attrNameLst>
                                      </p:cBhvr>
                                      <p:tavLst>
                                        <p:tav tm="0">
                                          <p:val>
                                            <p:fltVal val="0"/>
                                          </p:val>
                                        </p:tav>
                                        <p:tav tm="100000">
                                          <p:val>
                                            <p:strVal val="#ppt_w"/>
                                          </p:val>
                                        </p:tav>
                                      </p:tavLst>
                                    </p:anim>
                                    <p:anim calcmode="lin" valueType="num">
                                      <p:cBhvr>
                                        <p:cTn id="18" dur="500" fill="hold"/>
                                        <p:tgtEl>
                                          <p:spTgt spid="22"/>
                                        </p:tgtEl>
                                        <p:attrNameLst>
                                          <p:attrName>ppt_h</p:attrName>
                                        </p:attrNameLst>
                                      </p:cBhvr>
                                      <p:tavLst>
                                        <p:tav tm="0">
                                          <p:val>
                                            <p:fltVal val="0"/>
                                          </p:val>
                                        </p:tav>
                                        <p:tav tm="100000">
                                          <p:val>
                                            <p:strVal val="#ppt_h"/>
                                          </p:val>
                                        </p:tav>
                                      </p:tavLst>
                                    </p:anim>
                                    <p:animEffect transition="in" filter="fade">
                                      <p:cBhvr>
                                        <p:cTn id="19" dur="500"/>
                                        <p:tgtEl>
                                          <p:spTgt spid="2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p:cTn id="22" dur="500" fill="hold"/>
                                        <p:tgtEl>
                                          <p:spTgt spid="16"/>
                                        </p:tgtEl>
                                        <p:attrNameLst>
                                          <p:attrName>ppt_w</p:attrName>
                                        </p:attrNameLst>
                                      </p:cBhvr>
                                      <p:tavLst>
                                        <p:tav tm="0">
                                          <p:val>
                                            <p:fltVal val="0"/>
                                          </p:val>
                                        </p:tav>
                                        <p:tav tm="100000">
                                          <p:val>
                                            <p:strVal val="#ppt_w"/>
                                          </p:val>
                                        </p:tav>
                                      </p:tavLst>
                                    </p:anim>
                                    <p:anim calcmode="lin" valueType="num">
                                      <p:cBhvr>
                                        <p:cTn id="23" dur="500" fill="hold"/>
                                        <p:tgtEl>
                                          <p:spTgt spid="16"/>
                                        </p:tgtEl>
                                        <p:attrNameLst>
                                          <p:attrName>ppt_h</p:attrName>
                                        </p:attrNameLst>
                                      </p:cBhvr>
                                      <p:tavLst>
                                        <p:tav tm="0">
                                          <p:val>
                                            <p:fltVal val="0"/>
                                          </p:val>
                                        </p:tav>
                                        <p:tav tm="100000">
                                          <p:val>
                                            <p:strVal val="#ppt_h"/>
                                          </p:val>
                                        </p:tav>
                                      </p:tavLst>
                                    </p:anim>
                                    <p:animEffect transition="in" filter="fade">
                                      <p:cBhvr>
                                        <p:cTn id="24" dur="500"/>
                                        <p:tgtEl>
                                          <p:spTgt spid="1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anim calcmode="lin" valueType="num">
                                      <p:cBhvr>
                                        <p:cTn id="27" dur="500" fill="hold"/>
                                        <p:tgtEl>
                                          <p:spTgt spid="18"/>
                                        </p:tgtEl>
                                        <p:attrNameLst>
                                          <p:attrName>ppt_w</p:attrName>
                                        </p:attrNameLst>
                                      </p:cBhvr>
                                      <p:tavLst>
                                        <p:tav tm="0">
                                          <p:val>
                                            <p:fltVal val="0"/>
                                          </p:val>
                                        </p:tav>
                                        <p:tav tm="100000">
                                          <p:val>
                                            <p:strVal val="#ppt_w"/>
                                          </p:val>
                                        </p:tav>
                                      </p:tavLst>
                                    </p:anim>
                                    <p:anim calcmode="lin" valueType="num">
                                      <p:cBhvr>
                                        <p:cTn id="28" dur="500" fill="hold"/>
                                        <p:tgtEl>
                                          <p:spTgt spid="18"/>
                                        </p:tgtEl>
                                        <p:attrNameLst>
                                          <p:attrName>ppt_h</p:attrName>
                                        </p:attrNameLst>
                                      </p:cBhvr>
                                      <p:tavLst>
                                        <p:tav tm="0">
                                          <p:val>
                                            <p:fltVal val="0"/>
                                          </p:val>
                                        </p:tav>
                                        <p:tav tm="100000">
                                          <p:val>
                                            <p:strVal val="#ppt_h"/>
                                          </p:val>
                                        </p:tav>
                                      </p:tavLst>
                                    </p:anim>
                                    <p:animEffect transition="in" filter="fade">
                                      <p:cBhvr>
                                        <p:cTn id="29" dur="500"/>
                                        <p:tgtEl>
                                          <p:spTgt spid="1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500" fill="hold"/>
                                        <p:tgtEl>
                                          <p:spTgt spid="19"/>
                                        </p:tgtEl>
                                        <p:attrNameLst>
                                          <p:attrName>ppt_w</p:attrName>
                                        </p:attrNameLst>
                                      </p:cBhvr>
                                      <p:tavLst>
                                        <p:tav tm="0">
                                          <p:val>
                                            <p:fltVal val="0"/>
                                          </p:val>
                                        </p:tav>
                                        <p:tav tm="100000">
                                          <p:val>
                                            <p:strVal val="#ppt_w"/>
                                          </p:val>
                                        </p:tav>
                                      </p:tavLst>
                                    </p:anim>
                                    <p:anim calcmode="lin" valueType="num">
                                      <p:cBhvr>
                                        <p:cTn id="33" dur="500" fill="hold"/>
                                        <p:tgtEl>
                                          <p:spTgt spid="19"/>
                                        </p:tgtEl>
                                        <p:attrNameLst>
                                          <p:attrName>ppt_h</p:attrName>
                                        </p:attrNameLst>
                                      </p:cBhvr>
                                      <p:tavLst>
                                        <p:tav tm="0">
                                          <p:val>
                                            <p:fltVal val="0"/>
                                          </p:val>
                                        </p:tav>
                                        <p:tav tm="100000">
                                          <p:val>
                                            <p:strVal val="#ppt_h"/>
                                          </p:val>
                                        </p:tav>
                                      </p:tavLst>
                                    </p:anim>
                                    <p:animEffect transition="in" filter="fade">
                                      <p:cBhvr>
                                        <p:cTn id="34" dur="500"/>
                                        <p:tgtEl>
                                          <p:spTgt spid="19"/>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500" fill="hold"/>
                                        <p:tgtEl>
                                          <p:spTgt spid="17"/>
                                        </p:tgtEl>
                                        <p:attrNameLst>
                                          <p:attrName>ppt_w</p:attrName>
                                        </p:attrNameLst>
                                      </p:cBhvr>
                                      <p:tavLst>
                                        <p:tav tm="0">
                                          <p:val>
                                            <p:fltVal val="0"/>
                                          </p:val>
                                        </p:tav>
                                        <p:tav tm="100000">
                                          <p:val>
                                            <p:strVal val="#ppt_w"/>
                                          </p:val>
                                        </p:tav>
                                      </p:tavLst>
                                    </p:anim>
                                    <p:anim calcmode="lin" valueType="num">
                                      <p:cBhvr>
                                        <p:cTn id="38" dur="500" fill="hold"/>
                                        <p:tgtEl>
                                          <p:spTgt spid="17"/>
                                        </p:tgtEl>
                                        <p:attrNameLst>
                                          <p:attrName>ppt_h</p:attrName>
                                        </p:attrNameLst>
                                      </p:cBhvr>
                                      <p:tavLst>
                                        <p:tav tm="0">
                                          <p:val>
                                            <p:fltVal val="0"/>
                                          </p:val>
                                        </p:tav>
                                        <p:tav tm="100000">
                                          <p:val>
                                            <p:strVal val="#ppt_h"/>
                                          </p:val>
                                        </p:tav>
                                      </p:tavLst>
                                    </p:anim>
                                    <p:animEffect transition="in" filter="fade">
                                      <p:cBhvr>
                                        <p:cTn id="39" dur="500"/>
                                        <p:tgtEl>
                                          <p:spTgt spid="17"/>
                                        </p:tgtEl>
                                      </p:cBhvr>
                                    </p:animEffect>
                                  </p:childTnLst>
                                </p:cTn>
                              </p:par>
                              <p:par>
                                <p:cTn id="40" presetID="21" presetClass="entr" presetSubtype="1" fill="hold" grpId="0" nodeType="withEffect">
                                  <p:stCondLst>
                                    <p:cond delay="0"/>
                                  </p:stCondLst>
                                  <p:childTnLst>
                                    <p:set>
                                      <p:cBhvr>
                                        <p:cTn id="41" dur="1" fill="hold">
                                          <p:stCondLst>
                                            <p:cond delay="0"/>
                                          </p:stCondLst>
                                        </p:cTn>
                                        <p:tgtEl>
                                          <p:spTgt spid="85"/>
                                        </p:tgtEl>
                                        <p:attrNameLst>
                                          <p:attrName>style.visibility</p:attrName>
                                        </p:attrNameLst>
                                      </p:cBhvr>
                                      <p:to>
                                        <p:strVal val="visible"/>
                                      </p:to>
                                    </p:set>
                                    <p:animEffect transition="in" filter="wheel(1)">
                                      <p:cBhvr>
                                        <p:cTn id="42" dur="750"/>
                                        <p:tgtEl>
                                          <p:spTgt spid="85"/>
                                        </p:tgtEl>
                                      </p:cBhvr>
                                    </p:animEffect>
                                  </p:childTnLst>
                                </p:cTn>
                              </p:par>
                              <p:par>
                                <p:cTn id="43" presetID="21" presetClass="entr" presetSubtype="1" fill="hold" grpId="0" nodeType="withEffect">
                                  <p:stCondLst>
                                    <p:cond delay="0"/>
                                  </p:stCondLst>
                                  <p:childTnLst>
                                    <p:set>
                                      <p:cBhvr>
                                        <p:cTn id="44" dur="1" fill="hold">
                                          <p:stCondLst>
                                            <p:cond delay="0"/>
                                          </p:stCondLst>
                                        </p:cTn>
                                        <p:tgtEl>
                                          <p:spTgt spid="87"/>
                                        </p:tgtEl>
                                        <p:attrNameLst>
                                          <p:attrName>style.visibility</p:attrName>
                                        </p:attrNameLst>
                                      </p:cBhvr>
                                      <p:to>
                                        <p:strVal val="visible"/>
                                      </p:to>
                                    </p:set>
                                    <p:animEffect transition="in" filter="wheel(1)">
                                      <p:cBhvr>
                                        <p:cTn id="45" dur="750"/>
                                        <p:tgtEl>
                                          <p:spTgt spid="87"/>
                                        </p:tgtEl>
                                      </p:cBhvr>
                                    </p:animEffect>
                                  </p:childTnLst>
                                </p:cTn>
                              </p:par>
                            </p:childTnLst>
                          </p:cTn>
                        </p:par>
                        <p:par>
                          <p:cTn id="46" fill="hold">
                            <p:stCondLst>
                              <p:cond delay="750"/>
                            </p:stCondLst>
                            <p:childTnLst>
                              <p:par>
                                <p:cTn id="47" presetID="53" presetClass="entr" presetSubtype="16" fill="hold" nodeType="after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p:cTn id="49" dur="250" fill="hold"/>
                                        <p:tgtEl>
                                          <p:spTgt spid="11"/>
                                        </p:tgtEl>
                                        <p:attrNameLst>
                                          <p:attrName>ppt_w</p:attrName>
                                        </p:attrNameLst>
                                      </p:cBhvr>
                                      <p:tavLst>
                                        <p:tav tm="0">
                                          <p:val>
                                            <p:fltVal val="0"/>
                                          </p:val>
                                        </p:tav>
                                        <p:tav tm="100000">
                                          <p:val>
                                            <p:strVal val="#ppt_w"/>
                                          </p:val>
                                        </p:tav>
                                      </p:tavLst>
                                    </p:anim>
                                    <p:anim calcmode="lin" valueType="num">
                                      <p:cBhvr>
                                        <p:cTn id="50" dur="250" fill="hold"/>
                                        <p:tgtEl>
                                          <p:spTgt spid="11"/>
                                        </p:tgtEl>
                                        <p:attrNameLst>
                                          <p:attrName>ppt_h</p:attrName>
                                        </p:attrNameLst>
                                      </p:cBhvr>
                                      <p:tavLst>
                                        <p:tav tm="0">
                                          <p:val>
                                            <p:fltVal val="0"/>
                                          </p:val>
                                        </p:tav>
                                        <p:tav tm="100000">
                                          <p:val>
                                            <p:strVal val="#ppt_h"/>
                                          </p:val>
                                        </p:tav>
                                      </p:tavLst>
                                    </p:anim>
                                    <p:animEffect transition="in" filter="fade">
                                      <p:cBhvr>
                                        <p:cTn id="51" dur="250"/>
                                        <p:tgtEl>
                                          <p:spTgt spid="11"/>
                                        </p:tgtEl>
                                      </p:cBhvr>
                                    </p:animEffect>
                                  </p:childTnLst>
                                </p:cTn>
                              </p:par>
                            </p:childTnLst>
                          </p:cTn>
                        </p:par>
                        <p:par>
                          <p:cTn id="52" fill="hold">
                            <p:stCondLst>
                              <p:cond delay="1000"/>
                            </p:stCondLst>
                            <p:childTnLst>
                              <p:par>
                                <p:cTn id="53" presetID="53" presetClass="entr" presetSubtype="16" fill="hold" nodeType="afterEffect">
                                  <p:stCondLst>
                                    <p:cond delay="0"/>
                                  </p:stCondLst>
                                  <p:childTnLst>
                                    <p:set>
                                      <p:cBhvr>
                                        <p:cTn id="54" dur="1" fill="hold">
                                          <p:stCondLst>
                                            <p:cond delay="0"/>
                                          </p:stCondLst>
                                        </p:cTn>
                                        <p:tgtEl>
                                          <p:spTgt spid="7"/>
                                        </p:tgtEl>
                                        <p:attrNameLst>
                                          <p:attrName>style.visibility</p:attrName>
                                        </p:attrNameLst>
                                      </p:cBhvr>
                                      <p:to>
                                        <p:strVal val="visible"/>
                                      </p:to>
                                    </p:set>
                                    <p:anim calcmode="lin" valueType="num">
                                      <p:cBhvr>
                                        <p:cTn id="55" dur="250" fill="hold"/>
                                        <p:tgtEl>
                                          <p:spTgt spid="7"/>
                                        </p:tgtEl>
                                        <p:attrNameLst>
                                          <p:attrName>ppt_w</p:attrName>
                                        </p:attrNameLst>
                                      </p:cBhvr>
                                      <p:tavLst>
                                        <p:tav tm="0">
                                          <p:val>
                                            <p:fltVal val="0"/>
                                          </p:val>
                                        </p:tav>
                                        <p:tav tm="100000">
                                          <p:val>
                                            <p:strVal val="#ppt_w"/>
                                          </p:val>
                                        </p:tav>
                                      </p:tavLst>
                                    </p:anim>
                                    <p:anim calcmode="lin" valueType="num">
                                      <p:cBhvr>
                                        <p:cTn id="56" dur="250" fill="hold"/>
                                        <p:tgtEl>
                                          <p:spTgt spid="7"/>
                                        </p:tgtEl>
                                        <p:attrNameLst>
                                          <p:attrName>ppt_h</p:attrName>
                                        </p:attrNameLst>
                                      </p:cBhvr>
                                      <p:tavLst>
                                        <p:tav tm="0">
                                          <p:val>
                                            <p:fltVal val="0"/>
                                          </p:val>
                                        </p:tav>
                                        <p:tav tm="100000">
                                          <p:val>
                                            <p:strVal val="#ppt_h"/>
                                          </p:val>
                                        </p:tav>
                                      </p:tavLst>
                                    </p:anim>
                                    <p:animEffect transition="in" filter="fade">
                                      <p:cBhvr>
                                        <p:cTn id="57" dur="250"/>
                                        <p:tgtEl>
                                          <p:spTgt spid="7"/>
                                        </p:tgtEl>
                                      </p:cBhvr>
                                    </p:animEffect>
                                  </p:childTnLst>
                                </p:cTn>
                              </p:par>
                            </p:childTnLst>
                          </p:cTn>
                        </p:par>
                        <p:par>
                          <p:cTn id="58" fill="hold">
                            <p:stCondLst>
                              <p:cond delay="1250"/>
                            </p:stCondLst>
                            <p:childTnLst>
                              <p:par>
                                <p:cTn id="59" presetID="53" presetClass="entr" presetSubtype="16" fill="hold" nodeType="after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p:cTn id="61" dur="250" fill="hold"/>
                                        <p:tgtEl>
                                          <p:spTgt spid="5"/>
                                        </p:tgtEl>
                                        <p:attrNameLst>
                                          <p:attrName>ppt_w</p:attrName>
                                        </p:attrNameLst>
                                      </p:cBhvr>
                                      <p:tavLst>
                                        <p:tav tm="0">
                                          <p:val>
                                            <p:fltVal val="0"/>
                                          </p:val>
                                        </p:tav>
                                        <p:tav tm="100000">
                                          <p:val>
                                            <p:strVal val="#ppt_w"/>
                                          </p:val>
                                        </p:tav>
                                      </p:tavLst>
                                    </p:anim>
                                    <p:anim calcmode="lin" valueType="num">
                                      <p:cBhvr>
                                        <p:cTn id="62" dur="250" fill="hold"/>
                                        <p:tgtEl>
                                          <p:spTgt spid="5"/>
                                        </p:tgtEl>
                                        <p:attrNameLst>
                                          <p:attrName>ppt_h</p:attrName>
                                        </p:attrNameLst>
                                      </p:cBhvr>
                                      <p:tavLst>
                                        <p:tav tm="0">
                                          <p:val>
                                            <p:fltVal val="0"/>
                                          </p:val>
                                        </p:tav>
                                        <p:tav tm="100000">
                                          <p:val>
                                            <p:strVal val="#ppt_h"/>
                                          </p:val>
                                        </p:tav>
                                      </p:tavLst>
                                    </p:anim>
                                    <p:animEffect transition="in" filter="fade">
                                      <p:cBhvr>
                                        <p:cTn id="63" dur="250"/>
                                        <p:tgtEl>
                                          <p:spTgt spid="5"/>
                                        </p:tgtEl>
                                      </p:cBhvr>
                                    </p:animEffect>
                                  </p:childTnLst>
                                </p:cTn>
                              </p:par>
                            </p:childTnLst>
                          </p:cTn>
                        </p:par>
                        <p:par>
                          <p:cTn id="64" fill="hold">
                            <p:stCondLst>
                              <p:cond delay="1500"/>
                            </p:stCondLst>
                            <p:childTnLst>
                              <p:par>
                                <p:cTn id="65" presetID="53" presetClass="entr" presetSubtype="16" fill="hold" nodeType="afterEffect">
                                  <p:stCondLst>
                                    <p:cond delay="0"/>
                                  </p:stCondLst>
                                  <p:childTnLst>
                                    <p:set>
                                      <p:cBhvr>
                                        <p:cTn id="66" dur="1" fill="hold">
                                          <p:stCondLst>
                                            <p:cond delay="0"/>
                                          </p:stCondLst>
                                        </p:cTn>
                                        <p:tgtEl>
                                          <p:spTgt spid="8"/>
                                        </p:tgtEl>
                                        <p:attrNameLst>
                                          <p:attrName>style.visibility</p:attrName>
                                        </p:attrNameLst>
                                      </p:cBhvr>
                                      <p:to>
                                        <p:strVal val="visible"/>
                                      </p:to>
                                    </p:set>
                                    <p:anim calcmode="lin" valueType="num">
                                      <p:cBhvr>
                                        <p:cTn id="67" dur="250" fill="hold"/>
                                        <p:tgtEl>
                                          <p:spTgt spid="8"/>
                                        </p:tgtEl>
                                        <p:attrNameLst>
                                          <p:attrName>ppt_w</p:attrName>
                                        </p:attrNameLst>
                                      </p:cBhvr>
                                      <p:tavLst>
                                        <p:tav tm="0">
                                          <p:val>
                                            <p:fltVal val="0"/>
                                          </p:val>
                                        </p:tav>
                                        <p:tav tm="100000">
                                          <p:val>
                                            <p:strVal val="#ppt_w"/>
                                          </p:val>
                                        </p:tav>
                                      </p:tavLst>
                                    </p:anim>
                                    <p:anim calcmode="lin" valueType="num">
                                      <p:cBhvr>
                                        <p:cTn id="68" dur="250" fill="hold"/>
                                        <p:tgtEl>
                                          <p:spTgt spid="8"/>
                                        </p:tgtEl>
                                        <p:attrNameLst>
                                          <p:attrName>ppt_h</p:attrName>
                                        </p:attrNameLst>
                                      </p:cBhvr>
                                      <p:tavLst>
                                        <p:tav tm="0">
                                          <p:val>
                                            <p:fltVal val="0"/>
                                          </p:val>
                                        </p:tav>
                                        <p:tav tm="100000">
                                          <p:val>
                                            <p:strVal val="#ppt_h"/>
                                          </p:val>
                                        </p:tav>
                                      </p:tavLst>
                                    </p:anim>
                                    <p:animEffect transition="in" filter="fade">
                                      <p:cBhvr>
                                        <p:cTn id="69" dur="250"/>
                                        <p:tgtEl>
                                          <p:spTgt spid="8"/>
                                        </p:tgtEl>
                                      </p:cBhvr>
                                    </p:animEffect>
                                  </p:childTnLst>
                                </p:cTn>
                              </p:par>
                            </p:childTnLst>
                          </p:cTn>
                        </p:par>
                        <p:par>
                          <p:cTn id="70" fill="hold">
                            <p:stCondLst>
                              <p:cond delay="1750"/>
                            </p:stCondLst>
                            <p:childTnLst>
                              <p:par>
                                <p:cTn id="71" presetID="53" presetClass="entr" presetSubtype="16" fill="hold" nodeType="afterEffect">
                                  <p:stCondLst>
                                    <p:cond delay="0"/>
                                  </p:stCondLst>
                                  <p:childTnLst>
                                    <p:set>
                                      <p:cBhvr>
                                        <p:cTn id="72" dur="1" fill="hold">
                                          <p:stCondLst>
                                            <p:cond delay="0"/>
                                          </p:stCondLst>
                                        </p:cTn>
                                        <p:tgtEl>
                                          <p:spTgt spid="4"/>
                                        </p:tgtEl>
                                        <p:attrNameLst>
                                          <p:attrName>style.visibility</p:attrName>
                                        </p:attrNameLst>
                                      </p:cBhvr>
                                      <p:to>
                                        <p:strVal val="visible"/>
                                      </p:to>
                                    </p:set>
                                    <p:anim calcmode="lin" valueType="num">
                                      <p:cBhvr>
                                        <p:cTn id="73" dur="250" fill="hold"/>
                                        <p:tgtEl>
                                          <p:spTgt spid="4"/>
                                        </p:tgtEl>
                                        <p:attrNameLst>
                                          <p:attrName>ppt_w</p:attrName>
                                        </p:attrNameLst>
                                      </p:cBhvr>
                                      <p:tavLst>
                                        <p:tav tm="0">
                                          <p:val>
                                            <p:fltVal val="0"/>
                                          </p:val>
                                        </p:tav>
                                        <p:tav tm="100000">
                                          <p:val>
                                            <p:strVal val="#ppt_w"/>
                                          </p:val>
                                        </p:tav>
                                      </p:tavLst>
                                    </p:anim>
                                    <p:anim calcmode="lin" valueType="num">
                                      <p:cBhvr>
                                        <p:cTn id="74" dur="250" fill="hold"/>
                                        <p:tgtEl>
                                          <p:spTgt spid="4"/>
                                        </p:tgtEl>
                                        <p:attrNameLst>
                                          <p:attrName>ppt_h</p:attrName>
                                        </p:attrNameLst>
                                      </p:cBhvr>
                                      <p:tavLst>
                                        <p:tav tm="0">
                                          <p:val>
                                            <p:fltVal val="0"/>
                                          </p:val>
                                        </p:tav>
                                        <p:tav tm="100000">
                                          <p:val>
                                            <p:strVal val="#ppt_h"/>
                                          </p:val>
                                        </p:tav>
                                      </p:tavLst>
                                    </p:anim>
                                    <p:animEffect transition="in" filter="fade">
                                      <p:cBhvr>
                                        <p:cTn id="75" dur="250"/>
                                        <p:tgtEl>
                                          <p:spTgt spid="4"/>
                                        </p:tgtEl>
                                      </p:cBhvr>
                                    </p:animEffect>
                                  </p:childTnLst>
                                </p:cTn>
                              </p:par>
                            </p:childTnLst>
                          </p:cTn>
                        </p:par>
                        <p:par>
                          <p:cTn id="76" fill="hold">
                            <p:stCondLst>
                              <p:cond delay="2000"/>
                            </p:stCondLst>
                            <p:childTnLst>
                              <p:par>
                                <p:cTn id="77" presetID="53" presetClass="entr" presetSubtype="16" fill="hold" nodeType="after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250" fill="hold"/>
                                        <p:tgtEl>
                                          <p:spTgt spid="6"/>
                                        </p:tgtEl>
                                        <p:attrNameLst>
                                          <p:attrName>ppt_w</p:attrName>
                                        </p:attrNameLst>
                                      </p:cBhvr>
                                      <p:tavLst>
                                        <p:tav tm="0">
                                          <p:val>
                                            <p:fltVal val="0"/>
                                          </p:val>
                                        </p:tav>
                                        <p:tav tm="100000">
                                          <p:val>
                                            <p:strVal val="#ppt_w"/>
                                          </p:val>
                                        </p:tav>
                                      </p:tavLst>
                                    </p:anim>
                                    <p:anim calcmode="lin" valueType="num">
                                      <p:cBhvr>
                                        <p:cTn id="80" dur="250" fill="hold"/>
                                        <p:tgtEl>
                                          <p:spTgt spid="6"/>
                                        </p:tgtEl>
                                        <p:attrNameLst>
                                          <p:attrName>ppt_h</p:attrName>
                                        </p:attrNameLst>
                                      </p:cBhvr>
                                      <p:tavLst>
                                        <p:tav tm="0">
                                          <p:val>
                                            <p:fltVal val="0"/>
                                          </p:val>
                                        </p:tav>
                                        <p:tav tm="100000">
                                          <p:val>
                                            <p:strVal val="#ppt_h"/>
                                          </p:val>
                                        </p:tav>
                                      </p:tavLst>
                                    </p:anim>
                                    <p:animEffect transition="in" filter="fade">
                                      <p:cBhvr>
                                        <p:cTn id="81" dur="250"/>
                                        <p:tgtEl>
                                          <p:spTgt spid="6"/>
                                        </p:tgtEl>
                                      </p:cBhvr>
                                    </p:animEffect>
                                  </p:childTnLst>
                                </p:cTn>
                              </p:par>
                            </p:childTnLst>
                          </p:cTn>
                        </p:par>
                        <p:par>
                          <p:cTn id="82" fill="hold">
                            <p:stCondLst>
                              <p:cond delay="2250"/>
                            </p:stCondLst>
                            <p:childTnLst>
                              <p:par>
                                <p:cTn id="83" presetID="53" presetClass="entr" presetSubtype="16" fill="hold" nodeType="afterEffect">
                                  <p:stCondLst>
                                    <p:cond delay="0"/>
                                  </p:stCondLst>
                                  <p:childTnLst>
                                    <p:set>
                                      <p:cBhvr>
                                        <p:cTn id="84" dur="1" fill="hold">
                                          <p:stCondLst>
                                            <p:cond delay="0"/>
                                          </p:stCondLst>
                                        </p:cTn>
                                        <p:tgtEl>
                                          <p:spTgt spid="9"/>
                                        </p:tgtEl>
                                        <p:attrNameLst>
                                          <p:attrName>style.visibility</p:attrName>
                                        </p:attrNameLst>
                                      </p:cBhvr>
                                      <p:to>
                                        <p:strVal val="visible"/>
                                      </p:to>
                                    </p:set>
                                    <p:anim calcmode="lin" valueType="num">
                                      <p:cBhvr>
                                        <p:cTn id="85" dur="250" fill="hold"/>
                                        <p:tgtEl>
                                          <p:spTgt spid="9"/>
                                        </p:tgtEl>
                                        <p:attrNameLst>
                                          <p:attrName>ppt_w</p:attrName>
                                        </p:attrNameLst>
                                      </p:cBhvr>
                                      <p:tavLst>
                                        <p:tav tm="0">
                                          <p:val>
                                            <p:fltVal val="0"/>
                                          </p:val>
                                        </p:tav>
                                        <p:tav tm="100000">
                                          <p:val>
                                            <p:strVal val="#ppt_w"/>
                                          </p:val>
                                        </p:tav>
                                      </p:tavLst>
                                    </p:anim>
                                    <p:anim calcmode="lin" valueType="num">
                                      <p:cBhvr>
                                        <p:cTn id="86" dur="250" fill="hold"/>
                                        <p:tgtEl>
                                          <p:spTgt spid="9"/>
                                        </p:tgtEl>
                                        <p:attrNameLst>
                                          <p:attrName>ppt_h</p:attrName>
                                        </p:attrNameLst>
                                      </p:cBhvr>
                                      <p:tavLst>
                                        <p:tav tm="0">
                                          <p:val>
                                            <p:fltVal val="0"/>
                                          </p:val>
                                        </p:tav>
                                        <p:tav tm="100000">
                                          <p:val>
                                            <p:strVal val="#ppt_h"/>
                                          </p:val>
                                        </p:tav>
                                      </p:tavLst>
                                    </p:anim>
                                    <p:animEffect transition="in" filter="fade">
                                      <p:cBhvr>
                                        <p:cTn id="87" dur="250"/>
                                        <p:tgtEl>
                                          <p:spTgt spid="9"/>
                                        </p:tgtEl>
                                      </p:cBhvr>
                                    </p:animEffect>
                                  </p:childTnLst>
                                </p:cTn>
                              </p:par>
                            </p:childTnLst>
                          </p:cTn>
                        </p:par>
                        <p:par>
                          <p:cTn id="88" fill="hold">
                            <p:stCondLst>
                              <p:cond delay="2500"/>
                            </p:stCondLst>
                            <p:childTnLst>
                              <p:par>
                                <p:cTn id="89" presetID="53" presetClass="entr" presetSubtype="16" fill="hold" nodeType="afterEffect">
                                  <p:stCondLst>
                                    <p:cond delay="0"/>
                                  </p:stCondLst>
                                  <p:childTnLst>
                                    <p:set>
                                      <p:cBhvr>
                                        <p:cTn id="90" dur="1" fill="hold">
                                          <p:stCondLst>
                                            <p:cond delay="0"/>
                                          </p:stCondLst>
                                        </p:cTn>
                                        <p:tgtEl>
                                          <p:spTgt spid="102"/>
                                        </p:tgtEl>
                                        <p:attrNameLst>
                                          <p:attrName>style.visibility</p:attrName>
                                        </p:attrNameLst>
                                      </p:cBhvr>
                                      <p:to>
                                        <p:strVal val="visible"/>
                                      </p:to>
                                    </p:set>
                                    <p:anim calcmode="lin" valueType="num">
                                      <p:cBhvr>
                                        <p:cTn id="91" dur="250" fill="hold"/>
                                        <p:tgtEl>
                                          <p:spTgt spid="102"/>
                                        </p:tgtEl>
                                        <p:attrNameLst>
                                          <p:attrName>ppt_w</p:attrName>
                                        </p:attrNameLst>
                                      </p:cBhvr>
                                      <p:tavLst>
                                        <p:tav tm="0">
                                          <p:val>
                                            <p:fltVal val="0"/>
                                          </p:val>
                                        </p:tav>
                                        <p:tav tm="100000">
                                          <p:val>
                                            <p:strVal val="#ppt_w"/>
                                          </p:val>
                                        </p:tav>
                                      </p:tavLst>
                                    </p:anim>
                                    <p:anim calcmode="lin" valueType="num">
                                      <p:cBhvr>
                                        <p:cTn id="92" dur="250" fill="hold"/>
                                        <p:tgtEl>
                                          <p:spTgt spid="102"/>
                                        </p:tgtEl>
                                        <p:attrNameLst>
                                          <p:attrName>ppt_h</p:attrName>
                                        </p:attrNameLst>
                                      </p:cBhvr>
                                      <p:tavLst>
                                        <p:tav tm="0">
                                          <p:val>
                                            <p:fltVal val="0"/>
                                          </p:val>
                                        </p:tav>
                                        <p:tav tm="100000">
                                          <p:val>
                                            <p:strVal val="#ppt_h"/>
                                          </p:val>
                                        </p:tav>
                                      </p:tavLst>
                                    </p:anim>
                                    <p:animEffect transition="in" filter="fade">
                                      <p:cBhvr>
                                        <p:cTn id="93" dur="250"/>
                                        <p:tgtEl>
                                          <p:spTgt spid="102"/>
                                        </p:tgtEl>
                                      </p:cBhvr>
                                    </p:animEffect>
                                  </p:childTnLst>
                                </p:cTn>
                              </p:par>
                            </p:childTnLst>
                          </p:cTn>
                        </p:par>
                        <p:par>
                          <p:cTn id="94" fill="hold">
                            <p:stCondLst>
                              <p:cond delay="2750"/>
                            </p:stCondLst>
                            <p:childTnLst>
                              <p:par>
                                <p:cTn id="95" presetID="53" presetClass="entr" presetSubtype="16" fill="hold" nodeType="afterEffect">
                                  <p:stCondLst>
                                    <p:cond delay="0"/>
                                  </p:stCondLst>
                                  <p:childTnLst>
                                    <p:set>
                                      <p:cBhvr>
                                        <p:cTn id="96" dur="1" fill="hold">
                                          <p:stCondLst>
                                            <p:cond delay="0"/>
                                          </p:stCondLst>
                                        </p:cTn>
                                        <p:tgtEl>
                                          <p:spTgt spid="106"/>
                                        </p:tgtEl>
                                        <p:attrNameLst>
                                          <p:attrName>style.visibility</p:attrName>
                                        </p:attrNameLst>
                                      </p:cBhvr>
                                      <p:to>
                                        <p:strVal val="visible"/>
                                      </p:to>
                                    </p:set>
                                    <p:anim calcmode="lin" valueType="num">
                                      <p:cBhvr>
                                        <p:cTn id="97" dur="250" fill="hold"/>
                                        <p:tgtEl>
                                          <p:spTgt spid="106"/>
                                        </p:tgtEl>
                                        <p:attrNameLst>
                                          <p:attrName>ppt_w</p:attrName>
                                        </p:attrNameLst>
                                      </p:cBhvr>
                                      <p:tavLst>
                                        <p:tav tm="0">
                                          <p:val>
                                            <p:fltVal val="0"/>
                                          </p:val>
                                        </p:tav>
                                        <p:tav tm="100000">
                                          <p:val>
                                            <p:strVal val="#ppt_w"/>
                                          </p:val>
                                        </p:tav>
                                      </p:tavLst>
                                    </p:anim>
                                    <p:anim calcmode="lin" valueType="num">
                                      <p:cBhvr>
                                        <p:cTn id="98" dur="250" fill="hold"/>
                                        <p:tgtEl>
                                          <p:spTgt spid="106"/>
                                        </p:tgtEl>
                                        <p:attrNameLst>
                                          <p:attrName>ppt_h</p:attrName>
                                        </p:attrNameLst>
                                      </p:cBhvr>
                                      <p:tavLst>
                                        <p:tav tm="0">
                                          <p:val>
                                            <p:fltVal val="0"/>
                                          </p:val>
                                        </p:tav>
                                        <p:tav tm="100000">
                                          <p:val>
                                            <p:strVal val="#ppt_h"/>
                                          </p:val>
                                        </p:tav>
                                      </p:tavLst>
                                    </p:anim>
                                    <p:animEffect transition="in" filter="fade">
                                      <p:cBhvr>
                                        <p:cTn id="99" dur="250"/>
                                        <p:tgtEl>
                                          <p:spTgt spid="106"/>
                                        </p:tgtEl>
                                      </p:cBhvr>
                                    </p:animEffect>
                                  </p:childTnLst>
                                </p:cTn>
                              </p:par>
                            </p:childTnLst>
                          </p:cTn>
                        </p:par>
                        <p:par>
                          <p:cTn id="100" fill="hold">
                            <p:stCondLst>
                              <p:cond delay="3000"/>
                            </p:stCondLst>
                            <p:childTnLst>
                              <p:par>
                                <p:cTn id="101" presetID="53" presetClass="entr" presetSubtype="16" fill="hold" nodeType="afterEffect">
                                  <p:stCondLst>
                                    <p:cond delay="0"/>
                                  </p:stCondLst>
                                  <p:childTnLst>
                                    <p:set>
                                      <p:cBhvr>
                                        <p:cTn id="102" dur="1" fill="hold">
                                          <p:stCondLst>
                                            <p:cond delay="0"/>
                                          </p:stCondLst>
                                        </p:cTn>
                                        <p:tgtEl>
                                          <p:spTgt spid="107"/>
                                        </p:tgtEl>
                                        <p:attrNameLst>
                                          <p:attrName>style.visibility</p:attrName>
                                        </p:attrNameLst>
                                      </p:cBhvr>
                                      <p:to>
                                        <p:strVal val="visible"/>
                                      </p:to>
                                    </p:set>
                                    <p:anim calcmode="lin" valueType="num">
                                      <p:cBhvr>
                                        <p:cTn id="103" dur="250" fill="hold"/>
                                        <p:tgtEl>
                                          <p:spTgt spid="107"/>
                                        </p:tgtEl>
                                        <p:attrNameLst>
                                          <p:attrName>ppt_w</p:attrName>
                                        </p:attrNameLst>
                                      </p:cBhvr>
                                      <p:tavLst>
                                        <p:tav tm="0">
                                          <p:val>
                                            <p:fltVal val="0"/>
                                          </p:val>
                                        </p:tav>
                                        <p:tav tm="100000">
                                          <p:val>
                                            <p:strVal val="#ppt_w"/>
                                          </p:val>
                                        </p:tav>
                                      </p:tavLst>
                                    </p:anim>
                                    <p:anim calcmode="lin" valueType="num">
                                      <p:cBhvr>
                                        <p:cTn id="104" dur="250" fill="hold"/>
                                        <p:tgtEl>
                                          <p:spTgt spid="107"/>
                                        </p:tgtEl>
                                        <p:attrNameLst>
                                          <p:attrName>ppt_h</p:attrName>
                                        </p:attrNameLst>
                                      </p:cBhvr>
                                      <p:tavLst>
                                        <p:tav tm="0">
                                          <p:val>
                                            <p:fltVal val="0"/>
                                          </p:val>
                                        </p:tav>
                                        <p:tav tm="100000">
                                          <p:val>
                                            <p:strVal val="#ppt_h"/>
                                          </p:val>
                                        </p:tav>
                                      </p:tavLst>
                                    </p:anim>
                                    <p:animEffect transition="in" filter="fade">
                                      <p:cBhvr>
                                        <p:cTn id="105" dur="250"/>
                                        <p:tgtEl>
                                          <p:spTgt spid="107"/>
                                        </p:tgtEl>
                                      </p:cBhvr>
                                    </p:animEffect>
                                  </p:childTnLst>
                                </p:cTn>
                              </p:par>
                            </p:childTnLst>
                          </p:cTn>
                        </p:par>
                        <p:par>
                          <p:cTn id="106" fill="hold">
                            <p:stCondLst>
                              <p:cond delay="3250"/>
                            </p:stCondLst>
                            <p:childTnLst>
                              <p:par>
                                <p:cTn id="107" presetID="53" presetClass="entr" presetSubtype="16" fill="hold" nodeType="afterEffect">
                                  <p:stCondLst>
                                    <p:cond delay="0"/>
                                  </p:stCondLst>
                                  <p:childTnLst>
                                    <p:set>
                                      <p:cBhvr>
                                        <p:cTn id="108" dur="1" fill="hold">
                                          <p:stCondLst>
                                            <p:cond delay="0"/>
                                          </p:stCondLst>
                                        </p:cTn>
                                        <p:tgtEl>
                                          <p:spTgt spid="108"/>
                                        </p:tgtEl>
                                        <p:attrNameLst>
                                          <p:attrName>style.visibility</p:attrName>
                                        </p:attrNameLst>
                                      </p:cBhvr>
                                      <p:to>
                                        <p:strVal val="visible"/>
                                      </p:to>
                                    </p:set>
                                    <p:anim calcmode="lin" valueType="num">
                                      <p:cBhvr>
                                        <p:cTn id="109" dur="250" fill="hold"/>
                                        <p:tgtEl>
                                          <p:spTgt spid="108"/>
                                        </p:tgtEl>
                                        <p:attrNameLst>
                                          <p:attrName>ppt_w</p:attrName>
                                        </p:attrNameLst>
                                      </p:cBhvr>
                                      <p:tavLst>
                                        <p:tav tm="0">
                                          <p:val>
                                            <p:fltVal val="0"/>
                                          </p:val>
                                        </p:tav>
                                        <p:tav tm="100000">
                                          <p:val>
                                            <p:strVal val="#ppt_w"/>
                                          </p:val>
                                        </p:tav>
                                      </p:tavLst>
                                    </p:anim>
                                    <p:anim calcmode="lin" valueType="num">
                                      <p:cBhvr>
                                        <p:cTn id="110" dur="250" fill="hold"/>
                                        <p:tgtEl>
                                          <p:spTgt spid="108"/>
                                        </p:tgtEl>
                                        <p:attrNameLst>
                                          <p:attrName>ppt_h</p:attrName>
                                        </p:attrNameLst>
                                      </p:cBhvr>
                                      <p:tavLst>
                                        <p:tav tm="0">
                                          <p:val>
                                            <p:fltVal val="0"/>
                                          </p:val>
                                        </p:tav>
                                        <p:tav tm="100000">
                                          <p:val>
                                            <p:strVal val="#ppt_h"/>
                                          </p:val>
                                        </p:tav>
                                      </p:tavLst>
                                    </p:anim>
                                    <p:animEffect transition="in" filter="fade">
                                      <p:cBhvr>
                                        <p:cTn id="111" dur="250"/>
                                        <p:tgtEl>
                                          <p:spTgt spid="108"/>
                                        </p:tgtEl>
                                      </p:cBhvr>
                                    </p:animEffect>
                                  </p:childTnLst>
                                </p:cTn>
                              </p:par>
                            </p:childTnLst>
                          </p:cTn>
                        </p:par>
                        <p:par>
                          <p:cTn id="112" fill="hold">
                            <p:stCondLst>
                              <p:cond delay="3500"/>
                            </p:stCondLst>
                            <p:childTnLst>
                              <p:par>
                                <p:cTn id="113" presetID="10" presetClass="entr" presetSubtype="0" fill="hold" grpId="0" nodeType="afterEffect">
                                  <p:stCondLst>
                                    <p:cond delay="0"/>
                                  </p:stCondLst>
                                  <p:childTnLst>
                                    <p:set>
                                      <p:cBhvr>
                                        <p:cTn id="114" dur="1" fill="hold">
                                          <p:stCondLst>
                                            <p:cond delay="0"/>
                                          </p:stCondLst>
                                        </p:cTn>
                                        <p:tgtEl>
                                          <p:spTgt spid="24"/>
                                        </p:tgtEl>
                                        <p:attrNameLst>
                                          <p:attrName>style.visibility</p:attrName>
                                        </p:attrNameLst>
                                      </p:cBhvr>
                                      <p:to>
                                        <p:strVal val="visible"/>
                                      </p:to>
                                    </p:set>
                                    <p:animEffect transition="in" filter="fade">
                                      <p:cBhvr>
                                        <p:cTn id="115" dur="250"/>
                                        <p:tgtEl>
                                          <p:spTgt spid="24"/>
                                        </p:tgtEl>
                                      </p:cBhvr>
                                    </p:animEffect>
                                  </p:childTnLst>
                                </p:cTn>
                              </p:par>
                              <p:par>
                                <p:cTn id="116" presetID="42" presetClass="path" presetSubtype="0" decel="100000" fill="hold" grpId="1" nodeType="withEffect">
                                  <p:stCondLst>
                                    <p:cond delay="0"/>
                                  </p:stCondLst>
                                  <p:childTnLst>
                                    <p:animMotion origin="layout" path="M 4.16667E-7 -0.03472 L 4.16667E-7 0 " pathEditMode="relative" rAng="0" ptsTypes="AA">
                                      <p:cBhvr>
                                        <p:cTn id="117" dur="500" fill="hold"/>
                                        <p:tgtEl>
                                          <p:spTgt spid="24"/>
                                        </p:tgtEl>
                                        <p:attrNameLst>
                                          <p:attrName>ppt_x</p:attrName>
                                          <p:attrName>ppt_y</p:attrName>
                                        </p:attrNameLst>
                                      </p:cBhvr>
                                      <p:rCtr x="0" y="1736"/>
                                    </p:animMotion>
                                  </p:childTnLst>
                                </p:cTn>
                              </p:par>
                              <p:par>
                                <p:cTn id="118" presetID="10" presetClass="entr" presetSubtype="0" fill="hold" grpId="0" nodeType="withEffect">
                                  <p:stCondLst>
                                    <p:cond delay="0"/>
                                  </p:stCondLst>
                                  <p:childTnLst>
                                    <p:set>
                                      <p:cBhvr>
                                        <p:cTn id="119" dur="1" fill="hold">
                                          <p:stCondLst>
                                            <p:cond delay="0"/>
                                          </p:stCondLst>
                                        </p:cTn>
                                        <p:tgtEl>
                                          <p:spTgt spid="126"/>
                                        </p:tgtEl>
                                        <p:attrNameLst>
                                          <p:attrName>style.visibility</p:attrName>
                                        </p:attrNameLst>
                                      </p:cBhvr>
                                      <p:to>
                                        <p:strVal val="visible"/>
                                      </p:to>
                                    </p:set>
                                    <p:animEffect transition="in" filter="fade">
                                      <p:cBhvr>
                                        <p:cTn id="120" dur="250"/>
                                        <p:tgtEl>
                                          <p:spTgt spid="126"/>
                                        </p:tgtEl>
                                      </p:cBhvr>
                                    </p:animEffect>
                                  </p:childTnLst>
                                </p:cTn>
                              </p:par>
                              <p:par>
                                <p:cTn id="121" presetID="42" presetClass="path" presetSubtype="0" decel="100000" fill="hold" grpId="1" nodeType="withEffect">
                                  <p:stCondLst>
                                    <p:cond delay="0"/>
                                  </p:stCondLst>
                                  <p:childTnLst>
                                    <p:animMotion origin="layout" path="M -4.79167E-6 -0.03472 L -4.79167E-6 -4.07407E-6 " pathEditMode="relative" rAng="0" ptsTypes="AA">
                                      <p:cBhvr>
                                        <p:cTn id="122" dur="500" fill="hold"/>
                                        <p:tgtEl>
                                          <p:spTgt spid="126"/>
                                        </p:tgtEl>
                                        <p:attrNameLst>
                                          <p:attrName>ppt_x</p:attrName>
                                          <p:attrName>ppt_y</p:attrName>
                                        </p:attrNameLst>
                                      </p:cBhvr>
                                      <p:rCtr x="0" y="1736"/>
                                    </p:animMotion>
                                  </p:childTnLst>
                                </p:cTn>
                              </p:par>
                              <p:par>
                                <p:cTn id="123" presetID="10" presetClass="entr" presetSubtype="0" fill="hold" grpId="0" nodeType="withEffect">
                                  <p:stCondLst>
                                    <p:cond delay="0"/>
                                  </p:stCondLst>
                                  <p:childTnLst>
                                    <p:set>
                                      <p:cBhvr>
                                        <p:cTn id="124" dur="1" fill="hold">
                                          <p:stCondLst>
                                            <p:cond delay="0"/>
                                          </p:stCondLst>
                                        </p:cTn>
                                        <p:tgtEl>
                                          <p:spTgt spid="20"/>
                                        </p:tgtEl>
                                        <p:attrNameLst>
                                          <p:attrName>style.visibility</p:attrName>
                                        </p:attrNameLst>
                                      </p:cBhvr>
                                      <p:to>
                                        <p:strVal val="visible"/>
                                      </p:to>
                                    </p:set>
                                    <p:animEffect transition="in" filter="fade">
                                      <p:cBhvr>
                                        <p:cTn id="125" dur="250"/>
                                        <p:tgtEl>
                                          <p:spTgt spid="20"/>
                                        </p:tgtEl>
                                      </p:cBhvr>
                                    </p:animEffect>
                                  </p:childTnLst>
                                </p:cTn>
                              </p:par>
                              <p:par>
                                <p:cTn id="126" presetID="42" presetClass="path" presetSubtype="0" decel="100000" fill="hold" grpId="1" nodeType="withEffect">
                                  <p:stCondLst>
                                    <p:cond delay="0"/>
                                  </p:stCondLst>
                                  <p:childTnLst>
                                    <p:animMotion origin="layout" path="M 3.33333E-6 -0.03473 L 3.33333E-6 4.44444E-6 " pathEditMode="relative" rAng="0" ptsTypes="AA">
                                      <p:cBhvr>
                                        <p:cTn id="127" dur="500" fill="hold"/>
                                        <p:tgtEl>
                                          <p:spTgt spid="20"/>
                                        </p:tgtEl>
                                        <p:attrNameLst>
                                          <p:attrName>ppt_x</p:attrName>
                                          <p:attrName>ppt_y</p:attrName>
                                        </p:attrNameLst>
                                      </p:cBhvr>
                                      <p:rCtr x="0" y="1736"/>
                                    </p:animMotion>
                                  </p:childTnLst>
                                </p:cTn>
                              </p:par>
                              <p:par>
                                <p:cTn id="128" presetID="10" presetClass="entr" presetSubtype="0" fill="hold" grpId="0" nodeType="withEffect">
                                  <p:stCondLst>
                                    <p:cond delay="0"/>
                                  </p:stCondLst>
                                  <p:childTnLst>
                                    <p:set>
                                      <p:cBhvr>
                                        <p:cTn id="129" dur="1" fill="hold">
                                          <p:stCondLst>
                                            <p:cond delay="0"/>
                                          </p:stCondLst>
                                        </p:cTn>
                                        <p:tgtEl>
                                          <p:spTgt spid="128"/>
                                        </p:tgtEl>
                                        <p:attrNameLst>
                                          <p:attrName>style.visibility</p:attrName>
                                        </p:attrNameLst>
                                      </p:cBhvr>
                                      <p:to>
                                        <p:strVal val="visible"/>
                                      </p:to>
                                    </p:set>
                                    <p:animEffect transition="in" filter="fade">
                                      <p:cBhvr>
                                        <p:cTn id="130" dur="250"/>
                                        <p:tgtEl>
                                          <p:spTgt spid="128"/>
                                        </p:tgtEl>
                                      </p:cBhvr>
                                    </p:animEffect>
                                  </p:childTnLst>
                                </p:cTn>
                              </p:par>
                              <p:par>
                                <p:cTn id="131" presetID="42" presetClass="path" presetSubtype="0" decel="100000" fill="hold" grpId="1" nodeType="withEffect">
                                  <p:stCondLst>
                                    <p:cond delay="0"/>
                                  </p:stCondLst>
                                  <p:childTnLst>
                                    <p:animMotion origin="layout" path="M -2.70833E-6 -0.03472 L -2.70833E-6 -3.7037E-6 " pathEditMode="relative" rAng="0" ptsTypes="AA">
                                      <p:cBhvr>
                                        <p:cTn id="132" dur="500" fill="hold"/>
                                        <p:tgtEl>
                                          <p:spTgt spid="128"/>
                                        </p:tgtEl>
                                        <p:attrNameLst>
                                          <p:attrName>ppt_x</p:attrName>
                                          <p:attrName>ppt_y</p:attrName>
                                        </p:attrNameLst>
                                      </p:cBhvr>
                                      <p:rCtr x="0" y="1736"/>
                                    </p:animMotion>
                                  </p:childTnLst>
                                </p:cTn>
                              </p:par>
                              <p:par>
                                <p:cTn id="133" presetID="10" presetClass="entr" presetSubtype="0" fill="hold" nodeType="withEffect">
                                  <p:stCondLst>
                                    <p:cond delay="0"/>
                                  </p:stCondLst>
                                  <p:childTnLst>
                                    <p:set>
                                      <p:cBhvr>
                                        <p:cTn id="134" dur="1" fill="hold">
                                          <p:stCondLst>
                                            <p:cond delay="0"/>
                                          </p:stCondLst>
                                        </p:cTn>
                                        <p:tgtEl>
                                          <p:spTgt spid="134"/>
                                        </p:tgtEl>
                                        <p:attrNameLst>
                                          <p:attrName>style.visibility</p:attrName>
                                        </p:attrNameLst>
                                      </p:cBhvr>
                                      <p:to>
                                        <p:strVal val="visible"/>
                                      </p:to>
                                    </p:set>
                                    <p:animEffect transition="in" filter="fade">
                                      <p:cBhvr>
                                        <p:cTn id="135" dur="250"/>
                                        <p:tgtEl>
                                          <p:spTgt spid="134"/>
                                        </p:tgtEl>
                                      </p:cBhvr>
                                    </p:animEffect>
                                  </p:childTnLst>
                                </p:cTn>
                              </p:par>
                              <p:par>
                                <p:cTn id="136" presetID="42" presetClass="path" presetSubtype="0" decel="100000" fill="hold" nodeType="withEffect">
                                  <p:stCondLst>
                                    <p:cond delay="0"/>
                                  </p:stCondLst>
                                  <p:childTnLst>
                                    <p:animMotion origin="layout" path="M 4.16667E-7 -0.03473 L 4.16667E-7 3.33333E-6 " pathEditMode="relative" rAng="0" ptsTypes="AA">
                                      <p:cBhvr>
                                        <p:cTn id="137" dur="500" fill="hold"/>
                                        <p:tgtEl>
                                          <p:spTgt spid="134"/>
                                        </p:tgtEl>
                                        <p:attrNameLst>
                                          <p:attrName>ppt_x</p:attrName>
                                          <p:attrName>ppt_y</p:attrName>
                                        </p:attrNameLst>
                                      </p:cBhvr>
                                      <p:rCtr x="0" y="1736"/>
                                    </p:animMotion>
                                  </p:childTnLst>
                                </p:cTn>
                              </p:par>
                              <p:par>
                                <p:cTn id="138" presetID="10" presetClass="entr" presetSubtype="0" fill="hold" nodeType="withEffect">
                                  <p:stCondLst>
                                    <p:cond delay="0"/>
                                  </p:stCondLst>
                                  <p:childTnLst>
                                    <p:set>
                                      <p:cBhvr>
                                        <p:cTn id="139" dur="1" fill="hold">
                                          <p:stCondLst>
                                            <p:cond delay="0"/>
                                          </p:stCondLst>
                                        </p:cTn>
                                        <p:tgtEl>
                                          <p:spTgt spid="133"/>
                                        </p:tgtEl>
                                        <p:attrNameLst>
                                          <p:attrName>style.visibility</p:attrName>
                                        </p:attrNameLst>
                                      </p:cBhvr>
                                      <p:to>
                                        <p:strVal val="visible"/>
                                      </p:to>
                                    </p:set>
                                    <p:animEffect transition="in" filter="fade">
                                      <p:cBhvr>
                                        <p:cTn id="140" dur="250"/>
                                        <p:tgtEl>
                                          <p:spTgt spid="133"/>
                                        </p:tgtEl>
                                      </p:cBhvr>
                                    </p:animEffect>
                                  </p:childTnLst>
                                </p:cTn>
                              </p:par>
                              <p:par>
                                <p:cTn id="141" presetID="42" presetClass="path" presetSubtype="0" decel="100000" fill="hold" nodeType="withEffect">
                                  <p:stCondLst>
                                    <p:cond delay="0"/>
                                  </p:stCondLst>
                                  <p:childTnLst>
                                    <p:animMotion origin="layout" path="M -4.79167E-6 -0.03472 L -4.79167E-6 -4.07407E-6 " pathEditMode="relative" rAng="0" ptsTypes="AA">
                                      <p:cBhvr>
                                        <p:cTn id="142" dur="500" fill="hold"/>
                                        <p:tgtEl>
                                          <p:spTgt spid="13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0" grpId="0" animBg="1"/>
      <p:bldP spid="20" grpId="1" animBg="1"/>
      <p:bldP spid="30" grpId="0" animBg="1"/>
      <p:bldP spid="85" grpId="0" animBg="1"/>
      <p:bldP spid="87" grpId="0" animBg="1"/>
      <p:bldP spid="16" grpId="0" animBg="1"/>
      <p:bldP spid="17" grpId="0" animBg="1"/>
      <p:bldP spid="18" grpId="0" animBg="1"/>
      <p:bldP spid="19" grpId="0" animBg="1"/>
      <p:bldP spid="22" grpId="0" animBg="1"/>
      <p:bldP spid="126" grpId="0" animBg="1"/>
      <p:bldP spid="126" grpId="1" animBg="1"/>
      <p:bldP spid="128" grpId="0"/>
      <p:bldP spid="128"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0DC4C-5E8B-C0C6-823A-059E2E5B6546}"/>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F9A170E0-112C-83E5-C461-BCEDF0111234}"/>
              </a:ext>
            </a:extLst>
          </p:cNvPr>
          <p:cNvSpPr>
            <a:spLocks noGrp="1"/>
          </p:cNvSpPr>
          <p:nvPr>
            <p:ph type="title"/>
          </p:nvPr>
        </p:nvSpPr>
        <p:spPr/>
        <p:txBody>
          <a:bodyPr/>
          <a:lstStyle/>
          <a:p>
            <a:pPr algn="ctr"/>
            <a:r>
              <a:rPr lang="en-US"/>
              <a:t>Copilot Control System</a:t>
            </a:r>
          </a:p>
        </p:txBody>
      </p:sp>
      <p:sp>
        <p:nvSpPr>
          <p:cNvPr id="16" name="TextBox 15">
            <a:extLst>
              <a:ext uri="{FF2B5EF4-FFF2-40B4-BE49-F238E27FC236}">
                <a16:creationId xmlns:a16="http://schemas.microsoft.com/office/drawing/2014/main" id="{ABEA18F6-A75B-63C7-948A-0E6721CB7CD1}"/>
              </a:ext>
            </a:extLst>
          </p:cNvPr>
          <p:cNvSpPr txBox="1"/>
          <p:nvPr/>
        </p:nvSpPr>
        <p:spPr>
          <a:xfrm>
            <a:off x="584200" y="1117121"/>
            <a:ext cx="11018520" cy="288037"/>
          </a:xfrm>
          <a:prstGeom prst="rect">
            <a:avLst/>
          </a:prstGeom>
          <a:noFill/>
        </p:spPr>
        <p:txBody>
          <a:bodyPr wrap="square" lIns="0" tIns="0" rIns="0" bIns="0">
            <a:noAutofit/>
          </a:body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3175">
                  <a:noFill/>
                </a:ln>
                <a:solidFill>
                  <a:srgbClr val="000000"/>
                </a:solidFill>
                <a:effectLst/>
                <a:uLnTx/>
                <a:uFillTx/>
                <a:latin typeface="Segoe UI Semibold"/>
                <a:ea typeface="+mn-ea"/>
                <a:cs typeface="Segoe UI" pitchFamily="34" charset="0"/>
              </a:rPr>
              <a:t>Equipping IT to lead AI transformation</a:t>
            </a:r>
          </a:p>
        </p:txBody>
      </p:sp>
      <p:sp>
        <p:nvSpPr>
          <p:cNvPr id="15" name="Round Same Side Corner Rectangle 17">
            <a:extLst>
              <a:ext uri="{FF2B5EF4-FFF2-40B4-BE49-F238E27FC236}">
                <a16:creationId xmlns:a16="http://schemas.microsoft.com/office/drawing/2014/main" id="{9CCEB578-B0DA-D271-AA13-3E10EB392789}"/>
              </a:ext>
            </a:extLst>
          </p:cNvPr>
          <p:cNvSpPr>
            <a:spLocks/>
          </p:cNvSpPr>
          <p:nvPr/>
        </p:nvSpPr>
        <p:spPr bwMode="auto">
          <a:xfrm rot="10800000" flipH="1" flipV="1">
            <a:off x="715594" y="1458698"/>
            <a:ext cx="10760809" cy="713422"/>
          </a:xfrm>
          <a:prstGeom prst="roundRect">
            <a:avLst>
              <a:gd name="adj" fmla="val 21865"/>
            </a:avLst>
          </a:prstGeom>
          <a:gradFill flip="none" rotWithShape="1">
            <a:gsLst>
              <a:gs pos="0">
                <a:srgbClr val="F65567"/>
              </a:gs>
              <a:gs pos="32000">
                <a:srgbClr val="AC35AF"/>
              </a:gs>
              <a:gs pos="68000">
                <a:srgbClr val="0A6BBA"/>
              </a:gs>
              <a:gs pos="100000">
                <a:srgbClr val="318581"/>
              </a:gs>
            </a:gsLst>
            <a:path path="circle">
              <a:fillToRect l="100000" t="100000"/>
            </a:path>
            <a:tileRect r="-100000" b="-100000"/>
          </a:gradFill>
        </p:spPr>
        <p:txBody>
          <a:bodyPr wrap="none" lIns="146957" tIns="144000" rIns="146957" bIns="144000" rtlCol="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2275850" rtl="0" eaLnBrk="1" fontAlgn="base" latinLnBrk="0" hangingPunct="1">
              <a:lnSpc>
                <a:spcPct val="100000"/>
              </a:lnSpc>
              <a:spcBef>
                <a:spcPct val="0"/>
              </a:spcBef>
              <a:spcAft>
                <a:spcPct val="0"/>
              </a:spcAft>
              <a:buClrTx/>
              <a:buSzTx/>
              <a:buFontTx/>
              <a:buNone/>
              <a:tabLst>
                <a:tab pos="3701239" algn="l"/>
              </a:tabLst>
              <a:defRPr/>
            </a:pP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The Copilot Control System is designed to enable IT confidently adopt </a:t>
            </a:r>
            <a:b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and accelerate the business value of Copilot and agents. This </a:t>
            </a:r>
            <a:r>
              <a:rPr kumimoji="0" lang="en-US" sz="1600" b="1" i="0" u="none" strike="noStrike" kern="1200" cap="none" spc="0" normalizeH="0" baseline="0" noProof="0">
                <a:ln w="3175">
                  <a:noFill/>
                </a:ln>
                <a:gradFill>
                  <a:gsLst>
                    <a:gs pos="53147">
                      <a:srgbClr val="FFFFFF"/>
                    </a:gs>
                    <a:gs pos="28000">
                      <a:srgbClr val="FFFFFF"/>
                    </a:gs>
                  </a:gsLst>
                  <a:path path="circle">
                    <a:fillToRect l="100000" b="100000"/>
                  </a:path>
                </a:gradFill>
                <a:effectLst/>
                <a:uLnTx/>
                <a:uFillTx/>
                <a:latin typeface="Segoe UI Semibold"/>
                <a:ea typeface="+mn-ea"/>
                <a:cs typeface="Segoe UI" pitchFamily="34" charset="0"/>
              </a:rPr>
              <a:t>includesc</a:t>
            </a:r>
          </a:p>
        </p:txBody>
      </p:sp>
      <p:sp>
        <p:nvSpPr>
          <p:cNvPr id="3" name="Rectangle: Rounded Corners 43">
            <a:extLst>
              <a:ext uri="{FF2B5EF4-FFF2-40B4-BE49-F238E27FC236}">
                <a16:creationId xmlns:a16="http://schemas.microsoft.com/office/drawing/2014/main" id="{83E5FE84-3B2A-0811-4FE5-FD5A782E2C9C}"/>
              </a:ext>
              <a:ext uri="{C183D7F6-B498-43B3-948B-1728B52AA6E4}">
                <adec:decorative xmlns:adec="http://schemas.microsoft.com/office/drawing/2017/decorative" val="1"/>
              </a:ext>
            </a:extLst>
          </p:cNvPr>
          <p:cNvSpPr>
            <a:spLocks/>
          </p:cNvSpPr>
          <p:nvPr/>
        </p:nvSpPr>
        <p:spPr bwMode="auto">
          <a:xfrm>
            <a:off x="715595" y="2242507"/>
            <a:ext cx="3501033" cy="3927065"/>
          </a:xfrm>
          <a:prstGeom prst="roundRect">
            <a:avLst>
              <a:gd name="adj" fmla="val 5000"/>
            </a:avLst>
          </a:prstGeom>
          <a:ln w="12700" cap="rnd">
            <a:solidFill>
              <a:srgbClr val="3A4953"/>
            </a:solidFill>
            <a:headEnd type="none" w="lg" len="med"/>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noFill/>
              <a:effectLst/>
              <a:uLnTx/>
              <a:uFillTx/>
              <a:latin typeface="Segoe UI Semibold" panose="020B0502040204020203" pitchFamily="34" charset="0"/>
              <a:ea typeface="+mn-ea"/>
              <a:cs typeface="+mn-cs"/>
            </a:endParaRPr>
          </a:p>
        </p:txBody>
      </p:sp>
      <p:sp>
        <p:nvSpPr>
          <p:cNvPr id="28" name="Freeform: Shape 33">
            <a:extLst>
              <a:ext uri="{FF2B5EF4-FFF2-40B4-BE49-F238E27FC236}">
                <a16:creationId xmlns:a16="http://schemas.microsoft.com/office/drawing/2014/main" id="{F753E15F-0A4E-52F5-5CFE-45588058663B}"/>
              </a:ext>
              <a:ext uri="{C183D7F6-B498-43B3-948B-1728B52AA6E4}">
                <adec:decorative xmlns:adec="http://schemas.microsoft.com/office/drawing/2017/decorative" val="1"/>
              </a:ext>
            </a:extLst>
          </p:cNvPr>
          <p:cNvSpPr>
            <a:spLocks/>
          </p:cNvSpPr>
          <p:nvPr/>
        </p:nvSpPr>
        <p:spPr bwMode="auto">
          <a:xfrm>
            <a:off x="2189355" y="2445428"/>
            <a:ext cx="553512" cy="5535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gradFill flip="none" rotWithShape="1">
            <a:gsLst>
              <a:gs pos="0">
                <a:srgbClr val="0A6BBA"/>
              </a:gs>
              <a:gs pos="79000">
                <a:srgbClr val="318581"/>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9" name="Graphic 65">
            <a:extLst>
              <a:ext uri="{FF2B5EF4-FFF2-40B4-BE49-F238E27FC236}">
                <a16:creationId xmlns:a16="http://schemas.microsoft.com/office/drawing/2014/main" id="{A629F699-CEF3-1767-79D2-058B8DE92DB7}"/>
              </a:ext>
              <a:ext uri="{C183D7F6-B498-43B3-948B-1728B52AA6E4}">
                <adec:decorative xmlns:adec="http://schemas.microsoft.com/office/drawing/2017/decorative" val="1"/>
              </a:ext>
            </a:extLst>
          </p:cNvPr>
          <p:cNvSpPr/>
          <p:nvPr/>
        </p:nvSpPr>
        <p:spPr>
          <a:xfrm>
            <a:off x="2361516" y="2617540"/>
            <a:ext cx="209190" cy="209188"/>
          </a:xfrm>
          <a:custGeom>
            <a:avLst/>
            <a:gdLst>
              <a:gd name="connsiteX0" fmla="*/ 249767 w 294807"/>
              <a:gd name="connsiteY0" fmla="*/ 0 h 294806"/>
              <a:gd name="connsiteX1" fmla="*/ 294807 w 294807"/>
              <a:gd name="connsiteY1" fmla="*/ 45040 h 294806"/>
              <a:gd name="connsiteX2" fmla="*/ 294807 w 294807"/>
              <a:gd name="connsiteY2" fmla="*/ 249767 h 294806"/>
              <a:gd name="connsiteX3" fmla="*/ 249767 w 294807"/>
              <a:gd name="connsiteY3" fmla="*/ 294807 h 294806"/>
              <a:gd name="connsiteX4" fmla="*/ 45040 w 294807"/>
              <a:gd name="connsiteY4" fmla="*/ 294807 h 294806"/>
              <a:gd name="connsiteX5" fmla="*/ 0 w 294807"/>
              <a:gd name="connsiteY5" fmla="*/ 249767 h 294806"/>
              <a:gd name="connsiteX6" fmla="*/ 0 w 294807"/>
              <a:gd name="connsiteY6" fmla="*/ 45040 h 294806"/>
              <a:gd name="connsiteX7" fmla="*/ 45040 w 294807"/>
              <a:gd name="connsiteY7" fmla="*/ 0 h 294806"/>
              <a:gd name="connsiteX8" fmla="*/ 249767 w 294807"/>
              <a:gd name="connsiteY8" fmla="*/ 0 h 294806"/>
              <a:gd name="connsiteX9" fmla="*/ 77796 w 294807"/>
              <a:gd name="connsiteY9" fmla="*/ 98318 h 294806"/>
              <a:gd name="connsiteX10" fmla="*/ 65513 w 294807"/>
              <a:gd name="connsiteY10" fmla="*/ 110536 h 294806"/>
              <a:gd name="connsiteX11" fmla="*/ 65513 w 294807"/>
              <a:gd name="connsiteY11" fmla="*/ 110553 h 294806"/>
              <a:gd name="connsiteX12" fmla="*/ 65513 w 294807"/>
              <a:gd name="connsiteY12" fmla="*/ 217125 h 294806"/>
              <a:gd name="connsiteX13" fmla="*/ 77796 w 294807"/>
              <a:gd name="connsiteY13" fmla="*/ 229343 h 294806"/>
              <a:gd name="connsiteX14" fmla="*/ 90080 w 294807"/>
              <a:gd name="connsiteY14" fmla="*/ 217125 h 294806"/>
              <a:gd name="connsiteX15" fmla="*/ 90080 w 294807"/>
              <a:gd name="connsiteY15" fmla="*/ 110553 h 294806"/>
              <a:gd name="connsiteX16" fmla="*/ 77813 w 294807"/>
              <a:gd name="connsiteY16" fmla="*/ 98318 h 294806"/>
              <a:gd name="connsiteX17" fmla="*/ 77796 w 294807"/>
              <a:gd name="connsiteY17" fmla="*/ 98318 h 294806"/>
              <a:gd name="connsiteX18" fmla="*/ 217011 w 294807"/>
              <a:gd name="connsiteY18" fmla="*/ 65562 h 294806"/>
              <a:gd name="connsiteX19" fmla="*/ 204727 w 294807"/>
              <a:gd name="connsiteY19" fmla="*/ 77516 h 294806"/>
              <a:gd name="connsiteX20" fmla="*/ 204727 w 294807"/>
              <a:gd name="connsiteY20" fmla="*/ 77518 h 294806"/>
              <a:gd name="connsiteX21" fmla="*/ 204727 w 294807"/>
              <a:gd name="connsiteY21" fmla="*/ 217404 h 294806"/>
              <a:gd name="connsiteX22" fmla="*/ 217011 w 294807"/>
              <a:gd name="connsiteY22" fmla="*/ 229360 h 294806"/>
              <a:gd name="connsiteX23" fmla="*/ 229294 w 294807"/>
              <a:gd name="connsiteY23" fmla="*/ 217405 h 294806"/>
              <a:gd name="connsiteX24" fmla="*/ 229294 w 294807"/>
              <a:gd name="connsiteY24" fmla="*/ 217404 h 294806"/>
              <a:gd name="connsiteX25" fmla="*/ 229294 w 294807"/>
              <a:gd name="connsiteY25" fmla="*/ 77518 h 294806"/>
              <a:gd name="connsiteX26" fmla="*/ 217012 w 294807"/>
              <a:gd name="connsiteY26" fmla="*/ 65562 h 294806"/>
              <a:gd name="connsiteX27" fmla="*/ 217011 w 294807"/>
              <a:gd name="connsiteY27" fmla="*/ 65562 h 294806"/>
              <a:gd name="connsiteX28" fmla="*/ 146994 w 294807"/>
              <a:gd name="connsiteY28" fmla="*/ 147404 h 294806"/>
              <a:gd name="connsiteX29" fmla="*/ 135120 w 294807"/>
              <a:gd name="connsiteY29" fmla="*/ 159425 h 294806"/>
              <a:gd name="connsiteX30" fmla="*/ 135693 w 294807"/>
              <a:gd name="connsiteY30" fmla="*/ 217518 h 294806"/>
              <a:gd name="connsiteX31" fmla="*/ 147811 w 294807"/>
              <a:gd name="connsiteY31" fmla="*/ 229311 h 294806"/>
              <a:gd name="connsiteX32" fmla="*/ 147813 w 294807"/>
              <a:gd name="connsiteY32" fmla="*/ 229311 h 294806"/>
              <a:gd name="connsiteX33" fmla="*/ 159687 w 294807"/>
              <a:gd name="connsiteY33" fmla="*/ 217289 h 294806"/>
              <a:gd name="connsiteX34" fmla="*/ 159114 w 294807"/>
              <a:gd name="connsiteY34" fmla="*/ 159179 h 294806"/>
              <a:gd name="connsiteX35" fmla="*/ 146994 w 294807"/>
              <a:gd name="connsiteY35" fmla="*/ 147404 h 29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4807" h="294806">
                <a:moveTo>
                  <a:pt x="249767" y="0"/>
                </a:moveTo>
                <a:cubicBezTo>
                  <a:pt x="274642" y="0"/>
                  <a:pt x="294807" y="20165"/>
                  <a:pt x="294807" y="45040"/>
                </a:cubicBezTo>
                <a:lnTo>
                  <a:pt x="294807" y="249767"/>
                </a:lnTo>
                <a:cubicBezTo>
                  <a:pt x="294807" y="274642"/>
                  <a:pt x="274642" y="294807"/>
                  <a:pt x="249767" y="294807"/>
                </a:cubicBezTo>
                <a:lnTo>
                  <a:pt x="45040" y="294807"/>
                </a:lnTo>
                <a:cubicBezTo>
                  <a:pt x="20165" y="294807"/>
                  <a:pt x="0" y="274642"/>
                  <a:pt x="0" y="249767"/>
                </a:cubicBezTo>
                <a:lnTo>
                  <a:pt x="0" y="45040"/>
                </a:lnTo>
                <a:cubicBezTo>
                  <a:pt x="0" y="20165"/>
                  <a:pt x="20165" y="0"/>
                  <a:pt x="45040" y="0"/>
                </a:cubicBezTo>
                <a:lnTo>
                  <a:pt x="249767" y="0"/>
                </a:lnTo>
                <a:close/>
                <a:moveTo>
                  <a:pt x="77796" y="98318"/>
                </a:moveTo>
                <a:cubicBezTo>
                  <a:pt x="71030" y="98300"/>
                  <a:pt x="65531" y="103770"/>
                  <a:pt x="65513" y="110536"/>
                </a:cubicBezTo>
                <a:cubicBezTo>
                  <a:pt x="65513" y="110542"/>
                  <a:pt x="65513" y="110547"/>
                  <a:pt x="65513" y="110553"/>
                </a:cubicBezTo>
                <a:lnTo>
                  <a:pt x="65513" y="217125"/>
                </a:lnTo>
                <a:cubicBezTo>
                  <a:pt x="65513" y="223873"/>
                  <a:pt x="71016" y="229343"/>
                  <a:pt x="77796" y="229343"/>
                </a:cubicBezTo>
                <a:cubicBezTo>
                  <a:pt x="84577" y="229343"/>
                  <a:pt x="90080" y="223873"/>
                  <a:pt x="90080" y="217125"/>
                </a:cubicBezTo>
                <a:lnTo>
                  <a:pt x="90080" y="110553"/>
                </a:lnTo>
                <a:cubicBezTo>
                  <a:pt x="90071" y="103787"/>
                  <a:pt x="84579" y="98309"/>
                  <a:pt x="77813" y="98318"/>
                </a:cubicBezTo>
                <a:cubicBezTo>
                  <a:pt x="77807" y="98318"/>
                  <a:pt x="77802" y="98318"/>
                  <a:pt x="77796" y="98318"/>
                </a:cubicBezTo>
                <a:close/>
                <a:moveTo>
                  <a:pt x="217011" y="65562"/>
                </a:moveTo>
                <a:cubicBezTo>
                  <a:pt x="210317" y="65471"/>
                  <a:pt x="204819" y="70823"/>
                  <a:pt x="204727" y="77516"/>
                </a:cubicBezTo>
                <a:cubicBezTo>
                  <a:pt x="204727" y="77516"/>
                  <a:pt x="204727" y="77517"/>
                  <a:pt x="204727" y="77518"/>
                </a:cubicBezTo>
                <a:lnTo>
                  <a:pt x="204727" y="217404"/>
                </a:lnTo>
                <a:cubicBezTo>
                  <a:pt x="204727" y="224004"/>
                  <a:pt x="210230" y="229360"/>
                  <a:pt x="217011" y="229360"/>
                </a:cubicBezTo>
                <a:cubicBezTo>
                  <a:pt x="223704" y="229452"/>
                  <a:pt x="229203" y="224099"/>
                  <a:pt x="229294" y="217405"/>
                </a:cubicBezTo>
                <a:cubicBezTo>
                  <a:pt x="229294" y="217405"/>
                  <a:pt x="229294" y="217404"/>
                  <a:pt x="229294" y="217404"/>
                </a:cubicBezTo>
                <a:lnTo>
                  <a:pt x="229294" y="77518"/>
                </a:lnTo>
                <a:cubicBezTo>
                  <a:pt x="229204" y="70825"/>
                  <a:pt x="223706" y="65472"/>
                  <a:pt x="217012" y="65562"/>
                </a:cubicBezTo>
                <a:cubicBezTo>
                  <a:pt x="217012" y="65562"/>
                  <a:pt x="217011" y="65562"/>
                  <a:pt x="217011" y="65562"/>
                </a:cubicBezTo>
                <a:close/>
                <a:moveTo>
                  <a:pt x="146994" y="147404"/>
                </a:moveTo>
                <a:cubicBezTo>
                  <a:pt x="140397" y="147449"/>
                  <a:pt x="135084" y="152828"/>
                  <a:pt x="135120" y="159425"/>
                </a:cubicBezTo>
                <a:lnTo>
                  <a:pt x="135693" y="217518"/>
                </a:lnTo>
                <a:cubicBezTo>
                  <a:pt x="135783" y="224120"/>
                  <a:pt x="141208" y="229401"/>
                  <a:pt x="147811" y="229311"/>
                </a:cubicBezTo>
                <a:cubicBezTo>
                  <a:pt x="147811" y="229311"/>
                  <a:pt x="147813" y="229311"/>
                  <a:pt x="147813" y="229311"/>
                </a:cubicBezTo>
                <a:cubicBezTo>
                  <a:pt x="154410" y="229265"/>
                  <a:pt x="159723" y="223886"/>
                  <a:pt x="159687" y="217289"/>
                </a:cubicBezTo>
                <a:lnTo>
                  <a:pt x="159114" y="159179"/>
                </a:lnTo>
                <a:cubicBezTo>
                  <a:pt x="159016" y="152582"/>
                  <a:pt x="153591" y="147312"/>
                  <a:pt x="146994" y="147404"/>
                </a:cubicBezTo>
                <a:close/>
              </a:path>
            </a:pathLst>
          </a:custGeom>
          <a:solidFill>
            <a:schemeClr val="bg1"/>
          </a:solidFill>
          <a:ln w="6350" cap="flat" cmpd="sng" algn="ctr">
            <a:noFill/>
            <a:prstDash val="solid"/>
            <a:miter lim="800000"/>
            <a:headEnd type="none" w="med" len="med"/>
            <a:tailEnd type="none" w="med" len="med"/>
          </a:ln>
          <a:effectLst>
            <a:outerShdw blurRad="63500" dist="63500" dir="2700000" algn="ctr" rotWithShape="0">
              <a:srgbClr val="454142">
                <a:alpha val="20000"/>
              </a:srgbClr>
            </a:outerShdw>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12" name="TextBox 11">
            <a:extLst>
              <a:ext uri="{FF2B5EF4-FFF2-40B4-BE49-F238E27FC236}">
                <a16:creationId xmlns:a16="http://schemas.microsoft.com/office/drawing/2014/main" id="{0938665F-599F-B624-C32F-7DD37131442C}"/>
              </a:ext>
            </a:extLst>
          </p:cNvPr>
          <p:cNvSpPr txBox="1">
            <a:spLocks noChangeAspect="1"/>
          </p:cNvSpPr>
          <p:nvPr/>
        </p:nvSpPr>
        <p:spPr>
          <a:xfrm>
            <a:off x="957075" y="3152301"/>
            <a:ext cx="3018072" cy="307777"/>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anchor="t">
            <a:spAutoFit/>
          </a:body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2000" b="1" i="0" u="none" strike="noStrike" kern="1200" cap="none" spc="0" normalizeH="0" baseline="0" noProof="0">
                <a:ln w="3175">
                  <a:noFill/>
                </a:ln>
                <a:gradFill flip="none" rotWithShape="1">
                  <a:gsLst>
                    <a:gs pos="80000">
                      <a:srgbClr val="318581"/>
                    </a:gs>
                    <a:gs pos="0">
                      <a:srgbClr val="0A6BBA"/>
                    </a:gs>
                  </a:gsLst>
                  <a:path path="circle">
                    <a:fillToRect l="100000" t="100000"/>
                  </a:path>
                  <a:tileRect r="-100000" b="-100000"/>
                </a:gradFill>
                <a:effectLst/>
                <a:uLnTx/>
                <a:uFillTx/>
                <a:latin typeface="Segoe UI Semibold"/>
                <a:ea typeface="+mn-ea"/>
                <a:cs typeface="Segoe UI" pitchFamily="34" charset="0"/>
              </a:rPr>
              <a:t>Data Protection</a:t>
            </a:r>
          </a:p>
        </p:txBody>
      </p:sp>
      <p:sp>
        <p:nvSpPr>
          <p:cNvPr id="18" name="Rectangle 17">
            <a:extLst>
              <a:ext uri="{FF2B5EF4-FFF2-40B4-BE49-F238E27FC236}">
                <a16:creationId xmlns:a16="http://schemas.microsoft.com/office/drawing/2014/main" id="{EB6D79E7-0086-5B75-C1F4-57326DB7F440}"/>
              </a:ext>
            </a:extLst>
          </p:cNvPr>
          <p:cNvSpPr>
            <a:spLocks noChangeAspect="1"/>
          </p:cNvSpPr>
          <p:nvPr/>
        </p:nvSpPr>
        <p:spPr bwMode="auto">
          <a:xfrm>
            <a:off x="959312" y="3637829"/>
            <a:ext cx="3013598"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dentify and</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mitigate oversharing</a:t>
            </a:r>
          </a:p>
        </p:txBody>
      </p:sp>
      <p:sp>
        <p:nvSpPr>
          <p:cNvPr id="24" name="Rectangle 23">
            <a:extLst>
              <a:ext uri="{FF2B5EF4-FFF2-40B4-BE49-F238E27FC236}">
                <a16:creationId xmlns:a16="http://schemas.microsoft.com/office/drawing/2014/main" id="{667F6DE4-24DE-3C53-A6C8-860792D53BFA}"/>
              </a:ext>
            </a:extLst>
          </p:cNvPr>
          <p:cNvSpPr>
            <a:spLocks noChangeAspect="1"/>
          </p:cNvSpPr>
          <p:nvPr/>
        </p:nvSpPr>
        <p:spPr bwMode="auto">
          <a:xfrm>
            <a:off x="959312" y="4473591"/>
            <a:ext cx="3013598"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Intelligent grounding respects</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your permissions and security controls </a:t>
            </a:r>
          </a:p>
        </p:txBody>
      </p:sp>
      <p:sp>
        <p:nvSpPr>
          <p:cNvPr id="21" name="Rectangle 20">
            <a:extLst>
              <a:ext uri="{FF2B5EF4-FFF2-40B4-BE49-F238E27FC236}">
                <a16:creationId xmlns:a16="http://schemas.microsoft.com/office/drawing/2014/main" id="{9DEDC349-3830-7FB7-B427-6FAF407C71E5}"/>
              </a:ext>
              <a:ext uri="{C183D7F6-B498-43B3-948B-1728B52AA6E4}">
                <adec:decorative xmlns:adec="http://schemas.microsoft.com/office/drawing/2017/decorative" val="0"/>
              </a:ext>
            </a:extLst>
          </p:cNvPr>
          <p:cNvSpPr>
            <a:spLocks noChangeAspect="1"/>
          </p:cNvSpPr>
          <p:nvPr/>
        </p:nvSpPr>
        <p:spPr bwMode="auto">
          <a:xfrm>
            <a:off x="959312" y="5420134"/>
            <a:ext cx="3013598"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RAI checks for every prompt</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protect from AI risks</a:t>
            </a:r>
          </a:p>
        </p:txBody>
      </p:sp>
      <p:sp>
        <p:nvSpPr>
          <p:cNvPr id="56" name="Freeform: Shape 33">
            <a:extLst>
              <a:ext uri="{FF2B5EF4-FFF2-40B4-BE49-F238E27FC236}">
                <a16:creationId xmlns:a16="http://schemas.microsoft.com/office/drawing/2014/main" id="{6E0A8CF7-5770-52AE-F074-A7888D2A2F50}"/>
              </a:ext>
              <a:ext uri="{C183D7F6-B498-43B3-948B-1728B52AA6E4}">
                <adec:decorative xmlns:adec="http://schemas.microsoft.com/office/drawing/2017/decorative" val="1"/>
              </a:ext>
            </a:extLst>
          </p:cNvPr>
          <p:cNvSpPr>
            <a:spLocks/>
          </p:cNvSpPr>
          <p:nvPr/>
        </p:nvSpPr>
        <p:spPr bwMode="auto">
          <a:xfrm>
            <a:off x="5819244" y="2453656"/>
            <a:ext cx="553512" cy="5535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gradFill flip="none" rotWithShape="1">
            <a:gsLst>
              <a:gs pos="0">
                <a:srgbClr val="AC35AF"/>
              </a:gs>
              <a:gs pos="80000">
                <a:srgbClr val="0A6BBA"/>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57" name="Graphic 69">
            <a:extLst>
              <a:ext uri="{FF2B5EF4-FFF2-40B4-BE49-F238E27FC236}">
                <a16:creationId xmlns:a16="http://schemas.microsoft.com/office/drawing/2014/main" id="{A939006D-7153-B888-BB04-C23FAE1A8AE2}"/>
              </a:ext>
              <a:ext uri="{C183D7F6-B498-43B3-948B-1728B52AA6E4}">
                <adec:decorative xmlns:adec="http://schemas.microsoft.com/office/drawing/2017/decorative" val="1"/>
              </a:ext>
            </a:extLst>
          </p:cNvPr>
          <p:cNvSpPr/>
          <p:nvPr/>
        </p:nvSpPr>
        <p:spPr>
          <a:xfrm>
            <a:off x="5999374" y="2631102"/>
            <a:ext cx="209190" cy="209188"/>
          </a:xfrm>
          <a:custGeom>
            <a:avLst/>
            <a:gdLst>
              <a:gd name="connsiteX0" fmla="*/ 232137 w 404766"/>
              <a:gd name="connsiteY0" fmla="*/ 59861 h 402521"/>
              <a:gd name="connsiteX1" fmla="*/ 330549 w 404766"/>
              <a:gd name="connsiteY1" fmla="*/ 158253 h 402521"/>
              <a:gd name="connsiteX2" fmla="*/ 311842 w 404766"/>
              <a:gd name="connsiteY2" fmla="*/ 176959 h 402521"/>
              <a:gd name="connsiteX3" fmla="*/ 175416 w 404766"/>
              <a:gd name="connsiteY3" fmla="*/ 292449 h 402521"/>
              <a:gd name="connsiteX4" fmla="*/ 175416 w 404766"/>
              <a:gd name="connsiteY4" fmla="*/ 313386 h 402521"/>
              <a:gd name="connsiteX5" fmla="*/ 137303 w 404766"/>
              <a:gd name="connsiteY5" fmla="*/ 351498 h 402521"/>
              <a:gd name="connsiteX6" fmla="*/ 117858 w 404766"/>
              <a:gd name="connsiteY6" fmla="*/ 362776 h 402521"/>
              <a:gd name="connsiteX7" fmla="*/ 18397 w 404766"/>
              <a:gd name="connsiteY7" fmla="*/ 389902 h 402521"/>
              <a:gd name="connsiteX8" fmla="*/ 507 w 404766"/>
              <a:gd name="connsiteY8" fmla="*/ 379639 h 402521"/>
              <a:gd name="connsiteX9" fmla="*/ 507 w 404766"/>
              <a:gd name="connsiteY9" fmla="*/ 372013 h 402521"/>
              <a:gd name="connsiteX10" fmla="*/ 27614 w 404766"/>
              <a:gd name="connsiteY10" fmla="*/ 272532 h 402521"/>
              <a:gd name="connsiteX11" fmla="*/ 38892 w 404766"/>
              <a:gd name="connsiteY11" fmla="*/ 253086 h 402521"/>
              <a:gd name="connsiteX12" fmla="*/ 232137 w 404766"/>
              <a:gd name="connsiteY12" fmla="*/ 59861 h 402521"/>
              <a:gd name="connsiteX13" fmla="*/ 370022 w 404766"/>
              <a:gd name="connsiteY13" fmla="*/ 20387 h 402521"/>
              <a:gd name="connsiteX14" fmla="*/ 370022 w 404766"/>
              <a:gd name="connsiteY14" fmla="*/ 118779 h 402521"/>
              <a:gd name="connsiteX15" fmla="*/ 351160 w 404766"/>
              <a:gd name="connsiteY15" fmla="*/ 137641 h 402521"/>
              <a:gd name="connsiteX16" fmla="*/ 252749 w 404766"/>
              <a:gd name="connsiteY16" fmla="*/ 39249 h 402521"/>
              <a:gd name="connsiteX17" fmla="*/ 271611 w 404766"/>
              <a:gd name="connsiteY17" fmla="*/ 20387 h 402521"/>
              <a:gd name="connsiteX18" fmla="*/ 370005 w 404766"/>
              <a:gd name="connsiteY18" fmla="*/ 20369 h 402521"/>
              <a:gd name="connsiteX19" fmla="*/ 370022 w 404766"/>
              <a:gd name="connsiteY19" fmla="*/ 20387 h 402521"/>
              <a:gd name="connsiteX20" fmla="*/ 238748 w 404766"/>
              <a:gd name="connsiteY20" fmla="*/ 234361 h 402521"/>
              <a:gd name="connsiteX21" fmla="*/ 212190 w 404766"/>
              <a:gd name="connsiteY21" fmla="*/ 282522 h 402521"/>
              <a:gd name="connsiteX22" fmla="*/ 210728 w 404766"/>
              <a:gd name="connsiteY22" fmla="*/ 282915 h 402521"/>
              <a:gd name="connsiteX23" fmla="*/ 199372 w 404766"/>
              <a:gd name="connsiteY23" fmla="*/ 285715 h 402521"/>
              <a:gd name="connsiteX24" fmla="*/ 199489 w 404766"/>
              <a:gd name="connsiteY24" fmla="*/ 320853 h 402521"/>
              <a:gd name="connsiteX25" fmla="*/ 209989 w 404766"/>
              <a:gd name="connsiteY25" fmla="*/ 323380 h 402521"/>
              <a:gd name="connsiteX26" fmla="*/ 238690 w 404766"/>
              <a:gd name="connsiteY26" fmla="*/ 370296 h 402521"/>
              <a:gd name="connsiteX27" fmla="*/ 238184 w 404766"/>
              <a:gd name="connsiteY27" fmla="*/ 372188 h 402521"/>
              <a:gd name="connsiteX28" fmla="*/ 234548 w 404766"/>
              <a:gd name="connsiteY28" fmla="*/ 384477 h 402521"/>
              <a:gd name="connsiteX29" fmla="*/ 263405 w 404766"/>
              <a:gd name="connsiteY29" fmla="*/ 402386 h 402521"/>
              <a:gd name="connsiteX30" fmla="*/ 273011 w 404766"/>
              <a:gd name="connsiteY30" fmla="*/ 392313 h 402521"/>
              <a:gd name="connsiteX31" fmla="*/ 327992 w 404766"/>
              <a:gd name="connsiteY31" fmla="*/ 390923 h 402521"/>
              <a:gd name="connsiteX32" fmla="*/ 329382 w 404766"/>
              <a:gd name="connsiteY32" fmla="*/ 392313 h 402521"/>
              <a:gd name="connsiteX33" fmla="*/ 339066 w 404766"/>
              <a:gd name="connsiteY33" fmla="*/ 402522 h 402521"/>
              <a:gd name="connsiteX34" fmla="*/ 367903 w 404766"/>
              <a:gd name="connsiteY34" fmla="*/ 384769 h 402521"/>
              <a:gd name="connsiteX35" fmla="*/ 364053 w 404766"/>
              <a:gd name="connsiteY35" fmla="*/ 371429 h 402521"/>
              <a:gd name="connsiteX36" fmla="*/ 390640 w 404766"/>
              <a:gd name="connsiteY36" fmla="*/ 323283 h 402521"/>
              <a:gd name="connsiteX37" fmla="*/ 392092 w 404766"/>
              <a:gd name="connsiteY37" fmla="*/ 322894 h 402521"/>
              <a:gd name="connsiteX38" fmla="*/ 403429 w 404766"/>
              <a:gd name="connsiteY38" fmla="*/ 320094 h 402521"/>
              <a:gd name="connsiteX39" fmla="*/ 403312 w 404766"/>
              <a:gd name="connsiteY39" fmla="*/ 284937 h 402521"/>
              <a:gd name="connsiteX40" fmla="*/ 392812 w 404766"/>
              <a:gd name="connsiteY40" fmla="*/ 282410 h 402521"/>
              <a:gd name="connsiteX41" fmla="*/ 364111 w 404766"/>
              <a:gd name="connsiteY41" fmla="*/ 235494 h 402521"/>
              <a:gd name="connsiteX42" fmla="*/ 364616 w 404766"/>
              <a:gd name="connsiteY42" fmla="*/ 233602 h 402521"/>
              <a:gd name="connsiteX43" fmla="*/ 368253 w 404766"/>
              <a:gd name="connsiteY43" fmla="*/ 221352 h 402521"/>
              <a:gd name="connsiteX44" fmla="*/ 339396 w 404766"/>
              <a:gd name="connsiteY44" fmla="*/ 203404 h 402521"/>
              <a:gd name="connsiteX45" fmla="*/ 329810 w 404766"/>
              <a:gd name="connsiteY45" fmla="*/ 213496 h 402521"/>
              <a:gd name="connsiteX46" fmla="*/ 274829 w 404766"/>
              <a:gd name="connsiteY46" fmla="*/ 214906 h 402521"/>
              <a:gd name="connsiteX47" fmla="*/ 273419 w 404766"/>
              <a:gd name="connsiteY47" fmla="*/ 213496 h 402521"/>
              <a:gd name="connsiteX48" fmla="*/ 263735 w 404766"/>
              <a:gd name="connsiteY48" fmla="*/ 203288 h 402521"/>
              <a:gd name="connsiteX49" fmla="*/ 234898 w 404766"/>
              <a:gd name="connsiteY49" fmla="*/ 221021 h 402521"/>
              <a:gd name="connsiteX50" fmla="*/ 238748 w 404766"/>
              <a:gd name="connsiteY50" fmla="*/ 234361 h 402521"/>
              <a:gd name="connsiteX51" fmla="*/ 301381 w 404766"/>
              <a:gd name="connsiteY51" fmla="*/ 332092 h 402521"/>
              <a:gd name="connsiteX52" fmla="*/ 273186 w 404766"/>
              <a:gd name="connsiteY52" fmla="*/ 302924 h 402521"/>
              <a:gd name="connsiteX53" fmla="*/ 301381 w 404766"/>
              <a:gd name="connsiteY53" fmla="*/ 273757 h 402521"/>
              <a:gd name="connsiteX54" fmla="*/ 329576 w 404766"/>
              <a:gd name="connsiteY54" fmla="*/ 302924 h 402521"/>
              <a:gd name="connsiteX55" fmla="*/ 301381 w 404766"/>
              <a:gd name="connsiteY55" fmla="*/ 332092 h 40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04766" h="402521">
                <a:moveTo>
                  <a:pt x="232137" y="59861"/>
                </a:moveTo>
                <a:lnTo>
                  <a:pt x="330549" y="158253"/>
                </a:lnTo>
                <a:lnTo>
                  <a:pt x="311842" y="176959"/>
                </a:lnTo>
                <a:cubicBezTo>
                  <a:pt x="242278" y="171178"/>
                  <a:pt x="181197" y="222884"/>
                  <a:pt x="175416" y="292449"/>
                </a:cubicBezTo>
                <a:cubicBezTo>
                  <a:pt x="174836" y="299416"/>
                  <a:pt x="174836" y="306418"/>
                  <a:pt x="175416" y="313386"/>
                </a:cubicBezTo>
                <a:lnTo>
                  <a:pt x="137303" y="351498"/>
                </a:lnTo>
                <a:cubicBezTo>
                  <a:pt x="131915" y="356886"/>
                  <a:pt x="125212" y="360775"/>
                  <a:pt x="117858" y="362776"/>
                </a:cubicBezTo>
                <a:lnTo>
                  <a:pt x="18397" y="389902"/>
                </a:lnTo>
                <a:cubicBezTo>
                  <a:pt x="10622" y="392008"/>
                  <a:pt x="2613" y="387413"/>
                  <a:pt x="507" y="379639"/>
                </a:cubicBezTo>
                <a:cubicBezTo>
                  <a:pt x="-169" y="377142"/>
                  <a:pt x="-169" y="374509"/>
                  <a:pt x="507" y="372013"/>
                </a:cubicBezTo>
                <a:lnTo>
                  <a:pt x="27614" y="272532"/>
                </a:lnTo>
                <a:cubicBezTo>
                  <a:pt x="29615" y="265177"/>
                  <a:pt x="33503" y="258475"/>
                  <a:pt x="38892" y="253086"/>
                </a:cubicBezTo>
                <a:lnTo>
                  <a:pt x="232137" y="59861"/>
                </a:lnTo>
                <a:close/>
                <a:moveTo>
                  <a:pt x="370022" y="20387"/>
                </a:moveTo>
                <a:cubicBezTo>
                  <a:pt x="397181" y="47562"/>
                  <a:pt x="397181" y="91604"/>
                  <a:pt x="370022" y="118779"/>
                </a:cubicBezTo>
                <a:lnTo>
                  <a:pt x="351160" y="137641"/>
                </a:lnTo>
                <a:lnTo>
                  <a:pt x="252749" y="39249"/>
                </a:lnTo>
                <a:lnTo>
                  <a:pt x="271611" y="20387"/>
                </a:lnTo>
                <a:cubicBezTo>
                  <a:pt x="298775" y="-6789"/>
                  <a:pt x="342828" y="-6797"/>
                  <a:pt x="370005" y="20369"/>
                </a:cubicBezTo>
                <a:cubicBezTo>
                  <a:pt x="370010" y="20375"/>
                  <a:pt x="370016" y="20381"/>
                  <a:pt x="370022" y="20387"/>
                </a:cubicBezTo>
                <a:close/>
                <a:moveTo>
                  <a:pt x="238748" y="234361"/>
                </a:moveTo>
                <a:cubicBezTo>
                  <a:pt x="244714" y="254994"/>
                  <a:pt x="232823" y="276557"/>
                  <a:pt x="212190" y="282522"/>
                </a:cubicBezTo>
                <a:cubicBezTo>
                  <a:pt x="211706" y="282662"/>
                  <a:pt x="211218" y="282795"/>
                  <a:pt x="210728" y="282915"/>
                </a:cubicBezTo>
                <a:lnTo>
                  <a:pt x="199372" y="285715"/>
                </a:lnTo>
                <a:cubicBezTo>
                  <a:pt x="197552" y="297361"/>
                  <a:pt x="197591" y="309220"/>
                  <a:pt x="199489" y="320853"/>
                </a:cubicBezTo>
                <a:lnTo>
                  <a:pt x="209989" y="323380"/>
                </a:lnTo>
                <a:cubicBezTo>
                  <a:pt x="230871" y="328411"/>
                  <a:pt x="243720" y="349415"/>
                  <a:pt x="238690" y="370296"/>
                </a:cubicBezTo>
                <a:cubicBezTo>
                  <a:pt x="238538" y="370931"/>
                  <a:pt x="238369" y="371561"/>
                  <a:pt x="238184" y="372188"/>
                </a:cubicBezTo>
                <a:lnTo>
                  <a:pt x="234548" y="384477"/>
                </a:lnTo>
                <a:cubicBezTo>
                  <a:pt x="243104" y="391983"/>
                  <a:pt x="252827" y="398069"/>
                  <a:pt x="263405" y="402386"/>
                </a:cubicBezTo>
                <a:lnTo>
                  <a:pt x="273011" y="392313"/>
                </a:lnTo>
                <a:cubicBezTo>
                  <a:pt x="287810" y="376747"/>
                  <a:pt x="312426" y="376125"/>
                  <a:pt x="327992" y="390923"/>
                </a:cubicBezTo>
                <a:cubicBezTo>
                  <a:pt x="328466" y="391374"/>
                  <a:pt x="328931" y="391839"/>
                  <a:pt x="329382" y="392313"/>
                </a:cubicBezTo>
                <a:lnTo>
                  <a:pt x="339066" y="402522"/>
                </a:lnTo>
                <a:cubicBezTo>
                  <a:pt x="349595" y="398240"/>
                  <a:pt x="359339" y="392241"/>
                  <a:pt x="367903" y="384769"/>
                </a:cubicBezTo>
                <a:lnTo>
                  <a:pt x="364053" y="371429"/>
                </a:lnTo>
                <a:cubicBezTo>
                  <a:pt x="358098" y="350792"/>
                  <a:pt x="370003" y="329237"/>
                  <a:pt x="390640" y="323283"/>
                </a:cubicBezTo>
                <a:cubicBezTo>
                  <a:pt x="391122" y="323145"/>
                  <a:pt x="391606" y="323015"/>
                  <a:pt x="392092" y="322894"/>
                </a:cubicBezTo>
                <a:lnTo>
                  <a:pt x="403429" y="320094"/>
                </a:lnTo>
                <a:cubicBezTo>
                  <a:pt x="405251" y="308443"/>
                  <a:pt x="405212" y="296575"/>
                  <a:pt x="403312" y="284937"/>
                </a:cubicBezTo>
                <a:lnTo>
                  <a:pt x="392812" y="282410"/>
                </a:lnTo>
                <a:cubicBezTo>
                  <a:pt x="371930" y="277379"/>
                  <a:pt x="359080" y="256375"/>
                  <a:pt x="364111" y="235494"/>
                </a:cubicBezTo>
                <a:cubicBezTo>
                  <a:pt x="364263" y="234859"/>
                  <a:pt x="364432" y="234229"/>
                  <a:pt x="364616" y="233602"/>
                </a:cubicBezTo>
                <a:lnTo>
                  <a:pt x="368253" y="221352"/>
                </a:lnTo>
                <a:cubicBezTo>
                  <a:pt x="359697" y="213807"/>
                  <a:pt x="349945" y="207742"/>
                  <a:pt x="339396" y="203404"/>
                </a:cubicBezTo>
                <a:lnTo>
                  <a:pt x="329810" y="213496"/>
                </a:lnTo>
                <a:cubicBezTo>
                  <a:pt x="315016" y="229068"/>
                  <a:pt x="290400" y="229700"/>
                  <a:pt x="274829" y="214906"/>
                </a:cubicBezTo>
                <a:cubicBezTo>
                  <a:pt x="274347" y="214449"/>
                  <a:pt x="273876" y="213978"/>
                  <a:pt x="273419" y="213496"/>
                </a:cubicBezTo>
                <a:lnTo>
                  <a:pt x="263735" y="203288"/>
                </a:lnTo>
                <a:cubicBezTo>
                  <a:pt x="253157" y="207565"/>
                  <a:pt x="243435" y="213593"/>
                  <a:pt x="234898" y="221021"/>
                </a:cubicBezTo>
                <a:lnTo>
                  <a:pt x="238748" y="234361"/>
                </a:lnTo>
                <a:close/>
                <a:moveTo>
                  <a:pt x="301381" y="332092"/>
                </a:moveTo>
                <a:cubicBezTo>
                  <a:pt x="285825" y="332092"/>
                  <a:pt x="273186" y="319025"/>
                  <a:pt x="273186" y="302924"/>
                </a:cubicBezTo>
                <a:cubicBezTo>
                  <a:pt x="273186" y="286804"/>
                  <a:pt x="285825" y="273757"/>
                  <a:pt x="301381" y="273757"/>
                </a:cubicBezTo>
                <a:cubicBezTo>
                  <a:pt x="316937" y="273757"/>
                  <a:pt x="329576" y="286804"/>
                  <a:pt x="329576" y="302924"/>
                </a:cubicBezTo>
                <a:cubicBezTo>
                  <a:pt x="329576" y="319025"/>
                  <a:pt x="316937" y="332092"/>
                  <a:pt x="301381" y="332092"/>
                </a:cubicBezTo>
                <a:close/>
              </a:path>
            </a:pathLst>
          </a:custGeom>
          <a:solidFill>
            <a:schemeClr val="bg1"/>
          </a:solidFill>
          <a:ln w="6350" cap="flat" cmpd="sng" algn="ctr">
            <a:noFill/>
            <a:prstDash val="solid"/>
            <a:miter lim="800000"/>
            <a:headEnd type="none" w="med" len="med"/>
            <a:tailEnd type="none" w="med" len="med"/>
          </a:ln>
          <a:effectLst>
            <a:outerShdw blurRad="63500" dist="63500" dir="2700000" algn="ctr" rotWithShape="0">
              <a:srgbClr val="454142">
                <a:alpha val="20000"/>
              </a:srgbClr>
            </a:outerShdw>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13" name="TextBox 12">
            <a:extLst>
              <a:ext uri="{FF2B5EF4-FFF2-40B4-BE49-F238E27FC236}">
                <a16:creationId xmlns:a16="http://schemas.microsoft.com/office/drawing/2014/main" id="{E59FD0A0-E2A3-9852-A8A7-9F10E3E058CE}"/>
              </a:ext>
            </a:extLst>
          </p:cNvPr>
          <p:cNvSpPr txBox="1">
            <a:spLocks noChangeAspect="1"/>
          </p:cNvSpPr>
          <p:nvPr/>
        </p:nvSpPr>
        <p:spPr>
          <a:xfrm>
            <a:off x="4586963" y="3152301"/>
            <a:ext cx="3018072" cy="307777"/>
          </a:xfrm>
          <a:prstGeom prst="rect">
            <a:avLst/>
          </a:prstGeom>
          <a:noFill/>
        </p:spPr>
        <p:txBody>
          <a:bodyPr wrap="square" lIns="0" tIns="0" rIns="0" bIns="0" anchor="t">
            <a:spAutoFit/>
          </a:body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2000" b="1" i="0" u="none" strike="noStrike" kern="1200" cap="none" spc="0" normalizeH="0" baseline="0" noProof="0">
                <a:ln w="3175">
                  <a:noFill/>
                </a:ln>
                <a:gradFill flip="none" rotWithShape="1">
                  <a:gsLst>
                    <a:gs pos="80000">
                      <a:srgbClr val="0A6BBA"/>
                    </a:gs>
                    <a:gs pos="0">
                      <a:srgbClr val="AC35AF"/>
                    </a:gs>
                  </a:gsLst>
                  <a:path path="circle">
                    <a:fillToRect l="100000" t="100000"/>
                  </a:path>
                  <a:tileRect r="-100000" b="-100000"/>
                </a:gradFill>
                <a:effectLst/>
                <a:uLnTx/>
                <a:uFillTx/>
                <a:latin typeface="Segoe UI Semibold"/>
                <a:ea typeface="+mn-ea"/>
                <a:cs typeface="Segoe UI" pitchFamily="34" charset="0"/>
              </a:rPr>
              <a:t>Management Controls</a:t>
            </a:r>
          </a:p>
        </p:txBody>
      </p:sp>
      <p:sp>
        <p:nvSpPr>
          <p:cNvPr id="19" name="Rectangle 18">
            <a:extLst>
              <a:ext uri="{FF2B5EF4-FFF2-40B4-BE49-F238E27FC236}">
                <a16:creationId xmlns:a16="http://schemas.microsoft.com/office/drawing/2014/main" id="{07B44E38-3C3F-A59D-7E3B-976C6BE3AF3F}"/>
              </a:ext>
            </a:extLst>
          </p:cNvPr>
          <p:cNvSpPr>
            <a:spLocks noChangeAspect="1"/>
          </p:cNvSpPr>
          <p:nvPr/>
        </p:nvSpPr>
        <p:spPr bwMode="auto">
          <a:xfrm>
            <a:off x="4589200" y="3637829"/>
            <a:ext cx="3013598"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Control which agents are available and who can access agents</a:t>
            </a:r>
          </a:p>
        </p:txBody>
      </p:sp>
      <p:sp>
        <p:nvSpPr>
          <p:cNvPr id="25" name="Rectangle 24">
            <a:extLst>
              <a:ext uri="{FF2B5EF4-FFF2-40B4-BE49-F238E27FC236}">
                <a16:creationId xmlns:a16="http://schemas.microsoft.com/office/drawing/2014/main" id="{F5A6C9C1-2299-997C-D4D6-A15C6B132E61}"/>
              </a:ext>
            </a:extLst>
          </p:cNvPr>
          <p:cNvSpPr>
            <a:spLocks noChangeAspect="1"/>
          </p:cNvSpPr>
          <p:nvPr/>
        </p:nvSpPr>
        <p:spPr bwMode="auto">
          <a:xfrm>
            <a:off x="4540467" y="4473591"/>
            <a:ext cx="3111064"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Review agent permissions and actions before making available in your tenant</a:t>
            </a:r>
          </a:p>
        </p:txBody>
      </p:sp>
      <p:sp>
        <p:nvSpPr>
          <p:cNvPr id="22" name="Rectangle 21">
            <a:extLst>
              <a:ext uri="{FF2B5EF4-FFF2-40B4-BE49-F238E27FC236}">
                <a16:creationId xmlns:a16="http://schemas.microsoft.com/office/drawing/2014/main" id="{0DD5C269-1C56-CD00-57F4-32FB75EF8D48}"/>
              </a:ext>
              <a:ext uri="{C183D7F6-B498-43B3-948B-1728B52AA6E4}">
                <adec:decorative xmlns:adec="http://schemas.microsoft.com/office/drawing/2017/decorative" val="0"/>
              </a:ext>
            </a:extLst>
          </p:cNvPr>
          <p:cNvSpPr>
            <a:spLocks noChangeAspect="1"/>
          </p:cNvSpPr>
          <p:nvPr/>
        </p:nvSpPr>
        <p:spPr bwMode="auto">
          <a:xfrm>
            <a:off x="4456384" y="5420134"/>
            <a:ext cx="3279230"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rack and manage agent lifecycle, </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ccess usage and operational insights</a:t>
            </a:r>
          </a:p>
        </p:txBody>
      </p:sp>
      <p:sp>
        <p:nvSpPr>
          <p:cNvPr id="59" name="Freeform: Shape 33">
            <a:extLst>
              <a:ext uri="{FF2B5EF4-FFF2-40B4-BE49-F238E27FC236}">
                <a16:creationId xmlns:a16="http://schemas.microsoft.com/office/drawing/2014/main" id="{1D7FB441-40A2-81A3-0C58-47C395630839}"/>
              </a:ext>
              <a:ext uri="{C183D7F6-B498-43B3-948B-1728B52AA6E4}">
                <adec:decorative xmlns:adec="http://schemas.microsoft.com/office/drawing/2017/decorative" val="1"/>
              </a:ext>
            </a:extLst>
          </p:cNvPr>
          <p:cNvSpPr>
            <a:spLocks/>
          </p:cNvSpPr>
          <p:nvPr/>
        </p:nvSpPr>
        <p:spPr bwMode="auto">
          <a:xfrm>
            <a:off x="9449132" y="2454308"/>
            <a:ext cx="553512" cy="553512"/>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gradFill flip="none" rotWithShape="1">
            <a:gsLst>
              <a:gs pos="0">
                <a:srgbClr val="F65567"/>
              </a:gs>
              <a:gs pos="80000">
                <a:srgbClr val="AC35AF"/>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2" name="Freeform 1">
            <a:extLst>
              <a:ext uri="{FF2B5EF4-FFF2-40B4-BE49-F238E27FC236}">
                <a16:creationId xmlns:a16="http://schemas.microsoft.com/office/drawing/2014/main" id="{A695CF07-295C-27F4-7016-F45539999B59}"/>
              </a:ext>
              <a:ext uri="{C183D7F6-B498-43B3-948B-1728B52AA6E4}">
                <adec:decorative xmlns:adec="http://schemas.microsoft.com/office/drawing/2017/decorative" val="1"/>
              </a:ext>
            </a:extLst>
          </p:cNvPr>
          <p:cNvSpPr/>
          <p:nvPr/>
        </p:nvSpPr>
        <p:spPr>
          <a:xfrm>
            <a:off x="9621293" y="2626470"/>
            <a:ext cx="209191" cy="209189"/>
          </a:xfrm>
          <a:custGeom>
            <a:avLst/>
            <a:gdLst>
              <a:gd name="connsiteX0" fmla="*/ 183041 w 209191"/>
              <a:gd name="connsiteY0" fmla="*/ 34865 h 209189"/>
              <a:gd name="connsiteX1" fmla="*/ 191758 w 209191"/>
              <a:gd name="connsiteY1" fmla="*/ 43582 h 209189"/>
              <a:gd name="connsiteX2" fmla="*/ 191758 w 209191"/>
              <a:gd name="connsiteY2" fmla="*/ 180135 h 209189"/>
              <a:gd name="connsiteX3" fmla="*/ 29054 w 209191"/>
              <a:gd name="connsiteY3" fmla="*/ 180135 h 209189"/>
              <a:gd name="connsiteX4" fmla="*/ 29054 w 209191"/>
              <a:gd name="connsiteY4" fmla="*/ 74506 h 209189"/>
              <a:gd name="connsiteX5" fmla="*/ 60026 w 209191"/>
              <a:gd name="connsiteY5" fmla="*/ 59027 h 209189"/>
              <a:gd name="connsiteX6" fmla="*/ 68335 w 209191"/>
              <a:gd name="connsiteY6" fmla="*/ 59317 h 209189"/>
              <a:gd name="connsiteX7" fmla="*/ 112730 w 209191"/>
              <a:gd name="connsiteY7" fmla="*/ 85419 h 209189"/>
              <a:gd name="connsiteX8" fmla="*/ 177811 w 209191"/>
              <a:gd name="connsiteY8" fmla="*/ 36608 h 209189"/>
              <a:gd name="connsiteX9" fmla="*/ 183041 w 209191"/>
              <a:gd name="connsiteY9" fmla="*/ 34865 h 209189"/>
              <a:gd name="connsiteX10" fmla="*/ 8716 w 209191"/>
              <a:gd name="connsiteY10" fmla="*/ 0 h 209189"/>
              <a:gd name="connsiteX11" fmla="*/ 17432 w 209191"/>
              <a:gd name="connsiteY11" fmla="*/ 8716 h 209189"/>
              <a:gd name="connsiteX12" fmla="*/ 17432 w 209191"/>
              <a:gd name="connsiteY12" fmla="*/ 191756 h 209189"/>
              <a:gd name="connsiteX13" fmla="*/ 200474 w 209191"/>
              <a:gd name="connsiteY13" fmla="*/ 191756 h 209189"/>
              <a:gd name="connsiteX14" fmla="*/ 209191 w 209191"/>
              <a:gd name="connsiteY14" fmla="*/ 200472 h 209189"/>
              <a:gd name="connsiteX15" fmla="*/ 200474 w 209191"/>
              <a:gd name="connsiteY15" fmla="*/ 209189 h 209189"/>
              <a:gd name="connsiteX16" fmla="*/ 8716 w 209191"/>
              <a:gd name="connsiteY16" fmla="*/ 209189 h 209189"/>
              <a:gd name="connsiteX17" fmla="*/ 0 w 209191"/>
              <a:gd name="connsiteY17" fmla="*/ 200472 h 209189"/>
              <a:gd name="connsiteX18" fmla="*/ 0 w 209191"/>
              <a:gd name="connsiteY18" fmla="*/ 8716 h 209189"/>
              <a:gd name="connsiteX19" fmla="*/ 8716 w 209191"/>
              <a:gd name="connsiteY19" fmla="*/ 0 h 20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9191" h="209189">
                <a:moveTo>
                  <a:pt x="183041" y="34865"/>
                </a:moveTo>
                <a:cubicBezTo>
                  <a:pt x="187855" y="34865"/>
                  <a:pt x="191758" y="38768"/>
                  <a:pt x="191758" y="43582"/>
                </a:cubicBezTo>
                <a:lnTo>
                  <a:pt x="191758" y="180135"/>
                </a:lnTo>
                <a:lnTo>
                  <a:pt x="29054" y="180135"/>
                </a:lnTo>
                <a:lnTo>
                  <a:pt x="29054" y="74506"/>
                </a:lnTo>
                <a:lnTo>
                  <a:pt x="60026" y="59027"/>
                </a:lnTo>
                <a:cubicBezTo>
                  <a:pt x="62666" y="57711"/>
                  <a:pt x="65793" y="57820"/>
                  <a:pt x="68335" y="59317"/>
                </a:cubicBezTo>
                <a:lnTo>
                  <a:pt x="112730" y="85419"/>
                </a:lnTo>
                <a:lnTo>
                  <a:pt x="177811" y="36608"/>
                </a:lnTo>
                <a:cubicBezTo>
                  <a:pt x="179320" y="35477"/>
                  <a:pt x="181155" y="34865"/>
                  <a:pt x="183041" y="34865"/>
                </a:cubicBezTo>
                <a:close/>
                <a:moveTo>
                  <a:pt x="8716" y="0"/>
                </a:moveTo>
                <a:cubicBezTo>
                  <a:pt x="13530" y="0"/>
                  <a:pt x="17432" y="3902"/>
                  <a:pt x="17432" y="8716"/>
                </a:cubicBezTo>
                <a:lnTo>
                  <a:pt x="17432" y="191756"/>
                </a:lnTo>
                <a:lnTo>
                  <a:pt x="200474" y="191756"/>
                </a:lnTo>
                <a:cubicBezTo>
                  <a:pt x="205287" y="191756"/>
                  <a:pt x="209191" y="195659"/>
                  <a:pt x="209191" y="200472"/>
                </a:cubicBezTo>
                <a:cubicBezTo>
                  <a:pt x="209191" y="205286"/>
                  <a:pt x="205287" y="209189"/>
                  <a:pt x="200474" y="209189"/>
                </a:cubicBezTo>
                <a:lnTo>
                  <a:pt x="8716" y="209189"/>
                </a:lnTo>
                <a:cubicBezTo>
                  <a:pt x="3903" y="209189"/>
                  <a:pt x="0" y="205286"/>
                  <a:pt x="0" y="200472"/>
                </a:cubicBezTo>
                <a:lnTo>
                  <a:pt x="0" y="8716"/>
                </a:lnTo>
                <a:cubicBezTo>
                  <a:pt x="0" y="3902"/>
                  <a:pt x="3903" y="0"/>
                  <a:pt x="8716" y="0"/>
                </a:cubicBezTo>
                <a:close/>
              </a:path>
            </a:pathLst>
          </a:custGeom>
          <a:solidFill>
            <a:schemeClr val="bg1"/>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14" name="TextBox 13">
            <a:extLst>
              <a:ext uri="{FF2B5EF4-FFF2-40B4-BE49-F238E27FC236}">
                <a16:creationId xmlns:a16="http://schemas.microsoft.com/office/drawing/2014/main" id="{060C0BA3-A5DD-AE16-076D-BA1FD91EC814}"/>
              </a:ext>
            </a:extLst>
          </p:cNvPr>
          <p:cNvSpPr txBox="1">
            <a:spLocks noChangeAspect="1"/>
          </p:cNvSpPr>
          <p:nvPr/>
        </p:nvSpPr>
        <p:spPr>
          <a:xfrm>
            <a:off x="8142643" y="3152301"/>
            <a:ext cx="3166488" cy="307777"/>
          </a:xfrm>
          <a:prstGeom prst="rect">
            <a:avLst/>
          </a:prstGeom>
          <a:noFill/>
        </p:spPr>
        <p:txBody>
          <a:bodyPr wrap="square" lIns="0" tIns="0" rIns="0" bIns="0" anchor="t">
            <a:spAutoFit/>
          </a:bodyPr>
          <a:lstStyle/>
          <a:p>
            <a:pPr marL="0" marR="0" lvl="0" indent="0" algn="ctr" defTabSz="914437" rtl="0" eaLnBrk="1" fontAlgn="base" latinLnBrk="0" hangingPunct="1">
              <a:lnSpc>
                <a:spcPct val="100000"/>
              </a:lnSpc>
              <a:spcBef>
                <a:spcPct val="0"/>
              </a:spcBef>
              <a:spcAft>
                <a:spcPts val="1200"/>
              </a:spcAft>
              <a:buClrTx/>
              <a:buSzTx/>
              <a:buFontTx/>
              <a:buNone/>
              <a:tabLst>
                <a:tab pos="1371655" algn="l"/>
              </a:tabLst>
              <a:defRPr/>
            </a:pPr>
            <a:r>
              <a:rPr kumimoji="0" lang="en-US" sz="2000" b="1" i="0" u="none" strike="noStrike" kern="1200" cap="none" spc="0" normalizeH="0" baseline="0" noProof="0">
                <a:ln w="3175">
                  <a:noFill/>
                </a:ln>
                <a:gradFill flip="none" rotWithShape="1">
                  <a:gsLst>
                    <a:gs pos="79000">
                      <a:srgbClr val="AC35AF"/>
                    </a:gs>
                    <a:gs pos="0">
                      <a:srgbClr val="F65567"/>
                    </a:gs>
                  </a:gsLst>
                  <a:path path="circle">
                    <a:fillToRect l="100000" t="100000"/>
                  </a:path>
                  <a:tileRect r="-100000" b="-100000"/>
                </a:gradFill>
                <a:effectLst/>
                <a:uLnTx/>
                <a:uFillTx/>
                <a:latin typeface="Segoe UI Semibold"/>
                <a:ea typeface="+mn-ea"/>
                <a:cs typeface="Segoe UI" pitchFamily="34" charset="0"/>
              </a:rPr>
              <a:t>Measurement &amp; Reporting</a:t>
            </a:r>
          </a:p>
        </p:txBody>
      </p:sp>
      <p:sp>
        <p:nvSpPr>
          <p:cNvPr id="20" name="Rectangle 19">
            <a:extLst>
              <a:ext uri="{FF2B5EF4-FFF2-40B4-BE49-F238E27FC236}">
                <a16:creationId xmlns:a16="http://schemas.microsoft.com/office/drawing/2014/main" id="{573757CD-1D72-DD9B-C5E4-E7F06D1972FE}"/>
              </a:ext>
            </a:extLst>
          </p:cNvPr>
          <p:cNvSpPr>
            <a:spLocks noChangeAspect="1"/>
          </p:cNvSpPr>
          <p:nvPr/>
        </p:nvSpPr>
        <p:spPr bwMode="auto">
          <a:xfrm>
            <a:off x="8219088" y="3637829"/>
            <a:ext cx="3013598"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View core usage telemetry </a:t>
            </a:r>
            <a:b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b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d track license utilization</a:t>
            </a:r>
          </a:p>
        </p:txBody>
      </p:sp>
      <p:sp>
        <p:nvSpPr>
          <p:cNvPr id="26" name="Rectangle 25">
            <a:extLst>
              <a:ext uri="{FF2B5EF4-FFF2-40B4-BE49-F238E27FC236}">
                <a16:creationId xmlns:a16="http://schemas.microsoft.com/office/drawing/2014/main" id="{43795F8E-8E2F-16F3-9C62-1130CD232482}"/>
              </a:ext>
            </a:extLst>
          </p:cNvPr>
          <p:cNvSpPr>
            <a:spLocks noChangeAspect="1"/>
          </p:cNvSpPr>
          <p:nvPr/>
        </p:nvSpPr>
        <p:spPr bwMode="auto">
          <a:xfrm>
            <a:off x="8124497" y="4473591"/>
            <a:ext cx="3202780" cy="69891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Track improvements in user productivity and compare impact across groups</a:t>
            </a:r>
          </a:p>
        </p:txBody>
      </p:sp>
      <p:sp>
        <p:nvSpPr>
          <p:cNvPr id="4" name="Rectangle: Rounded Corners 43">
            <a:extLst>
              <a:ext uri="{FF2B5EF4-FFF2-40B4-BE49-F238E27FC236}">
                <a16:creationId xmlns:a16="http://schemas.microsoft.com/office/drawing/2014/main" id="{CD6A0D22-8E31-B225-787F-8120284D9922}"/>
              </a:ext>
              <a:ext uri="{C183D7F6-B498-43B3-948B-1728B52AA6E4}">
                <adec:decorative xmlns:adec="http://schemas.microsoft.com/office/drawing/2017/decorative" val="1"/>
              </a:ext>
            </a:extLst>
          </p:cNvPr>
          <p:cNvSpPr>
            <a:spLocks/>
          </p:cNvSpPr>
          <p:nvPr/>
        </p:nvSpPr>
        <p:spPr bwMode="auto">
          <a:xfrm>
            <a:off x="7975371" y="2225661"/>
            <a:ext cx="3501033" cy="3943912"/>
          </a:xfrm>
          <a:prstGeom prst="roundRect">
            <a:avLst>
              <a:gd name="adj" fmla="val 5000"/>
            </a:avLst>
          </a:prstGeom>
          <a:ln w="12700" cap="rnd">
            <a:solidFill>
              <a:srgbClr val="3A4953"/>
            </a:solidFill>
            <a:headEnd type="none" w="lg" len="med"/>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noFill/>
              <a:effectLst/>
              <a:uLnTx/>
              <a:uFillTx/>
              <a:latin typeface="Segoe UI Semibold" panose="020B0502040204020203" pitchFamily="34" charset="0"/>
              <a:ea typeface="+mn-ea"/>
              <a:cs typeface="+mn-cs"/>
            </a:endParaRPr>
          </a:p>
        </p:txBody>
      </p:sp>
      <p:sp>
        <p:nvSpPr>
          <p:cNvPr id="5" name="Rectangle: Rounded Corners 43">
            <a:extLst>
              <a:ext uri="{FF2B5EF4-FFF2-40B4-BE49-F238E27FC236}">
                <a16:creationId xmlns:a16="http://schemas.microsoft.com/office/drawing/2014/main" id="{B972903A-E796-7AB7-431D-3687445A2229}"/>
              </a:ext>
              <a:ext uri="{C183D7F6-B498-43B3-948B-1728B52AA6E4}">
                <adec:decorative xmlns:adec="http://schemas.microsoft.com/office/drawing/2017/decorative" val="1"/>
              </a:ext>
            </a:extLst>
          </p:cNvPr>
          <p:cNvSpPr>
            <a:spLocks/>
          </p:cNvSpPr>
          <p:nvPr/>
        </p:nvSpPr>
        <p:spPr bwMode="auto">
          <a:xfrm>
            <a:off x="4346439" y="2225661"/>
            <a:ext cx="3499121" cy="3943912"/>
          </a:xfrm>
          <a:prstGeom prst="roundRect">
            <a:avLst>
              <a:gd name="adj" fmla="val 5000"/>
            </a:avLst>
          </a:prstGeom>
          <a:ln w="12700" cap="rnd">
            <a:solidFill>
              <a:srgbClr val="3A4953"/>
            </a:solidFill>
            <a:headEnd type="none" w="lg" len="med"/>
            <a:tailEnd type="none" w="lg" len="sm"/>
          </a:ln>
          <a:effectLst/>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1" i="0" u="none" strike="noStrike" kern="1200" cap="none" spc="0" normalizeH="0" baseline="0" noProof="0">
              <a:ln>
                <a:noFill/>
              </a:ln>
              <a:noFill/>
              <a:effectLst/>
              <a:uLnTx/>
              <a:uFillTx/>
              <a:latin typeface="Segoe UI Semibold" panose="020B0502040204020203" pitchFamily="34" charset="0"/>
              <a:ea typeface="+mn-ea"/>
              <a:cs typeface="+mn-cs"/>
            </a:endParaRPr>
          </a:p>
        </p:txBody>
      </p:sp>
      <p:cxnSp>
        <p:nvCxnSpPr>
          <p:cNvPr id="6" name="Straight Connector 5">
            <a:extLst>
              <a:ext uri="{FF2B5EF4-FFF2-40B4-BE49-F238E27FC236}">
                <a16:creationId xmlns:a16="http://schemas.microsoft.com/office/drawing/2014/main" id="{520BA338-566B-CD9E-29DD-5242C8747582}"/>
              </a:ext>
              <a:ext uri="{C183D7F6-B498-43B3-948B-1728B52AA6E4}">
                <adec:decorative xmlns:adec="http://schemas.microsoft.com/office/drawing/2017/decorative" val="1"/>
              </a:ext>
            </a:extLst>
          </p:cNvPr>
          <p:cNvCxnSpPr>
            <a:cxnSpLocks/>
          </p:cNvCxnSpPr>
          <p:nvPr/>
        </p:nvCxnSpPr>
        <p:spPr>
          <a:xfrm>
            <a:off x="957075" y="4345835"/>
            <a:ext cx="3018072"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1EFF80C-A6F0-3118-76A5-67B3BF5FC865}"/>
              </a:ext>
              <a:ext uri="{C183D7F6-B498-43B3-948B-1728B52AA6E4}">
                <adec:decorative xmlns:adec="http://schemas.microsoft.com/office/drawing/2017/decorative" val="1"/>
              </a:ext>
            </a:extLst>
          </p:cNvPr>
          <p:cNvCxnSpPr>
            <a:cxnSpLocks/>
          </p:cNvCxnSpPr>
          <p:nvPr/>
        </p:nvCxnSpPr>
        <p:spPr>
          <a:xfrm>
            <a:off x="8216851" y="4345835"/>
            <a:ext cx="3018072"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FDDC5C6-CA5F-6FF4-7A8F-CE17F08F9757}"/>
              </a:ext>
              <a:ext uri="{C183D7F6-B498-43B3-948B-1728B52AA6E4}">
                <adec:decorative xmlns:adec="http://schemas.microsoft.com/office/drawing/2017/decorative" val="1"/>
              </a:ext>
            </a:extLst>
          </p:cNvPr>
          <p:cNvCxnSpPr>
            <a:cxnSpLocks/>
          </p:cNvCxnSpPr>
          <p:nvPr/>
        </p:nvCxnSpPr>
        <p:spPr>
          <a:xfrm>
            <a:off x="4587788" y="4345835"/>
            <a:ext cx="3016423"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69E1D3E-F6D1-3FF1-1FA5-A63DA7BE5AC4}"/>
              </a:ext>
              <a:ext uri="{C183D7F6-B498-43B3-948B-1728B52AA6E4}">
                <adec:decorative xmlns:adec="http://schemas.microsoft.com/office/drawing/2017/decorative" val="1"/>
              </a:ext>
            </a:extLst>
          </p:cNvPr>
          <p:cNvCxnSpPr>
            <a:cxnSpLocks/>
          </p:cNvCxnSpPr>
          <p:nvPr/>
        </p:nvCxnSpPr>
        <p:spPr>
          <a:xfrm>
            <a:off x="957075" y="5296321"/>
            <a:ext cx="3018072"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B745136-3D8D-5D6C-8992-B2502A08169C}"/>
              </a:ext>
              <a:ext uri="{C183D7F6-B498-43B3-948B-1728B52AA6E4}">
                <adec:decorative xmlns:adec="http://schemas.microsoft.com/office/drawing/2017/decorative" val="1"/>
              </a:ext>
            </a:extLst>
          </p:cNvPr>
          <p:cNvCxnSpPr>
            <a:cxnSpLocks/>
          </p:cNvCxnSpPr>
          <p:nvPr/>
        </p:nvCxnSpPr>
        <p:spPr>
          <a:xfrm>
            <a:off x="8216851" y="5296321"/>
            <a:ext cx="3018072"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5E153F3-3EAE-0A22-7A13-97466FD604DD}"/>
              </a:ext>
              <a:ext uri="{C183D7F6-B498-43B3-948B-1728B52AA6E4}">
                <adec:decorative xmlns:adec="http://schemas.microsoft.com/office/drawing/2017/decorative" val="1"/>
              </a:ext>
            </a:extLst>
          </p:cNvPr>
          <p:cNvCxnSpPr>
            <a:cxnSpLocks/>
          </p:cNvCxnSpPr>
          <p:nvPr/>
        </p:nvCxnSpPr>
        <p:spPr>
          <a:xfrm>
            <a:off x="4587788" y="5296321"/>
            <a:ext cx="3016423" cy="0"/>
          </a:xfrm>
          <a:prstGeom prst="line">
            <a:avLst/>
          </a:prstGeom>
          <a:ln w="12700" cap="rnd">
            <a:solidFill>
              <a:srgbClr val="454142">
                <a:alpha val="20000"/>
              </a:srgbClr>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7AB32EE-0F7E-6CF8-AD8D-C77E00D0C70E}"/>
              </a:ext>
              <a:ext uri="{C183D7F6-B498-43B3-948B-1728B52AA6E4}">
                <adec:decorative xmlns:adec="http://schemas.microsoft.com/office/drawing/2017/decorative" val="0"/>
              </a:ext>
            </a:extLst>
          </p:cNvPr>
          <p:cNvSpPr>
            <a:spLocks noChangeAspect="1"/>
          </p:cNvSpPr>
          <p:nvPr/>
        </p:nvSpPr>
        <p:spPr bwMode="auto">
          <a:xfrm>
            <a:off x="8219088" y="5420134"/>
            <a:ext cx="3013598" cy="5250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panose="020B0702040204020203" pitchFamily="34" charset="0"/>
              </a:rPr>
              <a:t>Analyze Copilot &amp; agents impact to business outcomes</a:t>
            </a:r>
          </a:p>
        </p:txBody>
      </p:sp>
    </p:spTree>
    <p:extLst>
      <p:ext uri="{BB962C8B-B14F-4D97-AF65-F5344CB8AC3E}">
        <p14:creationId xmlns:p14="http://schemas.microsoft.com/office/powerpoint/2010/main" val="366461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8.33333E-7 -2.96296E-6 L -8.33333E-7 0.03542 " pathEditMode="relative" rAng="0" ptsTypes="AA">
                                      <p:cBhvr>
                                        <p:cTn id="9" dur="700" spd="-100000" fill="hold"/>
                                        <p:tgtEl>
                                          <p:spTgt spid="17"/>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0"/>
                                  </p:stCondLst>
                                  <p:childTnLst>
                                    <p:animMotion origin="layout" path="M -8.33333E-7 -2.96296E-6 L -8.33333E-7 0.03542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path" presetSubtype="0" decel="100000" fill="hold" grpId="1" nodeType="withEffect">
                                  <p:stCondLst>
                                    <p:cond delay="100"/>
                                  </p:stCondLst>
                                  <p:childTnLst>
                                    <p:animMotion origin="layout" path="M -8.33333E-7 -2.96296E-6 L -8.33333E-7 0.03542 " pathEditMode="relative" rAng="0" ptsTypes="AA">
                                      <p:cBhvr>
                                        <p:cTn id="19" dur="700" spd="-100000" fill="hold"/>
                                        <p:tgtEl>
                                          <p:spTgt spid="15"/>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grpId="1" nodeType="withEffect">
                                  <p:stCondLst>
                                    <p:cond delay="200"/>
                                  </p:stCondLst>
                                  <p:childTnLst>
                                    <p:animMotion origin="layout" path="M -8.33333E-7 -2.96296E-6 L -8.33333E-7 0.03542 " pathEditMode="relative" rAng="0" ptsTypes="AA">
                                      <p:cBhvr>
                                        <p:cTn id="24" dur="700" spd="-100000" fill="hold"/>
                                        <p:tgtEl>
                                          <p:spTgt spid="3"/>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42" presetClass="path" presetSubtype="0" decel="100000" fill="hold" grpId="1" nodeType="withEffect">
                                  <p:stCondLst>
                                    <p:cond delay="200"/>
                                  </p:stCondLst>
                                  <p:childTnLst>
                                    <p:animMotion origin="layout" path="M -8.33333E-7 -2.96296E-6 L -8.33333E-7 0.03542 " pathEditMode="relative" rAng="0" ptsTypes="AA">
                                      <p:cBhvr>
                                        <p:cTn id="29" dur="700" spd="-100000" fill="hold"/>
                                        <p:tgtEl>
                                          <p:spTgt spid="28"/>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par>
                                <p:cTn id="33" presetID="42" presetClass="path" presetSubtype="0" decel="100000" fill="hold" grpId="1" nodeType="withEffect">
                                  <p:stCondLst>
                                    <p:cond delay="200"/>
                                  </p:stCondLst>
                                  <p:childTnLst>
                                    <p:animMotion origin="layout" path="M -8.33333E-7 -2.96296E-6 L -8.33333E-7 0.03542 " pathEditMode="relative" rAng="0" ptsTypes="AA">
                                      <p:cBhvr>
                                        <p:cTn id="34" dur="700" spd="-100000" fill="hold"/>
                                        <p:tgtEl>
                                          <p:spTgt spid="29"/>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42" presetClass="path" presetSubtype="0" decel="100000" fill="hold" grpId="1" nodeType="withEffect">
                                  <p:stCondLst>
                                    <p:cond delay="200"/>
                                  </p:stCondLst>
                                  <p:childTnLst>
                                    <p:animMotion origin="layout" path="M -8.33333E-7 -2.96296E-6 L -8.33333E-7 0.03542 " pathEditMode="relative" rAng="0" ptsTypes="AA">
                                      <p:cBhvr>
                                        <p:cTn id="39" dur="700" spd="-100000" fill="hold"/>
                                        <p:tgtEl>
                                          <p:spTgt spid="12"/>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42" presetClass="path" presetSubtype="0" decel="100000" fill="hold" grpId="1" nodeType="withEffect">
                                  <p:stCondLst>
                                    <p:cond delay="200"/>
                                  </p:stCondLst>
                                  <p:childTnLst>
                                    <p:animMotion origin="layout" path="M -8.33333E-7 -2.96296E-6 L -8.33333E-7 0.03542 " pathEditMode="relative" rAng="0" ptsTypes="AA">
                                      <p:cBhvr>
                                        <p:cTn id="44" dur="700" spd="-100000" fill="hold"/>
                                        <p:tgtEl>
                                          <p:spTgt spid="18"/>
                                        </p:tgtEl>
                                        <p:attrNameLst>
                                          <p:attrName>ppt_x</p:attrName>
                                          <p:attrName>ppt_y</p:attrName>
                                        </p:attrNameLst>
                                      </p:cBhvr>
                                      <p:rCtr x="0" y="1759"/>
                                    </p:animMotion>
                                  </p:childTnLst>
                                </p:cTn>
                              </p:par>
                              <p:par>
                                <p:cTn id="45" presetID="10" presetClass="entr" presetSubtype="0" fill="hold" nodeType="withEffect">
                                  <p:stCondLst>
                                    <p:cond delay="20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par>
                                <p:cTn id="48" presetID="42" presetClass="path" presetSubtype="0" decel="100000" fill="hold" nodeType="withEffect">
                                  <p:stCondLst>
                                    <p:cond delay="200"/>
                                  </p:stCondLst>
                                  <p:childTnLst>
                                    <p:animMotion origin="layout" path="M -8.33333E-7 -2.96296E-6 L -8.33333E-7 0.03542 " pathEditMode="relative" rAng="0" ptsTypes="AA">
                                      <p:cBhvr>
                                        <p:cTn id="49" dur="700" spd="-100000" fill="hold"/>
                                        <p:tgtEl>
                                          <p:spTgt spid="6"/>
                                        </p:tgtEl>
                                        <p:attrNameLst>
                                          <p:attrName>ppt_x</p:attrName>
                                          <p:attrName>ppt_y</p:attrName>
                                        </p:attrNameLst>
                                      </p:cBhvr>
                                      <p:rCtr x="0" y="1759"/>
                                    </p:animMotion>
                                  </p:childTnLst>
                                </p:cTn>
                              </p:par>
                              <p:par>
                                <p:cTn id="50" presetID="10" presetClass="entr" presetSubtype="0" fill="hold" grpId="0" nodeType="withEffect">
                                  <p:stCondLst>
                                    <p:cond delay="20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par>
                                <p:cTn id="53" presetID="42" presetClass="path" presetSubtype="0" decel="100000" fill="hold" grpId="1" nodeType="withEffect">
                                  <p:stCondLst>
                                    <p:cond delay="200"/>
                                  </p:stCondLst>
                                  <p:childTnLst>
                                    <p:animMotion origin="layout" path="M -8.33333E-7 -2.96296E-6 L -8.33333E-7 0.03542 " pathEditMode="relative" rAng="0" ptsTypes="AA">
                                      <p:cBhvr>
                                        <p:cTn id="54" dur="700" spd="-100000" fill="hold"/>
                                        <p:tgtEl>
                                          <p:spTgt spid="21"/>
                                        </p:tgtEl>
                                        <p:attrNameLst>
                                          <p:attrName>ppt_x</p:attrName>
                                          <p:attrName>ppt_y</p:attrName>
                                        </p:attrNameLst>
                                      </p:cBhvr>
                                      <p:rCtr x="0" y="1759"/>
                                    </p:animMotion>
                                  </p:childTnLst>
                                </p:cTn>
                              </p:par>
                              <p:par>
                                <p:cTn id="55" presetID="10" presetClass="entr" presetSubtype="0" fill="hold" grpId="0" nodeType="withEffect">
                                  <p:stCondLst>
                                    <p:cond delay="20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42" presetClass="path" presetSubtype="0" decel="100000" fill="hold" grpId="1" nodeType="withEffect">
                                  <p:stCondLst>
                                    <p:cond delay="200"/>
                                  </p:stCondLst>
                                  <p:childTnLst>
                                    <p:animMotion origin="layout" path="M -8.33333E-7 -2.96296E-6 L -8.33333E-7 0.03542 " pathEditMode="relative" rAng="0" ptsTypes="AA">
                                      <p:cBhvr>
                                        <p:cTn id="59" dur="700" spd="-100000" fill="hold"/>
                                        <p:tgtEl>
                                          <p:spTgt spid="24"/>
                                        </p:tgtEl>
                                        <p:attrNameLst>
                                          <p:attrName>ppt_x</p:attrName>
                                          <p:attrName>ppt_y</p:attrName>
                                        </p:attrNameLst>
                                      </p:cBhvr>
                                      <p:rCtr x="0" y="1759"/>
                                    </p:animMotion>
                                  </p:childTnLst>
                                </p:cTn>
                              </p:par>
                              <p:par>
                                <p:cTn id="60" presetID="10" presetClass="entr" presetSubtype="0" fill="hold" nodeType="withEffect">
                                  <p:stCondLst>
                                    <p:cond delay="200"/>
                                  </p:stCondLst>
                                  <p:childTnLst>
                                    <p:set>
                                      <p:cBhvr>
                                        <p:cTn id="61" dur="1" fill="hold">
                                          <p:stCondLst>
                                            <p:cond delay="0"/>
                                          </p:stCondLst>
                                        </p:cTn>
                                        <p:tgtEl>
                                          <p:spTgt spid="9"/>
                                        </p:tgtEl>
                                        <p:attrNameLst>
                                          <p:attrName>style.visibility</p:attrName>
                                        </p:attrNameLst>
                                      </p:cBhvr>
                                      <p:to>
                                        <p:strVal val="visible"/>
                                      </p:to>
                                    </p:set>
                                    <p:animEffect transition="in" filter="fade">
                                      <p:cBhvr>
                                        <p:cTn id="62" dur="500"/>
                                        <p:tgtEl>
                                          <p:spTgt spid="9"/>
                                        </p:tgtEl>
                                      </p:cBhvr>
                                    </p:animEffect>
                                  </p:childTnLst>
                                </p:cTn>
                              </p:par>
                              <p:par>
                                <p:cTn id="63" presetID="42" presetClass="path" presetSubtype="0" decel="100000" fill="hold" nodeType="withEffect">
                                  <p:stCondLst>
                                    <p:cond delay="200"/>
                                  </p:stCondLst>
                                  <p:childTnLst>
                                    <p:animMotion origin="layout" path="M -8.33333E-7 -2.96296E-6 L -8.33333E-7 0.03542 " pathEditMode="relative" rAng="0" ptsTypes="AA">
                                      <p:cBhvr>
                                        <p:cTn id="64" dur="700" spd="-100000" fill="hold"/>
                                        <p:tgtEl>
                                          <p:spTgt spid="9"/>
                                        </p:tgtEl>
                                        <p:attrNameLst>
                                          <p:attrName>ppt_x</p:attrName>
                                          <p:attrName>ppt_y</p:attrName>
                                        </p:attrNameLst>
                                      </p:cBhvr>
                                      <p:rCtr x="0" y="1759"/>
                                    </p:animMotion>
                                  </p:childTnLst>
                                </p:cTn>
                              </p:par>
                              <p:par>
                                <p:cTn id="65" presetID="10" presetClass="entr" presetSubtype="0" fill="hold" grpId="0" nodeType="withEffect">
                                  <p:stCondLst>
                                    <p:cond delay="3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42" presetClass="path" presetSubtype="0" decel="100000" fill="hold" grpId="1" nodeType="withEffect">
                                  <p:stCondLst>
                                    <p:cond delay="300"/>
                                  </p:stCondLst>
                                  <p:childTnLst>
                                    <p:animMotion origin="layout" path="M -8.33333E-7 -2.96296E-6 L -8.33333E-7 0.03542 " pathEditMode="relative" rAng="0" ptsTypes="AA">
                                      <p:cBhvr>
                                        <p:cTn id="69" dur="700" spd="-100000" fill="hold"/>
                                        <p:tgtEl>
                                          <p:spTgt spid="5"/>
                                        </p:tgtEl>
                                        <p:attrNameLst>
                                          <p:attrName>ppt_x</p:attrName>
                                          <p:attrName>ppt_y</p:attrName>
                                        </p:attrNameLst>
                                      </p:cBhvr>
                                      <p:rCtr x="0" y="1759"/>
                                    </p:animMotion>
                                  </p:childTnLst>
                                </p:cTn>
                              </p:par>
                              <p:par>
                                <p:cTn id="70" presetID="10" presetClass="entr" presetSubtype="0" fill="hold" grpId="0" nodeType="withEffect">
                                  <p:stCondLst>
                                    <p:cond delay="300"/>
                                  </p:stCondLst>
                                  <p:childTnLst>
                                    <p:set>
                                      <p:cBhvr>
                                        <p:cTn id="71" dur="1" fill="hold">
                                          <p:stCondLst>
                                            <p:cond delay="0"/>
                                          </p:stCondLst>
                                        </p:cTn>
                                        <p:tgtEl>
                                          <p:spTgt spid="56"/>
                                        </p:tgtEl>
                                        <p:attrNameLst>
                                          <p:attrName>style.visibility</p:attrName>
                                        </p:attrNameLst>
                                      </p:cBhvr>
                                      <p:to>
                                        <p:strVal val="visible"/>
                                      </p:to>
                                    </p:set>
                                    <p:animEffect transition="in" filter="fade">
                                      <p:cBhvr>
                                        <p:cTn id="72" dur="500"/>
                                        <p:tgtEl>
                                          <p:spTgt spid="56"/>
                                        </p:tgtEl>
                                      </p:cBhvr>
                                    </p:animEffect>
                                  </p:childTnLst>
                                </p:cTn>
                              </p:par>
                              <p:par>
                                <p:cTn id="73" presetID="42" presetClass="path" presetSubtype="0" decel="100000" fill="hold" grpId="1" nodeType="withEffect">
                                  <p:stCondLst>
                                    <p:cond delay="300"/>
                                  </p:stCondLst>
                                  <p:childTnLst>
                                    <p:animMotion origin="layout" path="M -8.33333E-7 -2.96296E-6 L -8.33333E-7 0.03542 " pathEditMode="relative" rAng="0" ptsTypes="AA">
                                      <p:cBhvr>
                                        <p:cTn id="74" dur="700" spd="-100000" fill="hold"/>
                                        <p:tgtEl>
                                          <p:spTgt spid="56"/>
                                        </p:tgtEl>
                                        <p:attrNameLst>
                                          <p:attrName>ppt_x</p:attrName>
                                          <p:attrName>ppt_y</p:attrName>
                                        </p:attrNameLst>
                                      </p:cBhvr>
                                      <p:rCtr x="0" y="1759"/>
                                    </p:animMotion>
                                  </p:childTnLst>
                                </p:cTn>
                              </p:par>
                              <p:par>
                                <p:cTn id="75" presetID="10" presetClass="entr" presetSubtype="0" fill="hold" grpId="0" nodeType="withEffect">
                                  <p:stCondLst>
                                    <p:cond delay="300"/>
                                  </p:stCondLst>
                                  <p:childTnLst>
                                    <p:set>
                                      <p:cBhvr>
                                        <p:cTn id="76" dur="1" fill="hold">
                                          <p:stCondLst>
                                            <p:cond delay="0"/>
                                          </p:stCondLst>
                                        </p:cTn>
                                        <p:tgtEl>
                                          <p:spTgt spid="57"/>
                                        </p:tgtEl>
                                        <p:attrNameLst>
                                          <p:attrName>style.visibility</p:attrName>
                                        </p:attrNameLst>
                                      </p:cBhvr>
                                      <p:to>
                                        <p:strVal val="visible"/>
                                      </p:to>
                                    </p:set>
                                    <p:animEffect transition="in" filter="fade">
                                      <p:cBhvr>
                                        <p:cTn id="77" dur="500"/>
                                        <p:tgtEl>
                                          <p:spTgt spid="57"/>
                                        </p:tgtEl>
                                      </p:cBhvr>
                                    </p:animEffect>
                                  </p:childTnLst>
                                </p:cTn>
                              </p:par>
                              <p:par>
                                <p:cTn id="78" presetID="42" presetClass="path" presetSubtype="0" decel="100000" fill="hold" grpId="1" nodeType="withEffect">
                                  <p:stCondLst>
                                    <p:cond delay="300"/>
                                  </p:stCondLst>
                                  <p:childTnLst>
                                    <p:animMotion origin="layout" path="M -8.33333E-7 -2.96296E-6 L -8.33333E-7 0.03542 " pathEditMode="relative" rAng="0" ptsTypes="AA">
                                      <p:cBhvr>
                                        <p:cTn id="79" dur="700" spd="-100000" fill="hold"/>
                                        <p:tgtEl>
                                          <p:spTgt spid="57"/>
                                        </p:tgtEl>
                                        <p:attrNameLst>
                                          <p:attrName>ppt_x</p:attrName>
                                          <p:attrName>ppt_y</p:attrName>
                                        </p:attrNameLst>
                                      </p:cBhvr>
                                      <p:rCtr x="0" y="1759"/>
                                    </p:animMotion>
                                  </p:childTnLst>
                                </p:cTn>
                              </p:par>
                              <p:par>
                                <p:cTn id="80" presetID="10" presetClass="entr" presetSubtype="0" fill="hold" grpId="0" nodeType="withEffect">
                                  <p:stCondLst>
                                    <p:cond delay="30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childTnLst>
                                </p:cTn>
                              </p:par>
                              <p:par>
                                <p:cTn id="83" presetID="42" presetClass="path" presetSubtype="0" decel="100000" fill="hold" grpId="1" nodeType="withEffect">
                                  <p:stCondLst>
                                    <p:cond delay="300"/>
                                  </p:stCondLst>
                                  <p:childTnLst>
                                    <p:animMotion origin="layout" path="M -8.33333E-7 -2.96296E-6 L -8.33333E-7 0.03542 " pathEditMode="relative" rAng="0" ptsTypes="AA">
                                      <p:cBhvr>
                                        <p:cTn id="84" dur="700" spd="-100000" fill="hold"/>
                                        <p:tgtEl>
                                          <p:spTgt spid="13"/>
                                        </p:tgtEl>
                                        <p:attrNameLst>
                                          <p:attrName>ppt_x</p:attrName>
                                          <p:attrName>ppt_y</p:attrName>
                                        </p:attrNameLst>
                                      </p:cBhvr>
                                      <p:rCtr x="0" y="1759"/>
                                    </p:animMotion>
                                  </p:childTnLst>
                                </p:cTn>
                              </p:par>
                              <p:par>
                                <p:cTn id="85" presetID="10" presetClass="entr" presetSubtype="0" fill="hold" grpId="0" nodeType="withEffect">
                                  <p:stCondLst>
                                    <p:cond delay="300"/>
                                  </p:stCondLst>
                                  <p:childTnLst>
                                    <p:set>
                                      <p:cBhvr>
                                        <p:cTn id="86" dur="1" fill="hold">
                                          <p:stCondLst>
                                            <p:cond delay="0"/>
                                          </p:stCondLst>
                                        </p:cTn>
                                        <p:tgtEl>
                                          <p:spTgt spid="19"/>
                                        </p:tgtEl>
                                        <p:attrNameLst>
                                          <p:attrName>style.visibility</p:attrName>
                                        </p:attrNameLst>
                                      </p:cBhvr>
                                      <p:to>
                                        <p:strVal val="visible"/>
                                      </p:to>
                                    </p:set>
                                    <p:animEffect transition="in" filter="fade">
                                      <p:cBhvr>
                                        <p:cTn id="87" dur="500"/>
                                        <p:tgtEl>
                                          <p:spTgt spid="19"/>
                                        </p:tgtEl>
                                      </p:cBhvr>
                                    </p:animEffect>
                                  </p:childTnLst>
                                </p:cTn>
                              </p:par>
                              <p:par>
                                <p:cTn id="88" presetID="42" presetClass="path" presetSubtype="0" decel="100000" fill="hold" grpId="1" nodeType="withEffect">
                                  <p:stCondLst>
                                    <p:cond delay="300"/>
                                  </p:stCondLst>
                                  <p:childTnLst>
                                    <p:animMotion origin="layout" path="M -8.33333E-7 -2.96296E-6 L -8.33333E-7 0.03542 " pathEditMode="relative" rAng="0" ptsTypes="AA">
                                      <p:cBhvr>
                                        <p:cTn id="89" dur="700" spd="-100000" fill="hold"/>
                                        <p:tgtEl>
                                          <p:spTgt spid="19"/>
                                        </p:tgtEl>
                                        <p:attrNameLst>
                                          <p:attrName>ppt_x</p:attrName>
                                          <p:attrName>ppt_y</p:attrName>
                                        </p:attrNameLst>
                                      </p:cBhvr>
                                      <p:rCtr x="0" y="1759"/>
                                    </p:animMotion>
                                  </p:childTnLst>
                                </p:cTn>
                              </p:par>
                              <p:par>
                                <p:cTn id="90" presetID="10" presetClass="entr" presetSubtype="0" fill="hold" nodeType="withEffect">
                                  <p:stCondLst>
                                    <p:cond delay="300"/>
                                  </p:stCondLst>
                                  <p:childTnLst>
                                    <p:set>
                                      <p:cBhvr>
                                        <p:cTn id="91" dur="1" fill="hold">
                                          <p:stCondLst>
                                            <p:cond delay="0"/>
                                          </p:stCondLst>
                                        </p:cTn>
                                        <p:tgtEl>
                                          <p:spTgt spid="8"/>
                                        </p:tgtEl>
                                        <p:attrNameLst>
                                          <p:attrName>style.visibility</p:attrName>
                                        </p:attrNameLst>
                                      </p:cBhvr>
                                      <p:to>
                                        <p:strVal val="visible"/>
                                      </p:to>
                                    </p:set>
                                    <p:animEffect transition="in" filter="fade">
                                      <p:cBhvr>
                                        <p:cTn id="92" dur="500"/>
                                        <p:tgtEl>
                                          <p:spTgt spid="8"/>
                                        </p:tgtEl>
                                      </p:cBhvr>
                                    </p:animEffect>
                                  </p:childTnLst>
                                </p:cTn>
                              </p:par>
                              <p:par>
                                <p:cTn id="93" presetID="42" presetClass="path" presetSubtype="0" decel="100000" fill="hold" nodeType="withEffect">
                                  <p:stCondLst>
                                    <p:cond delay="300"/>
                                  </p:stCondLst>
                                  <p:childTnLst>
                                    <p:animMotion origin="layout" path="M -8.33333E-7 -2.96296E-6 L -8.33333E-7 0.03542 " pathEditMode="relative" rAng="0" ptsTypes="AA">
                                      <p:cBhvr>
                                        <p:cTn id="94" dur="700" spd="-100000" fill="hold"/>
                                        <p:tgtEl>
                                          <p:spTgt spid="8"/>
                                        </p:tgtEl>
                                        <p:attrNameLst>
                                          <p:attrName>ppt_x</p:attrName>
                                          <p:attrName>ppt_y</p:attrName>
                                        </p:attrNameLst>
                                      </p:cBhvr>
                                      <p:rCtr x="0" y="1759"/>
                                    </p:animMotion>
                                  </p:childTnLst>
                                </p:cTn>
                              </p:par>
                              <p:par>
                                <p:cTn id="95" presetID="10" presetClass="entr" presetSubtype="0" fill="hold" grpId="0" nodeType="withEffect">
                                  <p:stCondLst>
                                    <p:cond delay="300"/>
                                  </p:stCondLst>
                                  <p:childTnLst>
                                    <p:set>
                                      <p:cBhvr>
                                        <p:cTn id="96" dur="1" fill="hold">
                                          <p:stCondLst>
                                            <p:cond delay="0"/>
                                          </p:stCondLst>
                                        </p:cTn>
                                        <p:tgtEl>
                                          <p:spTgt spid="25"/>
                                        </p:tgtEl>
                                        <p:attrNameLst>
                                          <p:attrName>style.visibility</p:attrName>
                                        </p:attrNameLst>
                                      </p:cBhvr>
                                      <p:to>
                                        <p:strVal val="visible"/>
                                      </p:to>
                                    </p:set>
                                    <p:animEffect transition="in" filter="fade">
                                      <p:cBhvr>
                                        <p:cTn id="97" dur="500"/>
                                        <p:tgtEl>
                                          <p:spTgt spid="25"/>
                                        </p:tgtEl>
                                      </p:cBhvr>
                                    </p:animEffect>
                                  </p:childTnLst>
                                </p:cTn>
                              </p:par>
                              <p:par>
                                <p:cTn id="98" presetID="42" presetClass="path" presetSubtype="0" decel="100000" fill="hold" grpId="1" nodeType="withEffect">
                                  <p:stCondLst>
                                    <p:cond delay="300"/>
                                  </p:stCondLst>
                                  <p:childTnLst>
                                    <p:animMotion origin="layout" path="M -8.33333E-7 -2.96296E-6 L -8.33333E-7 0.03542 " pathEditMode="relative" rAng="0" ptsTypes="AA">
                                      <p:cBhvr>
                                        <p:cTn id="99" dur="700" spd="-100000" fill="hold"/>
                                        <p:tgtEl>
                                          <p:spTgt spid="25"/>
                                        </p:tgtEl>
                                        <p:attrNameLst>
                                          <p:attrName>ppt_x</p:attrName>
                                          <p:attrName>ppt_y</p:attrName>
                                        </p:attrNameLst>
                                      </p:cBhvr>
                                      <p:rCtr x="0" y="1759"/>
                                    </p:animMotion>
                                  </p:childTnLst>
                                </p:cTn>
                              </p:par>
                              <p:par>
                                <p:cTn id="100" presetID="10" presetClass="entr" presetSubtype="0" fill="hold" nodeType="withEffect">
                                  <p:stCondLst>
                                    <p:cond delay="300"/>
                                  </p:stCondLst>
                                  <p:childTnLst>
                                    <p:set>
                                      <p:cBhvr>
                                        <p:cTn id="101" dur="1" fill="hold">
                                          <p:stCondLst>
                                            <p:cond delay="0"/>
                                          </p:stCondLst>
                                        </p:cTn>
                                        <p:tgtEl>
                                          <p:spTgt spid="11"/>
                                        </p:tgtEl>
                                        <p:attrNameLst>
                                          <p:attrName>style.visibility</p:attrName>
                                        </p:attrNameLst>
                                      </p:cBhvr>
                                      <p:to>
                                        <p:strVal val="visible"/>
                                      </p:to>
                                    </p:set>
                                    <p:animEffect transition="in" filter="fade">
                                      <p:cBhvr>
                                        <p:cTn id="102" dur="500"/>
                                        <p:tgtEl>
                                          <p:spTgt spid="11"/>
                                        </p:tgtEl>
                                      </p:cBhvr>
                                    </p:animEffect>
                                  </p:childTnLst>
                                </p:cTn>
                              </p:par>
                              <p:par>
                                <p:cTn id="103" presetID="42" presetClass="path" presetSubtype="0" decel="100000" fill="hold" nodeType="withEffect">
                                  <p:stCondLst>
                                    <p:cond delay="300"/>
                                  </p:stCondLst>
                                  <p:childTnLst>
                                    <p:animMotion origin="layout" path="M -8.33333E-7 -2.96296E-6 L -8.33333E-7 0.03542 " pathEditMode="relative" rAng="0" ptsTypes="AA">
                                      <p:cBhvr>
                                        <p:cTn id="104" dur="700" spd="-100000" fill="hold"/>
                                        <p:tgtEl>
                                          <p:spTgt spid="11"/>
                                        </p:tgtEl>
                                        <p:attrNameLst>
                                          <p:attrName>ppt_x</p:attrName>
                                          <p:attrName>ppt_y</p:attrName>
                                        </p:attrNameLst>
                                      </p:cBhvr>
                                      <p:rCtr x="0" y="1759"/>
                                    </p:animMotion>
                                  </p:childTnLst>
                                </p:cTn>
                              </p:par>
                              <p:par>
                                <p:cTn id="105" presetID="10" presetClass="entr" presetSubtype="0" fill="hold" grpId="0" nodeType="withEffect">
                                  <p:stCondLst>
                                    <p:cond delay="300"/>
                                  </p:stCondLst>
                                  <p:childTnLst>
                                    <p:set>
                                      <p:cBhvr>
                                        <p:cTn id="106" dur="1" fill="hold">
                                          <p:stCondLst>
                                            <p:cond delay="0"/>
                                          </p:stCondLst>
                                        </p:cTn>
                                        <p:tgtEl>
                                          <p:spTgt spid="22"/>
                                        </p:tgtEl>
                                        <p:attrNameLst>
                                          <p:attrName>style.visibility</p:attrName>
                                        </p:attrNameLst>
                                      </p:cBhvr>
                                      <p:to>
                                        <p:strVal val="visible"/>
                                      </p:to>
                                    </p:set>
                                    <p:animEffect transition="in" filter="fade">
                                      <p:cBhvr>
                                        <p:cTn id="107" dur="500"/>
                                        <p:tgtEl>
                                          <p:spTgt spid="22"/>
                                        </p:tgtEl>
                                      </p:cBhvr>
                                    </p:animEffect>
                                  </p:childTnLst>
                                </p:cTn>
                              </p:par>
                              <p:par>
                                <p:cTn id="108" presetID="42" presetClass="path" presetSubtype="0" decel="100000" fill="hold" grpId="1" nodeType="withEffect">
                                  <p:stCondLst>
                                    <p:cond delay="300"/>
                                  </p:stCondLst>
                                  <p:childTnLst>
                                    <p:animMotion origin="layout" path="M -8.33333E-7 -2.96296E-6 L -8.33333E-7 0.03542 " pathEditMode="relative" rAng="0" ptsTypes="AA">
                                      <p:cBhvr>
                                        <p:cTn id="109" dur="700" spd="-100000" fill="hold"/>
                                        <p:tgtEl>
                                          <p:spTgt spid="22"/>
                                        </p:tgtEl>
                                        <p:attrNameLst>
                                          <p:attrName>ppt_x</p:attrName>
                                          <p:attrName>ppt_y</p:attrName>
                                        </p:attrNameLst>
                                      </p:cBhvr>
                                      <p:rCtr x="0" y="1759"/>
                                    </p:animMotion>
                                  </p:childTnLst>
                                </p:cTn>
                              </p:par>
                              <p:par>
                                <p:cTn id="110" presetID="10" presetClass="entr" presetSubtype="0" fill="hold" grpId="0" nodeType="withEffect">
                                  <p:stCondLst>
                                    <p:cond delay="400"/>
                                  </p:stCondLst>
                                  <p:childTnLst>
                                    <p:set>
                                      <p:cBhvr>
                                        <p:cTn id="111" dur="1" fill="hold">
                                          <p:stCondLst>
                                            <p:cond delay="0"/>
                                          </p:stCondLst>
                                        </p:cTn>
                                        <p:tgtEl>
                                          <p:spTgt spid="4"/>
                                        </p:tgtEl>
                                        <p:attrNameLst>
                                          <p:attrName>style.visibility</p:attrName>
                                        </p:attrNameLst>
                                      </p:cBhvr>
                                      <p:to>
                                        <p:strVal val="visible"/>
                                      </p:to>
                                    </p:set>
                                    <p:animEffect transition="in" filter="fade">
                                      <p:cBhvr>
                                        <p:cTn id="112" dur="500"/>
                                        <p:tgtEl>
                                          <p:spTgt spid="4"/>
                                        </p:tgtEl>
                                      </p:cBhvr>
                                    </p:animEffect>
                                  </p:childTnLst>
                                </p:cTn>
                              </p:par>
                              <p:par>
                                <p:cTn id="113" presetID="42" presetClass="path" presetSubtype="0" decel="100000" fill="hold" grpId="1" nodeType="withEffect">
                                  <p:stCondLst>
                                    <p:cond delay="400"/>
                                  </p:stCondLst>
                                  <p:childTnLst>
                                    <p:animMotion origin="layout" path="M -8.33333E-7 -2.96296E-6 L -8.33333E-7 0.03542 " pathEditMode="relative" rAng="0" ptsTypes="AA">
                                      <p:cBhvr>
                                        <p:cTn id="114" dur="700" spd="-100000" fill="hold"/>
                                        <p:tgtEl>
                                          <p:spTgt spid="4"/>
                                        </p:tgtEl>
                                        <p:attrNameLst>
                                          <p:attrName>ppt_x</p:attrName>
                                          <p:attrName>ppt_y</p:attrName>
                                        </p:attrNameLst>
                                      </p:cBhvr>
                                      <p:rCtr x="0" y="1759"/>
                                    </p:animMotion>
                                  </p:childTnLst>
                                </p:cTn>
                              </p:par>
                              <p:par>
                                <p:cTn id="115" presetID="10" presetClass="entr" presetSubtype="0" fill="hold" grpId="0" nodeType="withEffect">
                                  <p:stCondLst>
                                    <p:cond delay="400"/>
                                  </p:stCondLst>
                                  <p:childTnLst>
                                    <p:set>
                                      <p:cBhvr>
                                        <p:cTn id="116" dur="1" fill="hold">
                                          <p:stCondLst>
                                            <p:cond delay="0"/>
                                          </p:stCondLst>
                                        </p:cTn>
                                        <p:tgtEl>
                                          <p:spTgt spid="59"/>
                                        </p:tgtEl>
                                        <p:attrNameLst>
                                          <p:attrName>style.visibility</p:attrName>
                                        </p:attrNameLst>
                                      </p:cBhvr>
                                      <p:to>
                                        <p:strVal val="visible"/>
                                      </p:to>
                                    </p:set>
                                    <p:animEffect transition="in" filter="fade">
                                      <p:cBhvr>
                                        <p:cTn id="117" dur="500"/>
                                        <p:tgtEl>
                                          <p:spTgt spid="59"/>
                                        </p:tgtEl>
                                      </p:cBhvr>
                                    </p:animEffect>
                                  </p:childTnLst>
                                </p:cTn>
                              </p:par>
                              <p:par>
                                <p:cTn id="118" presetID="42" presetClass="path" presetSubtype="0" decel="100000" fill="hold" grpId="1" nodeType="withEffect">
                                  <p:stCondLst>
                                    <p:cond delay="400"/>
                                  </p:stCondLst>
                                  <p:childTnLst>
                                    <p:animMotion origin="layout" path="M -8.33333E-7 -2.96296E-6 L -8.33333E-7 0.03542 " pathEditMode="relative" rAng="0" ptsTypes="AA">
                                      <p:cBhvr>
                                        <p:cTn id="119" dur="700" spd="-100000" fill="hold"/>
                                        <p:tgtEl>
                                          <p:spTgt spid="59"/>
                                        </p:tgtEl>
                                        <p:attrNameLst>
                                          <p:attrName>ppt_x</p:attrName>
                                          <p:attrName>ppt_y</p:attrName>
                                        </p:attrNameLst>
                                      </p:cBhvr>
                                      <p:rCtr x="0" y="1759"/>
                                    </p:animMotion>
                                  </p:childTnLst>
                                </p:cTn>
                              </p:par>
                              <p:par>
                                <p:cTn id="120" presetID="10" presetClass="entr" presetSubtype="0" fill="hold" grpId="0" nodeType="withEffect">
                                  <p:stCondLst>
                                    <p:cond delay="400"/>
                                  </p:stCondLst>
                                  <p:childTnLst>
                                    <p:set>
                                      <p:cBhvr>
                                        <p:cTn id="121" dur="1" fill="hold">
                                          <p:stCondLst>
                                            <p:cond delay="0"/>
                                          </p:stCondLst>
                                        </p:cTn>
                                        <p:tgtEl>
                                          <p:spTgt spid="2"/>
                                        </p:tgtEl>
                                        <p:attrNameLst>
                                          <p:attrName>style.visibility</p:attrName>
                                        </p:attrNameLst>
                                      </p:cBhvr>
                                      <p:to>
                                        <p:strVal val="visible"/>
                                      </p:to>
                                    </p:set>
                                    <p:animEffect transition="in" filter="fade">
                                      <p:cBhvr>
                                        <p:cTn id="122" dur="500"/>
                                        <p:tgtEl>
                                          <p:spTgt spid="2"/>
                                        </p:tgtEl>
                                      </p:cBhvr>
                                    </p:animEffect>
                                  </p:childTnLst>
                                </p:cTn>
                              </p:par>
                              <p:par>
                                <p:cTn id="123" presetID="42" presetClass="path" presetSubtype="0" decel="100000" fill="hold" grpId="1" nodeType="withEffect">
                                  <p:stCondLst>
                                    <p:cond delay="400"/>
                                  </p:stCondLst>
                                  <p:childTnLst>
                                    <p:animMotion origin="layout" path="M -8.33333E-7 -2.96296E-6 L -8.33333E-7 0.03542 " pathEditMode="relative" rAng="0" ptsTypes="AA">
                                      <p:cBhvr>
                                        <p:cTn id="124" dur="700" spd="-100000" fill="hold"/>
                                        <p:tgtEl>
                                          <p:spTgt spid="2"/>
                                        </p:tgtEl>
                                        <p:attrNameLst>
                                          <p:attrName>ppt_x</p:attrName>
                                          <p:attrName>ppt_y</p:attrName>
                                        </p:attrNameLst>
                                      </p:cBhvr>
                                      <p:rCtr x="0" y="1759"/>
                                    </p:animMotion>
                                  </p:childTnLst>
                                </p:cTn>
                              </p:par>
                              <p:par>
                                <p:cTn id="125" presetID="10" presetClass="entr" presetSubtype="0" fill="hold" grpId="0" nodeType="withEffect">
                                  <p:stCondLst>
                                    <p:cond delay="400"/>
                                  </p:stCondLst>
                                  <p:childTnLst>
                                    <p:set>
                                      <p:cBhvr>
                                        <p:cTn id="126" dur="1" fill="hold">
                                          <p:stCondLst>
                                            <p:cond delay="0"/>
                                          </p:stCondLst>
                                        </p:cTn>
                                        <p:tgtEl>
                                          <p:spTgt spid="14"/>
                                        </p:tgtEl>
                                        <p:attrNameLst>
                                          <p:attrName>style.visibility</p:attrName>
                                        </p:attrNameLst>
                                      </p:cBhvr>
                                      <p:to>
                                        <p:strVal val="visible"/>
                                      </p:to>
                                    </p:set>
                                    <p:animEffect transition="in" filter="fade">
                                      <p:cBhvr>
                                        <p:cTn id="127" dur="500"/>
                                        <p:tgtEl>
                                          <p:spTgt spid="14"/>
                                        </p:tgtEl>
                                      </p:cBhvr>
                                    </p:animEffect>
                                  </p:childTnLst>
                                </p:cTn>
                              </p:par>
                              <p:par>
                                <p:cTn id="128" presetID="42" presetClass="path" presetSubtype="0" decel="100000" fill="hold" grpId="1" nodeType="withEffect">
                                  <p:stCondLst>
                                    <p:cond delay="400"/>
                                  </p:stCondLst>
                                  <p:childTnLst>
                                    <p:animMotion origin="layout" path="M -8.33333E-7 -2.96296E-6 L -8.33333E-7 0.03542 " pathEditMode="relative" rAng="0" ptsTypes="AA">
                                      <p:cBhvr>
                                        <p:cTn id="129" dur="700" spd="-100000" fill="hold"/>
                                        <p:tgtEl>
                                          <p:spTgt spid="14"/>
                                        </p:tgtEl>
                                        <p:attrNameLst>
                                          <p:attrName>ppt_x</p:attrName>
                                          <p:attrName>ppt_y</p:attrName>
                                        </p:attrNameLst>
                                      </p:cBhvr>
                                      <p:rCtr x="0" y="1759"/>
                                    </p:animMotion>
                                  </p:childTnLst>
                                </p:cTn>
                              </p:par>
                              <p:par>
                                <p:cTn id="130" presetID="10" presetClass="entr" presetSubtype="0" fill="hold" grpId="0" nodeType="withEffect">
                                  <p:stCondLst>
                                    <p:cond delay="400"/>
                                  </p:stCondLst>
                                  <p:childTnLst>
                                    <p:set>
                                      <p:cBhvr>
                                        <p:cTn id="131" dur="1" fill="hold">
                                          <p:stCondLst>
                                            <p:cond delay="0"/>
                                          </p:stCondLst>
                                        </p:cTn>
                                        <p:tgtEl>
                                          <p:spTgt spid="20"/>
                                        </p:tgtEl>
                                        <p:attrNameLst>
                                          <p:attrName>style.visibility</p:attrName>
                                        </p:attrNameLst>
                                      </p:cBhvr>
                                      <p:to>
                                        <p:strVal val="visible"/>
                                      </p:to>
                                    </p:set>
                                    <p:animEffect transition="in" filter="fade">
                                      <p:cBhvr>
                                        <p:cTn id="132" dur="500"/>
                                        <p:tgtEl>
                                          <p:spTgt spid="20"/>
                                        </p:tgtEl>
                                      </p:cBhvr>
                                    </p:animEffect>
                                  </p:childTnLst>
                                </p:cTn>
                              </p:par>
                              <p:par>
                                <p:cTn id="133" presetID="42" presetClass="path" presetSubtype="0" decel="100000" fill="hold" grpId="1" nodeType="withEffect">
                                  <p:stCondLst>
                                    <p:cond delay="400"/>
                                  </p:stCondLst>
                                  <p:childTnLst>
                                    <p:animMotion origin="layout" path="M -8.33333E-7 -2.96296E-6 L -8.33333E-7 0.03542 " pathEditMode="relative" rAng="0" ptsTypes="AA">
                                      <p:cBhvr>
                                        <p:cTn id="134" dur="700" spd="-100000" fill="hold"/>
                                        <p:tgtEl>
                                          <p:spTgt spid="20"/>
                                        </p:tgtEl>
                                        <p:attrNameLst>
                                          <p:attrName>ppt_x</p:attrName>
                                          <p:attrName>ppt_y</p:attrName>
                                        </p:attrNameLst>
                                      </p:cBhvr>
                                      <p:rCtr x="0" y="1759"/>
                                    </p:animMotion>
                                  </p:childTnLst>
                                </p:cTn>
                              </p:par>
                              <p:par>
                                <p:cTn id="135" presetID="10" presetClass="entr" presetSubtype="0" fill="hold" nodeType="withEffect">
                                  <p:stCondLst>
                                    <p:cond delay="400"/>
                                  </p:stCondLst>
                                  <p:childTnLst>
                                    <p:set>
                                      <p:cBhvr>
                                        <p:cTn id="136" dur="1" fill="hold">
                                          <p:stCondLst>
                                            <p:cond delay="0"/>
                                          </p:stCondLst>
                                        </p:cTn>
                                        <p:tgtEl>
                                          <p:spTgt spid="7"/>
                                        </p:tgtEl>
                                        <p:attrNameLst>
                                          <p:attrName>style.visibility</p:attrName>
                                        </p:attrNameLst>
                                      </p:cBhvr>
                                      <p:to>
                                        <p:strVal val="visible"/>
                                      </p:to>
                                    </p:set>
                                    <p:animEffect transition="in" filter="fade">
                                      <p:cBhvr>
                                        <p:cTn id="137" dur="500"/>
                                        <p:tgtEl>
                                          <p:spTgt spid="7"/>
                                        </p:tgtEl>
                                      </p:cBhvr>
                                    </p:animEffect>
                                  </p:childTnLst>
                                </p:cTn>
                              </p:par>
                              <p:par>
                                <p:cTn id="138" presetID="42" presetClass="path" presetSubtype="0" decel="100000" fill="hold" nodeType="withEffect">
                                  <p:stCondLst>
                                    <p:cond delay="400"/>
                                  </p:stCondLst>
                                  <p:childTnLst>
                                    <p:animMotion origin="layout" path="M -8.33333E-7 -2.96296E-6 L -8.33333E-7 0.03542 " pathEditMode="relative" rAng="0" ptsTypes="AA">
                                      <p:cBhvr>
                                        <p:cTn id="139" dur="700" spd="-100000" fill="hold"/>
                                        <p:tgtEl>
                                          <p:spTgt spid="7"/>
                                        </p:tgtEl>
                                        <p:attrNameLst>
                                          <p:attrName>ppt_x</p:attrName>
                                          <p:attrName>ppt_y</p:attrName>
                                        </p:attrNameLst>
                                      </p:cBhvr>
                                      <p:rCtr x="0" y="1759"/>
                                    </p:animMotion>
                                  </p:childTnLst>
                                </p:cTn>
                              </p:par>
                              <p:par>
                                <p:cTn id="140" presetID="10" presetClass="entr" presetSubtype="0" fill="hold" grpId="0" nodeType="withEffect">
                                  <p:stCondLst>
                                    <p:cond delay="400"/>
                                  </p:stCondLst>
                                  <p:childTnLst>
                                    <p:set>
                                      <p:cBhvr>
                                        <p:cTn id="141" dur="1" fill="hold">
                                          <p:stCondLst>
                                            <p:cond delay="0"/>
                                          </p:stCondLst>
                                        </p:cTn>
                                        <p:tgtEl>
                                          <p:spTgt spid="26"/>
                                        </p:tgtEl>
                                        <p:attrNameLst>
                                          <p:attrName>style.visibility</p:attrName>
                                        </p:attrNameLst>
                                      </p:cBhvr>
                                      <p:to>
                                        <p:strVal val="visible"/>
                                      </p:to>
                                    </p:set>
                                    <p:animEffect transition="in" filter="fade">
                                      <p:cBhvr>
                                        <p:cTn id="142" dur="500"/>
                                        <p:tgtEl>
                                          <p:spTgt spid="26"/>
                                        </p:tgtEl>
                                      </p:cBhvr>
                                    </p:animEffect>
                                  </p:childTnLst>
                                </p:cTn>
                              </p:par>
                              <p:par>
                                <p:cTn id="143" presetID="42" presetClass="path" presetSubtype="0" decel="100000" fill="hold" grpId="1" nodeType="withEffect">
                                  <p:stCondLst>
                                    <p:cond delay="400"/>
                                  </p:stCondLst>
                                  <p:childTnLst>
                                    <p:animMotion origin="layout" path="M -8.33333E-7 -2.96296E-6 L -8.33333E-7 0.03542 " pathEditMode="relative" rAng="0" ptsTypes="AA">
                                      <p:cBhvr>
                                        <p:cTn id="144" dur="700" spd="-100000" fill="hold"/>
                                        <p:tgtEl>
                                          <p:spTgt spid="26"/>
                                        </p:tgtEl>
                                        <p:attrNameLst>
                                          <p:attrName>ppt_x</p:attrName>
                                          <p:attrName>ppt_y</p:attrName>
                                        </p:attrNameLst>
                                      </p:cBhvr>
                                      <p:rCtr x="0" y="1759"/>
                                    </p:animMotion>
                                  </p:childTnLst>
                                </p:cTn>
                              </p:par>
                              <p:par>
                                <p:cTn id="145" presetID="10" presetClass="entr" presetSubtype="0" fill="hold" nodeType="withEffect">
                                  <p:stCondLst>
                                    <p:cond delay="400"/>
                                  </p:stCondLst>
                                  <p:childTnLst>
                                    <p:set>
                                      <p:cBhvr>
                                        <p:cTn id="146" dur="1" fill="hold">
                                          <p:stCondLst>
                                            <p:cond delay="0"/>
                                          </p:stCondLst>
                                        </p:cTn>
                                        <p:tgtEl>
                                          <p:spTgt spid="10"/>
                                        </p:tgtEl>
                                        <p:attrNameLst>
                                          <p:attrName>style.visibility</p:attrName>
                                        </p:attrNameLst>
                                      </p:cBhvr>
                                      <p:to>
                                        <p:strVal val="visible"/>
                                      </p:to>
                                    </p:set>
                                    <p:animEffect transition="in" filter="fade">
                                      <p:cBhvr>
                                        <p:cTn id="147" dur="500"/>
                                        <p:tgtEl>
                                          <p:spTgt spid="10"/>
                                        </p:tgtEl>
                                      </p:cBhvr>
                                    </p:animEffect>
                                  </p:childTnLst>
                                </p:cTn>
                              </p:par>
                              <p:par>
                                <p:cTn id="148" presetID="42" presetClass="path" presetSubtype="0" decel="100000" fill="hold" nodeType="withEffect">
                                  <p:stCondLst>
                                    <p:cond delay="400"/>
                                  </p:stCondLst>
                                  <p:childTnLst>
                                    <p:animMotion origin="layout" path="M -8.33333E-7 -2.96296E-6 L -8.33333E-7 0.03542 " pathEditMode="relative" rAng="0" ptsTypes="AA">
                                      <p:cBhvr>
                                        <p:cTn id="149" dur="700" spd="-100000" fill="hold"/>
                                        <p:tgtEl>
                                          <p:spTgt spid="10"/>
                                        </p:tgtEl>
                                        <p:attrNameLst>
                                          <p:attrName>ppt_x</p:attrName>
                                          <p:attrName>ppt_y</p:attrName>
                                        </p:attrNameLst>
                                      </p:cBhvr>
                                      <p:rCtr x="0" y="1759"/>
                                    </p:animMotion>
                                  </p:childTnLst>
                                </p:cTn>
                              </p:par>
                              <p:par>
                                <p:cTn id="150" presetID="10" presetClass="entr" presetSubtype="0" fill="hold" grpId="0" nodeType="withEffect">
                                  <p:stCondLst>
                                    <p:cond delay="400"/>
                                  </p:stCondLst>
                                  <p:childTnLst>
                                    <p:set>
                                      <p:cBhvr>
                                        <p:cTn id="151" dur="1" fill="hold">
                                          <p:stCondLst>
                                            <p:cond delay="0"/>
                                          </p:stCondLst>
                                        </p:cTn>
                                        <p:tgtEl>
                                          <p:spTgt spid="23"/>
                                        </p:tgtEl>
                                        <p:attrNameLst>
                                          <p:attrName>style.visibility</p:attrName>
                                        </p:attrNameLst>
                                      </p:cBhvr>
                                      <p:to>
                                        <p:strVal val="visible"/>
                                      </p:to>
                                    </p:set>
                                    <p:animEffect transition="in" filter="fade">
                                      <p:cBhvr>
                                        <p:cTn id="152" dur="500"/>
                                        <p:tgtEl>
                                          <p:spTgt spid="23"/>
                                        </p:tgtEl>
                                      </p:cBhvr>
                                    </p:animEffect>
                                  </p:childTnLst>
                                </p:cTn>
                              </p:par>
                              <p:par>
                                <p:cTn id="153" presetID="42" presetClass="path" presetSubtype="0" decel="100000" fill="hold" grpId="1" nodeType="withEffect">
                                  <p:stCondLst>
                                    <p:cond delay="400"/>
                                  </p:stCondLst>
                                  <p:childTnLst>
                                    <p:animMotion origin="layout" path="M -8.33333E-7 -2.96296E-6 L -8.33333E-7 0.03542 " pathEditMode="relative" rAng="0" ptsTypes="AA">
                                      <p:cBhvr>
                                        <p:cTn id="154" dur="700" spd="-100000" fill="hold"/>
                                        <p:tgtEl>
                                          <p:spTgt spid="2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6" grpId="0"/>
      <p:bldP spid="16" grpId="1"/>
      <p:bldP spid="15" grpId="0" animBg="1"/>
      <p:bldP spid="15" grpId="1" animBg="1"/>
      <p:bldP spid="3" grpId="0" animBg="1"/>
      <p:bldP spid="3" grpId="1" animBg="1"/>
      <p:bldP spid="28" grpId="0" animBg="1"/>
      <p:bldP spid="28" grpId="1" animBg="1"/>
      <p:bldP spid="29" grpId="0" animBg="1"/>
      <p:bldP spid="29" grpId="1" animBg="1"/>
      <p:bldP spid="12" grpId="0"/>
      <p:bldP spid="12" grpId="1"/>
      <p:bldP spid="18" grpId="0"/>
      <p:bldP spid="18" grpId="1"/>
      <p:bldP spid="24" grpId="0"/>
      <p:bldP spid="24" grpId="1"/>
      <p:bldP spid="21" grpId="0"/>
      <p:bldP spid="21" grpId="1"/>
      <p:bldP spid="56" grpId="0" animBg="1"/>
      <p:bldP spid="56" grpId="1" animBg="1"/>
      <p:bldP spid="57" grpId="0" animBg="1"/>
      <p:bldP spid="57" grpId="1" animBg="1"/>
      <p:bldP spid="13" grpId="0"/>
      <p:bldP spid="13" grpId="1"/>
      <p:bldP spid="19" grpId="0"/>
      <p:bldP spid="19" grpId="1"/>
      <p:bldP spid="25" grpId="0"/>
      <p:bldP spid="25" grpId="1"/>
      <p:bldP spid="22" grpId="0"/>
      <p:bldP spid="22" grpId="1"/>
      <p:bldP spid="59" grpId="0" animBg="1"/>
      <p:bldP spid="59" grpId="1" animBg="1"/>
      <p:bldP spid="2" grpId="0" animBg="1"/>
      <p:bldP spid="2" grpId="1" animBg="1"/>
      <p:bldP spid="14" grpId="0"/>
      <p:bldP spid="14" grpId="1"/>
      <p:bldP spid="20" grpId="0"/>
      <p:bldP spid="20" grpId="1"/>
      <p:bldP spid="26" grpId="0"/>
      <p:bldP spid="26" grpId="1"/>
      <p:bldP spid="4" grpId="0" animBg="1"/>
      <p:bldP spid="4" grpId="1" animBg="1"/>
      <p:bldP spid="5" grpId="0" animBg="1"/>
      <p:bldP spid="5" grpId="1" animBg="1"/>
      <p:bldP spid="23" grpId="0"/>
      <p:bldP spid="23"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DBCDFB-EB87-A6A9-CDB3-0AFFC3755E8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B9F60886-811D-F464-0A5B-F0A599578335}"/>
              </a:ext>
              <a:ext uri="{C183D7F6-B498-43B3-948B-1728B52AA6E4}">
                <adec:decorative xmlns:adec="http://schemas.microsoft.com/office/drawing/2017/decorative" val="1"/>
              </a:ext>
            </a:extLst>
          </p:cNvPr>
          <p:cNvPicPr>
            <a:picLocks/>
          </p:cNvPicPr>
          <p:nvPr/>
        </p:nvPicPr>
        <p:blipFill rotWithShape="1">
          <a:blip r:embed="rId3" cstate="screen">
            <a:alphaModFix amt="45000"/>
            <a:extLst>
              <a:ext uri="{28A0092B-C50C-407E-A947-70E740481C1C}">
                <a14:useLocalDpi xmlns:a14="http://schemas.microsoft.com/office/drawing/2010/main"/>
              </a:ext>
            </a:extLst>
          </a:blip>
          <a:srcRect/>
          <a:stretch/>
        </p:blipFill>
        <p:spPr>
          <a:xfrm>
            <a:off x="1152525" y="1164772"/>
            <a:ext cx="9886948" cy="4528457"/>
          </a:xfrm>
          <a:prstGeom prst="roundRect">
            <a:avLst>
              <a:gd name="adj" fmla="val 2217"/>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Title 1">
            <a:extLst>
              <a:ext uri="{FF2B5EF4-FFF2-40B4-BE49-F238E27FC236}">
                <a16:creationId xmlns:a16="http://schemas.microsoft.com/office/drawing/2014/main" id="{144CD206-6EB2-81A5-A72D-B6E5A71361EA}"/>
              </a:ext>
            </a:extLst>
          </p:cNvPr>
          <p:cNvSpPr txBox="1">
            <a:spLocks/>
          </p:cNvSpPr>
          <p:nvPr/>
        </p:nvSpPr>
        <p:spPr>
          <a:xfrm>
            <a:off x="1523999" y="3427639"/>
            <a:ext cx="9144000"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48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a:t>
            </a:r>
            <a:endParaRPr kumimoji="0" lang="en-US" sz="7200" b="0" i="0" u="none" strike="noStrike" kern="1200" cap="none" spc="0" normalizeH="0" baseline="0" noProof="0">
              <a:ln w="3175">
                <a:noFill/>
              </a:ln>
              <a:solidFill>
                <a:srgbClr val="000000"/>
              </a:solidFill>
              <a:effectLst/>
              <a:uLnTx/>
              <a:uFillTx/>
              <a:latin typeface="Segoe UI Semibold"/>
              <a:ea typeface="+mn-ea"/>
              <a:cs typeface="Segoe UI" pitchFamily="34" charset="0"/>
            </a:endParaRPr>
          </a:p>
        </p:txBody>
      </p:sp>
      <p:sp>
        <p:nvSpPr>
          <p:cNvPr id="9" name="Freeform: Shape 8" descr="Icon of a magnifying glass over a rectangle with contents inside">
            <a:extLst>
              <a:ext uri="{FF2B5EF4-FFF2-40B4-BE49-F238E27FC236}">
                <a16:creationId xmlns:a16="http://schemas.microsoft.com/office/drawing/2014/main" id="{8C9BE21C-2C78-8C67-32B2-C1C1CF7D73EA}"/>
              </a:ext>
            </a:extLst>
          </p:cNvPr>
          <p:cNvSpPr/>
          <p:nvPr/>
        </p:nvSpPr>
        <p:spPr>
          <a:xfrm>
            <a:off x="5619783" y="2028887"/>
            <a:ext cx="952432" cy="816366"/>
          </a:xfrm>
          <a:custGeom>
            <a:avLst/>
            <a:gdLst>
              <a:gd name="connsiteX0" fmla="*/ 68329 w 318854"/>
              <a:gd name="connsiteY0" fmla="*/ 128925 h 273302"/>
              <a:gd name="connsiteX1" fmla="*/ 22779 w 318854"/>
              <a:gd name="connsiteY1" fmla="*/ 174429 h 273302"/>
              <a:gd name="connsiteX2" fmla="*/ 68329 w 318854"/>
              <a:gd name="connsiteY2" fmla="*/ 219932 h 273302"/>
              <a:gd name="connsiteX3" fmla="*/ 113879 w 318854"/>
              <a:gd name="connsiteY3" fmla="*/ 174429 h 273302"/>
              <a:gd name="connsiteX4" fmla="*/ 68329 w 318854"/>
              <a:gd name="connsiteY4" fmla="*/ 128925 h 273302"/>
              <a:gd name="connsiteX5" fmla="*/ 56940 w 318854"/>
              <a:gd name="connsiteY5" fmla="*/ 107129 h 273302"/>
              <a:gd name="connsiteX6" fmla="*/ 107914 w 318854"/>
              <a:gd name="connsiteY6" fmla="*/ 118794 h 273302"/>
              <a:gd name="connsiteX7" fmla="*/ 124022 w 318854"/>
              <a:gd name="connsiteY7" fmla="*/ 213970 h 273302"/>
              <a:gd name="connsiteX8" fmla="*/ 163680 w 318854"/>
              <a:gd name="connsiteY8" fmla="*/ 253604 h 273302"/>
              <a:gd name="connsiteX9" fmla="*/ 164247 w 318854"/>
              <a:gd name="connsiteY9" fmla="*/ 254172 h 273302"/>
              <a:gd name="connsiteX10" fmla="*/ 163680 w 318854"/>
              <a:gd name="connsiteY10" fmla="*/ 270249 h 273302"/>
              <a:gd name="connsiteX11" fmla="*/ 147586 w 318854"/>
              <a:gd name="connsiteY11" fmla="*/ 269683 h 273302"/>
              <a:gd name="connsiteX12" fmla="*/ 107912 w 318854"/>
              <a:gd name="connsiteY12" fmla="*/ 230063 h 273302"/>
              <a:gd name="connsiteX13" fmla="*/ 68329 w 318854"/>
              <a:gd name="connsiteY13" fmla="*/ 242683 h 273302"/>
              <a:gd name="connsiteX14" fmla="*/ 28747 w 318854"/>
              <a:gd name="connsiteY14" fmla="*/ 230063 h 273302"/>
              <a:gd name="connsiteX15" fmla="*/ 12639 w 318854"/>
              <a:gd name="connsiteY15" fmla="*/ 134886 h 273302"/>
              <a:gd name="connsiteX16" fmla="*/ 56940 w 318854"/>
              <a:gd name="connsiteY16" fmla="*/ 107129 h 273302"/>
              <a:gd name="connsiteX17" fmla="*/ 87309 w 318854"/>
              <a:gd name="connsiteY17" fmla="*/ 60671 h 273302"/>
              <a:gd name="connsiteX18" fmla="*/ 75921 w 318854"/>
              <a:gd name="connsiteY18" fmla="*/ 72048 h 273302"/>
              <a:gd name="connsiteX19" fmla="*/ 87309 w 318854"/>
              <a:gd name="connsiteY19" fmla="*/ 83424 h 273302"/>
              <a:gd name="connsiteX20" fmla="*/ 186000 w 318854"/>
              <a:gd name="connsiteY20" fmla="*/ 83424 h 273302"/>
              <a:gd name="connsiteX21" fmla="*/ 197388 w 318854"/>
              <a:gd name="connsiteY21" fmla="*/ 72048 h 273302"/>
              <a:gd name="connsiteX22" fmla="*/ 186000 w 318854"/>
              <a:gd name="connsiteY22" fmla="*/ 60671 h 273302"/>
              <a:gd name="connsiteX23" fmla="*/ 56943 w 318854"/>
              <a:gd name="connsiteY23" fmla="*/ 0 h 273302"/>
              <a:gd name="connsiteX24" fmla="*/ 277100 w 318854"/>
              <a:gd name="connsiteY24" fmla="*/ 0 h 273302"/>
              <a:gd name="connsiteX25" fmla="*/ 318854 w 318854"/>
              <a:gd name="connsiteY25" fmla="*/ 41712 h 273302"/>
              <a:gd name="connsiteX26" fmla="*/ 318854 w 318854"/>
              <a:gd name="connsiteY26" fmla="*/ 200973 h 273302"/>
              <a:gd name="connsiteX27" fmla="*/ 277100 w 318854"/>
              <a:gd name="connsiteY27" fmla="*/ 242685 h 273302"/>
              <a:gd name="connsiteX28" fmla="*/ 174233 w 318854"/>
              <a:gd name="connsiteY28" fmla="*/ 242685 h 273302"/>
              <a:gd name="connsiteX29" fmla="*/ 143107 w 318854"/>
              <a:gd name="connsiteY29" fmla="*/ 211592 h 273302"/>
              <a:gd name="connsiteX30" fmla="*/ 151838 w 318854"/>
              <a:gd name="connsiteY30" fmla="*/ 174431 h 273302"/>
              <a:gd name="connsiteX31" fmla="*/ 216366 w 318854"/>
              <a:gd name="connsiteY31" fmla="*/ 174431 h 273302"/>
              <a:gd name="connsiteX32" fmla="*/ 227754 w 318854"/>
              <a:gd name="connsiteY32" fmla="*/ 163055 h 273302"/>
              <a:gd name="connsiteX33" fmla="*/ 216366 w 318854"/>
              <a:gd name="connsiteY33" fmla="*/ 151678 h 273302"/>
              <a:gd name="connsiteX34" fmla="*/ 148694 w 318854"/>
              <a:gd name="connsiteY34" fmla="*/ 151678 h 273302"/>
              <a:gd name="connsiteX35" fmla="*/ 138339 w 318854"/>
              <a:gd name="connsiteY35" fmla="*/ 128927 h 273302"/>
              <a:gd name="connsiteX36" fmla="*/ 246733 w 318854"/>
              <a:gd name="connsiteY36" fmla="*/ 128927 h 273302"/>
              <a:gd name="connsiteX37" fmla="*/ 258121 w 318854"/>
              <a:gd name="connsiteY37" fmla="*/ 117551 h 273302"/>
              <a:gd name="connsiteX38" fmla="*/ 246733 w 318854"/>
              <a:gd name="connsiteY38" fmla="*/ 106175 h 273302"/>
              <a:gd name="connsiteX39" fmla="*/ 116354 w 318854"/>
              <a:gd name="connsiteY39" fmla="*/ 106175 h 273302"/>
              <a:gd name="connsiteX40" fmla="*/ 68330 w 318854"/>
              <a:gd name="connsiteY40" fmla="*/ 91007 h 273302"/>
              <a:gd name="connsiteX41" fmla="*/ 15188 w 318854"/>
              <a:gd name="connsiteY41" fmla="*/ 110073 h 273302"/>
              <a:gd name="connsiteX42" fmla="*/ 15188 w 318854"/>
              <a:gd name="connsiteY42" fmla="*/ 41712 h 273302"/>
              <a:gd name="connsiteX43" fmla="*/ 56943 w 318854"/>
              <a:gd name="connsiteY43" fmla="*/ 0 h 27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18854" h="273302">
                <a:moveTo>
                  <a:pt x="68329" y="128925"/>
                </a:moveTo>
                <a:cubicBezTo>
                  <a:pt x="43173" y="128925"/>
                  <a:pt x="22779" y="149297"/>
                  <a:pt x="22779" y="174429"/>
                </a:cubicBezTo>
                <a:cubicBezTo>
                  <a:pt x="22779" y="199560"/>
                  <a:pt x="43173" y="219932"/>
                  <a:pt x="68329" y="219932"/>
                </a:cubicBezTo>
                <a:cubicBezTo>
                  <a:pt x="93486" y="219932"/>
                  <a:pt x="113879" y="199560"/>
                  <a:pt x="113879" y="174429"/>
                </a:cubicBezTo>
                <a:cubicBezTo>
                  <a:pt x="113879" y="149297"/>
                  <a:pt x="93486" y="128925"/>
                  <a:pt x="68329" y="128925"/>
                </a:cubicBezTo>
                <a:close/>
                <a:moveTo>
                  <a:pt x="56940" y="107129"/>
                </a:moveTo>
                <a:cubicBezTo>
                  <a:pt x="74182" y="104217"/>
                  <a:pt x="92535" y="107875"/>
                  <a:pt x="107914" y="118794"/>
                </a:cubicBezTo>
                <a:cubicBezTo>
                  <a:pt x="138669" y="140633"/>
                  <a:pt x="145882" y="183246"/>
                  <a:pt x="124022" y="213970"/>
                </a:cubicBezTo>
                <a:lnTo>
                  <a:pt x="163680" y="253604"/>
                </a:lnTo>
                <a:cubicBezTo>
                  <a:pt x="163876" y="253787"/>
                  <a:pt x="164066" y="253977"/>
                  <a:pt x="164247" y="254172"/>
                </a:cubicBezTo>
                <a:cubicBezTo>
                  <a:pt x="168535" y="258770"/>
                  <a:pt x="168280" y="265966"/>
                  <a:pt x="163680" y="270249"/>
                </a:cubicBezTo>
                <a:cubicBezTo>
                  <a:pt x="159079" y="274533"/>
                  <a:pt x="151873" y="274278"/>
                  <a:pt x="147586" y="269683"/>
                </a:cubicBezTo>
                <a:lnTo>
                  <a:pt x="107912" y="230063"/>
                </a:lnTo>
                <a:cubicBezTo>
                  <a:pt x="96358" y="238291"/>
                  <a:pt x="82517" y="242705"/>
                  <a:pt x="68329" y="242683"/>
                </a:cubicBezTo>
                <a:cubicBezTo>
                  <a:pt x="54143" y="242683"/>
                  <a:pt x="40310" y="238272"/>
                  <a:pt x="28747" y="230063"/>
                </a:cubicBezTo>
                <a:cubicBezTo>
                  <a:pt x="-2010" y="208223"/>
                  <a:pt x="-9222" y="165612"/>
                  <a:pt x="12639" y="134886"/>
                </a:cubicBezTo>
                <a:cubicBezTo>
                  <a:pt x="23570" y="119523"/>
                  <a:pt x="39699" y="110040"/>
                  <a:pt x="56940" y="107129"/>
                </a:cubicBezTo>
                <a:close/>
                <a:moveTo>
                  <a:pt x="87309" y="60671"/>
                </a:moveTo>
                <a:cubicBezTo>
                  <a:pt x="81019" y="60671"/>
                  <a:pt x="75921" y="65764"/>
                  <a:pt x="75921" y="72048"/>
                </a:cubicBezTo>
                <a:cubicBezTo>
                  <a:pt x="75921" y="78330"/>
                  <a:pt x="81019" y="83424"/>
                  <a:pt x="87309" y="83424"/>
                </a:cubicBezTo>
                <a:lnTo>
                  <a:pt x="186000" y="83424"/>
                </a:lnTo>
                <a:cubicBezTo>
                  <a:pt x="192290" y="83424"/>
                  <a:pt x="197388" y="78330"/>
                  <a:pt x="197388" y="72048"/>
                </a:cubicBezTo>
                <a:cubicBezTo>
                  <a:pt x="197388" y="65764"/>
                  <a:pt x="192290" y="60671"/>
                  <a:pt x="186000" y="60671"/>
                </a:cubicBezTo>
                <a:close/>
                <a:moveTo>
                  <a:pt x="56943" y="0"/>
                </a:moveTo>
                <a:lnTo>
                  <a:pt x="277100" y="0"/>
                </a:lnTo>
                <a:cubicBezTo>
                  <a:pt x="300161" y="0"/>
                  <a:pt x="318854" y="18674"/>
                  <a:pt x="318854" y="41712"/>
                </a:cubicBezTo>
                <a:lnTo>
                  <a:pt x="318854" y="200973"/>
                </a:lnTo>
                <a:cubicBezTo>
                  <a:pt x="318854" y="224011"/>
                  <a:pt x="300161" y="242685"/>
                  <a:pt x="277100" y="242685"/>
                </a:cubicBezTo>
                <a:lnTo>
                  <a:pt x="174233" y="242685"/>
                </a:lnTo>
                <a:lnTo>
                  <a:pt x="143107" y="211592"/>
                </a:lnTo>
                <a:cubicBezTo>
                  <a:pt x="148694" y="200413"/>
                  <a:pt x="151838" y="187777"/>
                  <a:pt x="151838" y="174431"/>
                </a:cubicBezTo>
                <a:lnTo>
                  <a:pt x="216366" y="174431"/>
                </a:lnTo>
                <a:cubicBezTo>
                  <a:pt x="222656" y="174431"/>
                  <a:pt x="227754" y="169337"/>
                  <a:pt x="227754" y="163055"/>
                </a:cubicBezTo>
                <a:cubicBezTo>
                  <a:pt x="227754" y="156772"/>
                  <a:pt x="222656" y="151678"/>
                  <a:pt x="216366" y="151678"/>
                </a:cubicBezTo>
                <a:lnTo>
                  <a:pt x="148694" y="151678"/>
                </a:lnTo>
                <a:cubicBezTo>
                  <a:pt x="146413" y="143616"/>
                  <a:pt x="142922" y="135945"/>
                  <a:pt x="138339" y="128927"/>
                </a:cubicBezTo>
                <a:lnTo>
                  <a:pt x="246733" y="128927"/>
                </a:lnTo>
                <a:cubicBezTo>
                  <a:pt x="253023" y="128927"/>
                  <a:pt x="258121" y="123833"/>
                  <a:pt x="258121" y="117551"/>
                </a:cubicBezTo>
                <a:cubicBezTo>
                  <a:pt x="258121" y="111269"/>
                  <a:pt x="253023" y="106175"/>
                  <a:pt x="246733" y="106175"/>
                </a:cubicBezTo>
                <a:lnTo>
                  <a:pt x="116354" y="106175"/>
                </a:lnTo>
                <a:cubicBezTo>
                  <a:pt x="102765" y="96619"/>
                  <a:pt x="86200" y="91007"/>
                  <a:pt x="68330" y="91007"/>
                </a:cubicBezTo>
                <a:cubicBezTo>
                  <a:pt x="48135" y="91007"/>
                  <a:pt x="29613" y="98166"/>
                  <a:pt x="15188" y="110073"/>
                </a:cubicBezTo>
                <a:lnTo>
                  <a:pt x="15188" y="41712"/>
                </a:lnTo>
                <a:cubicBezTo>
                  <a:pt x="15188" y="18674"/>
                  <a:pt x="33881" y="0"/>
                  <a:pt x="56943"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1" name="Rectangle: Top Corners Rounded 10">
            <a:extLst>
              <a:ext uri="{FF2B5EF4-FFF2-40B4-BE49-F238E27FC236}">
                <a16:creationId xmlns:a16="http://schemas.microsoft.com/office/drawing/2014/main" id="{A691049A-2CD7-55F4-2541-5757B109D1F3}"/>
              </a:ext>
              <a:ext uri="{C183D7F6-B498-43B3-948B-1728B52AA6E4}">
                <adec:decorative xmlns:adec="http://schemas.microsoft.com/office/drawing/2017/decorative" val="1"/>
              </a:ext>
            </a:extLst>
          </p:cNvPr>
          <p:cNvSpPr/>
          <p:nvPr/>
        </p:nvSpPr>
        <p:spPr bwMode="auto">
          <a:xfrm>
            <a:off x="5726786" y="3145404"/>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30932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p:cTn id="17" dur="500" fill="hold"/>
                                        <p:tgtEl>
                                          <p:spTgt spid="11"/>
                                        </p:tgtEl>
                                        <p:attrNameLst>
                                          <p:attrName>ppt_w</p:attrName>
                                        </p:attrNameLst>
                                      </p:cBhvr>
                                      <p:tavLst>
                                        <p:tav tm="0">
                                          <p:val>
                                            <p:fltVal val="0"/>
                                          </p:val>
                                        </p:tav>
                                        <p:tav tm="100000">
                                          <p:val>
                                            <p:strVal val="#ppt_w"/>
                                          </p:val>
                                        </p:tav>
                                      </p:tavLst>
                                    </p:anim>
                                    <p:anim calcmode="lin" valueType="num">
                                      <p:cBhvr>
                                        <p:cTn id="18" dur="500" fill="hold"/>
                                        <p:tgtEl>
                                          <p:spTgt spid="11"/>
                                        </p:tgtEl>
                                        <p:attrNameLst>
                                          <p:attrName>ppt_h</p:attrName>
                                        </p:attrNameLst>
                                      </p:cBhvr>
                                      <p:tavLst>
                                        <p:tav tm="0">
                                          <p:val>
                                            <p:fltVal val="0"/>
                                          </p:val>
                                        </p:tav>
                                        <p:tav tm="100000">
                                          <p:val>
                                            <p:strVal val="#ppt_h"/>
                                          </p:val>
                                        </p:tav>
                                      </p:tavLst>
                                    </p:anim>
                                    <p:animEffect transition="in" filter="fade">
                                      <p:cBhvr>
                                        <p:cTn id="19" dur="500"/>
                                        <p:tgtEl>
                                          <p:spTgt spid="1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animBg="1"/>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D36F491-B236-2238-3271-557BAF74E308}"/>
              </a:ext>
            </a:extLst>
          </p:cNvPr>
          <p:cNvSpPr/>
          <p:nvPr/>
        </p:nvSpPr>
        <p:spPr bwMode="auto">
          <a:xfrm>
            <a:off x="590983" y="589331"/>
            <a:ext cx="11010034" cy="5679338"/>
          </a:xfrm>
          <a:prstGeom prst="roundRect">
            <a:avLst>
              <a:gd name="adj" fmla="val 3555"/>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10" name="Group 9">
            <a:extLst>
              <a:ext uri="{FF2B5EF4-FFF2-40B4-BE49-F238E27FC236}">
                <a16:creationId xmlns:a16="http://schemas.microsoft.com/office/drawing/2014/main" id="{15BC3D7F-3757-9C9B-4333-D3F62CC736F3}"/>
              </a:ext>
            </a:extLst>
          </p:cNvPr>
          <p:cNvGrpSpPr/>
          <p:nvPr/>
        </p:nvGrpSpPr>
        <p:grpSpPr>
          <a:xfrm>
            <a:off x="714374" y="717347"/>
            <a:ext cx="5527676" cy="986791"/>
            <a:chOff x="714374" y="717347"/>
            <a:chExt cx="5527676" cy="986791"/>
          </a:xfrm>
        </p:grpSpPr>
        <p:sp>
          <p:nvSpPr>
            <p:cNvPr id="8" name="Rectangle: Rounded Corners 7">
              <a:extLst>
                <a:ext uri="{FF2B5EF4-FFF2-40B4-BE49-F238E27FC236}">
                  <a16:creationId xmlns:a16="http://schemas.microsoft.com/office/drawing/2014/main" id="{B7011784-BCA2-BF16-A7ED-072BD98CF49B}"/>
                </a:ext>
              </a:extLst>
            </p:cNvPr>
            <p:cNvSpPr>
              <a:spLocks/>
            </p:cNvSpPr>
            <p:nvPr/>
          </p:nvSpPr>
          <p:spPr bwMode="auto">
            <a:xfrm>
              <a:off x="714374" y="717347"/>
              <a:ext cx="5527676" cy="986791"/>
            </a:xfrm>
            <a:prstGeom prst="roundRect">
              <a:avLst>
                <a:gd name="adj" fmla="val 9588"/>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w="3175">
                  <a:noFill/>
                </a:ln>
                <a:solidFill>
                  <a:srgbClr val="FFFFFF"/>
                </a:solidFill>
                <a:effectLst/>
                <a:uLnTx/>
                <a:uFillTx/>
                <a:latin typeface="Segoe UI Semibold"/>
                <a:ea typeface="+mn-ea"/>
                <a:cs typeface="+mn-cs"/>
              </a:endParaRPr>
            </a:p>
          </p:txBody>
        </p:sp>
        <p:sp>
          <p:nvSpPr>
            <p:cNvPr id="17" name="Title 12">
              <a:extLst>
                <a:ext uri="{FF2B5EF4-FFF2-40B4-BE49-F238E27FC236}">
                  <a16:creationId xmlns:a16="http://schemas.microsoft.com/office/drawing/2014/main" id="{04879B72-FB3B-09EB-C895-3D1BD2B6CD28}"/>
                </a:ext>
              </a:extLst>
            </p:cNvPr>
            <p:cNvSpPr txBox="1">
              <a:spLocks/>
            </p:cNvSpPr>
            <p:nvPr/>
          </p:nvSpPr>
          <p:spPr>
            <a:xfrm>
              <a:off x="846138" y="964521"/>
              <a:ext cx="5273580" cy="461665"/>
            </a:xfrm>
            <a:prstGeom prst="rect">
              <a:avLst/>
            </a:prstGeom>
          </p:spPr>
          <p:txBody>
            <a:bodyPr vert="horz" wrap="square" lIns="0" tIns="0" rIns="0" bIns="0" rtlCol="0" anchor="t">
              <a:spAutoFit/>
            </a:bodyPr>
            <a:lstStyle>
              <a:lvl1pPr algn="l" defTabSz="874446" rtl="0" eaLnBrk="1" latinLnBrk="0" hangingPunct="1">
                <a:lnSpc>
                  <a:spcPct val="100000"/>
                </a:lnSpc>
                <a:spcBef>
                  <a:spcPct val="0"/>
                </a:spcBef>
                <a:buNone/>
                <a:defRPr lang="en-US" sz="3200" b="0" kern="1200" cap="none" spc="-47"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a:ln w="3175">
                    <a:noFill/>
                  </a:ln>
                  <a:solidFill>
                    <a:srgbClr val="FFFFFF"/>
                  </a:solidFill>
                  <a:effectLst/>
                  <a:uLnTx/>
                  <a:uFillTx/>
                  <a:latin typeface="Segoe UI Semibold"/>
                  <a:ea typeface="+mn-ea"/>
                  <a:cs typeface="Segoe UI" pitchFamily="34" charset="0"/>
                </a:rPr>
                <a:t>Agent Overview Guide</a:t>
              </a:r>
            </a:p>
          </p:txBody>
        </p:sp>
      </p:grpSp>
      <p:sp>
        <p:nvSpPr>
          <p:cNvPr id="24" name="TextBox 23">
            <a:extLst>
              <a:ext uri="{FF2B5EF4-FFF2-40B4-BE49-F238E27FC236}">
                <a16:creationId xmlns:a16="http://schemas.microsoft.com/office/drawing/2014/main" id="{206E5025-3598-396B-090D-128619B1D984}"/>
              </a:ext>
            </a:extLst>
          </p:cNvPr>
          <p:cNvSpPr txBox="1">
            <a:spLocks/>
          </p:cNvSpPr>
          <p:nvPr/>
        </p:nvSpPr>
        <p:spPr>
          <a:xfrm>
            <a:off x="714375" y="1832155"/>
            <a:ext cx="5527675" cy="4301946"/>
          </a:xfrm>
          <a:prstGeom prst="roundRect">
            <a:avLst>
              <a:gd name="adj" fmla="val 2547"/>
            </a:avLst>
          </a:prstGeom>
          <a:solidFill>
            <a:schemeClr val="bg1"/>
          </a:solidFill>
          <a:ln w="12700">
            <a:noFill/>
          </a:ln>
          <a:effectLst>
            <a:outerShdw blurRad="63500" algn="ctr"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mn-cs"/>
            </a:endParaRPr>
          </a:p>
        </p:txBody>
      </p:sp>
      <p:sp>
        <p:nvSpPr>
          <p:cNvPr id="30" name="TextBox 29">
            <a:extLst>
              <a:ext uri="{FF2B5EF4-FFF2-40B4-BE49-F238E27FC236}">
                <a16:creationId xmlns:a16="http://schemas.microsoft.com/office/drawing/2014/main" id="{3F8EC3AE-C9FD-7FF1-D376-E58CB535FF3C}"/>
              </a:ext>
            </a:extLst>
          </p:cNvPr>
          <p:cNvSpPr txBox="1"/>
          <p:nvPr/>
        </p:nvSpPr>
        <p:spPr>
          <a:xfrm>
            <a:off x="846138" y="2436568"/>
            <a:ext cx="5264150" cy="738664"/>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mn-cs"/>
              </a:rPr>
              <a:t>Learn how to quickly unlock the value of Copilot through agents. See the easiest ways to get started across Copilot Chat, SharePoint, and Copilot Studio with lots of examples and templates that will help you quickly build and use your first agents.</a:t>
            </a:r>
          </a:p>
        </p:txBody>
      </p:sp>
      <p:pic>
        <p:nvPicPr>
          <p:cNvPr id="33" name="Picture 32">
            <a:extLst>
              <a:ext uri="{FF2B5EF4-FFF2-40B4-BE49-F238E27FC236}">
                <a16:creationId xmlns:a16="http://schemas.microsoft.com/office/drawing/2014/main" id="{403D41ED-8158-AC53-9C3D-952D65A350B4}"/>
              </a:ext>
            </a:extLst>
          </p:cNvPr>
          <p:cNvPicPr>
            <a:picLocks/>
          </p:cNvPicPr>
          <p:nvPr/>
        </p:nvPicPr>
        <p:blipFill rotWithShape="1">
          <a:blip r:embed="rId3"/>
          <a:srcRect t="136" b="136"/>
          <a:stretch/>
        </p:blipFill>
        <p:spPr>
          <a:xfrm>
            <a:off x="846138" y="3241597"/>
            <a:ext cx="5264150" cy="2764291"/>
          </a:xfrm>
          <a:prstGeom prst="roundRect">
            <a:avLst>
              <a:gd name="adj" fmla="val 3066"/>
            </a:avLst>
          </a:prstGeom>
          <a:ln w="6350">
            <a:solidFill>
              <a:schemeClr val="bg1">
                <a:lumMod val="85000"/>
              </a:schemeClr>
            </a:solidFill>
          </a:ln>
          <a:effectLst/>
        </p:spPr>
      </p:pic>
      <p:pic>
        <p:nvPicPr>
          <p:cNvPr id="34" name="Picture 33">
            <a:extLst>
              <a:ext uri="{FF2B5EF4-FFF2-40B4-BE49-F238E27FC236}">
                <a16:creationId xmlns:a16="http://schemas.microsoft.com/office/drawing/2014/main" id="{F64D9157-47F3-A1DC-0B8F-1A5266A85121}"/>
              </a:ext>
            </a:extLst>
          </p:cNvPr>
          <p:cNvPicPr>
            <a:picLocks/>
          </p:cNvPicPr>
          <p:nvPr/>
        </p:nvPicPr>
        <p:blipFill rotWithShape="1">
          <a:blip r:embed="rId4"/>
          <a:srcRect l="447" r="447"/>
          <a:stretch/>
        </p:blipFill>
        <p:spPr>
          <a:xfrm>
            <a:off x="6363219" y="722973"/>
            <a:ext cx="4004437" cy="2252297"/>
          </a:xfrm>
          <a:prstGeom prst="roundRect">
            <a:avLst>
              <a:gd name="adj" fmla="val 3066"/>
            </a:avLst>
          </a:prstGeom>
          <a:solidFill>
            <a:schemeClr val="bg1"/>
          </a:solidFill>
          <a:ln w="6350">
            <a:solidFill>
              <a:schemeClr val="bg1">
                <a:lumMod val="85000"/>
              </a:schemeClr>
            </a:solidFill>
          </a:ln>
          <a:effectLst>
            <a:outerShdw blurRad="63500" algn="ctr" rotWithShape="0">
              <a:prstClr val="black">
                <a:alpha val="10000"/>
              </a:prstClr>
            </a:outerShdw>
          </a:effectLst>
        </p:spPr>
      </p:pic>
      <p:pic>
        <p:nvPicPr>
          <p:cNvPr id="35" name="Picture 34">
            <a:extLst>
              <a:ext uri="{FF2B5EF4-FFF2-40B4-BE49-F238E27FC236}">
                <a16:creationId xmlns:a16="http://schemas.microsoft.com/office/drawing/2014/main" id="{E4ED6CFF-2ED9-0326-6461-FAD9B50AFE99}"/>
              </a:ext>
            </a:extLst>
          </p:cNvPr>
          <p:cNvPicPr>
            <a:picLocks/>
          </p:cNvPicPr>
          <p:nvPr/>
        </p:nvPicPr>
        <p:blipFill rotWithShape="1">
          <a:blip r:embed="rId5"/>
          <a:srcRect l="927" r="927"/>
          <a:stretch/>
        </p:blipFill>
        <p:spPr>
          <a:xfrm>
            <a:off x="6913029" y="2302388"/>
            <a:ext cx="4004437" cy="2252297"/>
          </a:xfrm>
          <a:prstGeom prst="roundRect">
            <a:avLst>
              <a:gd name="adj" fmla="val 3066"/>
            </a:avLst>
          </a:prstGeom>
          <a:solidFill>
            <a:schemeClr val="bg1"/>
          </a:solidFill>
          <a:ln w="6350">
            <a:solidFill>
              <a:schemeClr val="bg1">
                <a:lumMod val="85000"/>
              </a:schemeClr>
            </a:solidFill>
          </a:ln>
          <a:effectLst>
            <a:outerShdw blurRad="63500" algn="ctr" rotWithShape="0">
              <a:prstClr val="black">
                <a:alpha val="10000"/>
              </a:prstClr>
            </a:outerShdw>
          </a:effectLst>
        </p:spPr>
      </p:pic>
      <p:pic>
        <p:nvPicPr>
          <p:cNvPr id="36" name="Picture 35">
            <a:extLst>
              <a:ext uri="{FF2B5EF4-FFF2-40B4-BE49-F238E27FC236}">
                <a16:creationId xmlns:a16="http://schemas.microsoft.com/office/drawing/2014/main" id="{08FAFE36-EAA7-4D0E-5447-EAE35B994F0C}"/>
              </a:ext>
            </a:extLst>
          </p:cNvPr>
          <p:cNvPicPr>
            <a:picLocks/>
          </p:cNvPicPr>
          <p:nvPr/>
        </p:nvPicPr>
        <p:blipFill rotWithShape="1">
          <a:blip r:embed="rId6"/>
          <a:srcRect/>
          <a:stretch/>
        </p:blipFill>
        <p:spPr>
          <a:xfrm>
            <a:off x="7462839" y="3881803"/>
            <a:ext cx="4004437" cy="2252297"/>
          </a:xfrm>
          <a:prstGeom prst="roundRect">
            <a:avLst>
              <a:gd name="adj" fmla="val 3066"/>
            </a:avLst>
          </a:prstGeom>
          <a:solidFill>
            <a:schemeClr val="bg1"/>
          </a:solidFill>
          <a:ln w="6350">
            <a:solidFill>
              <a:schemeClr val="bg1">
                <a:lumMod val="85000"/>
              </a:schemeClr>
            </a:solidFill>
          </a:ln>
          <a:effectLst>
            <a:outerShdw blurRad="63500" algn="ctr" rotWithShape="0">
              <a:prstClr val="black">
                <a:alpha val="10000"/>
              </a:prstClr>
            </a:outerShdw>
          </a:effectLst>
        </p:spPr>
      </p:pic>
      <p:grpSp>
        <p:nvGrpSpPr>
          <p:cNvPr id="11" name="Group 10">
            <a:extLst>
              <a:ext uri="{FF2B5EF4-FFF2-40B4-BE49-F238E27FC236}">
                <a16:creationId xmlns:a16="http://schemas.microsoft.com/office/drawing/2014/main" id="{E5454D97-92C8-A42A-7FBC-7D69F295EE81}"/>
              </a:ext>
            </a:extLst>
          </p:cNvPr>
          <p:cNvGrpSpPr/>
          <p:nvPr/>
        </p:nvGrpSpPr>
        <p:grpSpPr>
          <a:xfrm>
            <a:off x="846138" y="1965640"/>
            <a:ext cx="3741102" cy="404562"/>
            <a:chOff x="846138" y="1965640"/>
            <a:chExt cx="3741102" cy="404562"/>
          </a:xfrm>
        </p:grpSpPr>
        <p:sp>
          <p:nvSpPr>
            <p:cNvPr id="37" name="Rectangle: Rounded Corners 36">
              <a:extLst>
                <a:ext uri="{FF2B5EF4-FFF2-40B4-BE49-F238E27FC236}">
                  <a16:creationId xmlns:a16="http://schemas.microsoft.com/office/drawing/2014/main" id="{A8047B8A-F043-E3A3-F6F8-B6E7B9125E5B}"/>
                </a:ext>
              </a:extLst>
            </p:cNvPr>
            <p:cNvSpPr>
              <a:spLocks/>
            </p:cNvSpPr>
            <p:nvPr/>
          </p:nvSpPr>
          <p:spPr bwMode="auto">
            <a:xfrm>
              <a:off x="846138" y="1965640"/>
              <a:ext cx="3741102" cy="404562"/>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0" tIns="0" rIns="144000" bIns="0" numCol="1" spcCol="0" rtlCol="0" fromWordArt="0" anchor="ctr" anchorCtr="0" forceAA="0" compatLnSpc="1">
              <a:prstTxWarp prst="textNoShape">
                <a:avLst/>
              </a:prstTxWarp>
              <a:noAutofit/>
            </a:bodyPr>
            <a:lstStyle/>
            <a:p>
              <a:pPr marL="0" marR="0" lvl="0" indent="0" algn="l" defTabSz="49101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78D4"/>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aka.ms/Copilot/</a:t>
              </a:r>
              <a:r>
                <a:rPr kumimoji="0" lang="en-US" sz="1400" b="0" i="0" u="none" strike="noStrike" kern="1200" cap="none" spc="0" normalizeH="0" baseline="0" noProof="0" err="1">
                  <a:ln w="3175">
                    <a:noFill/>
                  </a:ln>
                  <a:solidFill>
                    <a:srgbClr val="0078D4"/>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AgentOverviewGuide</a:t>
              </a:r>
              <a:r>
                <a:rPr kumimoji="0" lang="en-US" sz="1400" b="0" i="0" u="none" strike="noStrike" kern="1200" cap="none" spc="0" normalizeH="0" baseline="0" noProof="0">
                  <a:ln w="3175">
                    <a:noFill/>
                  </a:ln>
                  <a:solidFill>
                    <a:srgbClr val="0078D4"/>
                  </a:solidFill>
                  <a:effectLst/>
                  <a:uLnTx/>
                  <a:uFillTx/>
                  <a:latin typeface="Segoe UI Semibold"/>
                  <a:ea typeface="+mn-ea"/>
                  <a:cs typeface="+mn-cs"/>
                  <a:hlinkClick r:id="rId7">
                    <a:extLst>
                      <a:ext uri="{A12FA001-AC4F-418D-AE19-62706E023703}">
                        <ahyp:hlinkClr xmlns:ahyp="http://schemas.microsoft.com/office/drawing/2018/hyperlinkcolor" val="tx"/>
                      </a:ext>
                    </a:extLst>
                  </a:hlinkClick>
                </a:rPr>
                <a:t> </a:t>
              </a:r>
              <a:endParaRPr kumimoji="0" lang="en-US" sz="1400" b="0" i="0" u="none" strike="noStrike" kern="1200" cap="none" spc="0" normalizeH="0" baseline="0" noProof="0">
                <a:ln w="3175">
                  <a:noFill/>
                </a:ln>
                <a:solidFill>
                  <a:srgbClr val="0078D4"/>
                </a:solidFill>
                <a:effectLst/>
                <a:uLnTx/>
                <a:uFillTx/>
                <a:latin typeface="Segoe UI Semibold"/>
                <a:ea typeface="+mn-ea"/>
                <a:cs typeface="+mn-cs"/>
              </a:endParaRPr>
            </a:p>
          </p:txBody>
        </p:sp>
        <p:grpSp>
          <p:nvGrpSpPr>
            <p:cNvPr id="3" name="Group 2">
              <a:extLst>
                <a:ext uri="{FF2B5EF4-FFF2-40B4-BE49-F238E27FC236}">
                  <a16:creationId xmlns:a16="http://schemas.microsoft.com/office/drawing/2014/main" id="{BCB16DFB-2B0F-ADDE-4660-90DE61B092C5}"/>
                </a:ext>
                <a:ext uri="{C183D7F6-B498-43B3-948B-1728B52AA6E4}">
                  <adec:decorative xmlns:adec="http://schemas.microsoft.com/office/drawing/2017/decorative" val="1"/>
                </a:ext>
              </a:extLst>
            </p:cNvPr>
            <p:cNvGrpSpPr/>
            <p:nvPr/>
          </p:nvGrpSpPr>
          <p:grpSpPr>
            <a:xfrm>
              <a:off x="878863" y="1987036"/>
              <a:ext cx="361770" cy="361770"/>
              <a:chOff x="632462" y="5834381"/>
              <a:chExt cx="396238" cy="396238"/>
            </a:xfrm>
          </p:grpSpPr>
          <p:sp>
            <p:nvSpPr>
              <p:cNvPr id="4" name="Freeform: Shape 115">
                <a:extLst>
                  <a:ext uri="{FF2B5EF4-FFF2-40B4-BE49-F238E27FC236}">
                    <a16:creationId xmlns:a16="http://schemas.microsoft.com/office/drawing/2014/main" id="{429B4ADA-F645-0688-1BAB-1B7D66CEDA37}"/>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 name="Graphic 255" descr="Icon of a finger tapping on a screen">
                <a:extLst>
                  <a:ext uri="{FF2B5EF4-FFF2-40B4-BE49-F238E27FC236}">
                    <a16:creationId xmlns:a16="http://schemas.microsoft.com/office/drawing/2014/main" id="{21869EE3-880A-86D1-D1DF-1AAED656CB5C}"/>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spTree>
    <p:extLst>
      <p:ext uri="{BB962C8B-B14F-4D97-AF65-F5344CB8AC3E}">
        <p14:creationId xmlns:p14="http://schemas.microsoft.com/office/powerpoint/2010/main" val="7968034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up)">
                                      <p:cBhvr>
                                        <p:cTn id="15" dur="500"/>
                                        <p:tgtEl>
                                          <p:spTgt spid="2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wipe(left)">
                                      <p:cBhvr>
                                        <p:cTn id="23" dur="500"/>
                                        <p:tgtEl>
                                          <p:spTgt spid="30"/>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wipe(up)">
                                      <p:cBhvr>
                                        <p:cTn id="31" dur="500"/>
                                        <p:tgtEl>
                                          <p:spTgt spid="34"/>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wipe(up)">
                                      <p:cBhvr>
                                        <p:cTn id="35" dur="500"/>
                                        <p:tgtEl>
                                          <p:spTgt spid="35"/>
                                        </p:tgtEl>
                                      </p:cBhvr>
                                    </p:animEffect>
                                  </p:childTnLst>
                                </p:cTn>
                              </p:par>
                            </p:childTnLst>
                          </p:cTn>
                        </p:par>
                        <p:par>
                          <p:cTn id="36" fill="hold">
                            <p:stCondLst>
                              <p:cond delay="4000"/>
                            </p:stCondLst>
                            <p:childTnLst>
                              <p:par>
                                <p:cTn id="37" presetID="22" presetClass="entr" presetSubtype="1"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wipe(up)">
                                      <p:cBhvr>
                                        <p:cTn id="39"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4" grpId="0" animBg="1"/>
      <p:bldP spid="30"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7A471-0ECD-456C-375F-96C12141E309}"/>
            </a:ext>
          </a:extLst>
        </p:cNvPr>
        <p:cNvGrpSpPr/>
        <p:nvPr/>
      </p:nvGrpSpPr>
      <p:grpSpPr>
        <a:xfrm>
          <a:off x="0" y="0"/>
          <a:ext cx="0" cy="0"/>
          <a:chOff x="0" y="0"/>
          <a:chExt cx="0" cy="0"/>
        </a:xfrm>
      </p:grpSpPr>
      <p:sp>
        <p:nvSpPr>
          <p:cNvPr id="15" name="Freeform: Shape 115">
            <a:extLst>
              <a:ext uri="{FF2B5EF4-FFF2-40B4-BE49-F238E27FC236}">
                <a16:creationId xmlns:a16="http://schemas.microsoft.com/office/drawing/2014/main" id="{A13A9294-63CD-DEFC-E260-F1E27A85D155}"/>
              </a:ext>
              <a:ext uri="{C183D7F6-B498-43B3-948B-1728B52AA6E4}">
                <adec:decorative xmlns:adec="http://schemas.microsoft.com/office/drawing/2017/decorative" val="1"/>
              </a:ext>
            </a:extLst>
          </p:cNvPr>
          <p:cNvSpPr/>
          <p:nvPr/>
        </p:nvSpPr>
        <p:spPr bwMode="auto">
          <a:xfrm>
            <a:off x="7022331" y="2654575"/>
            <a:ext cx="361770" cy="36177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1" name="Rectangle: Rounded Corners 20">
            <a:extLst>
              <a:ext uri="{FF2B5EF4-FFF2-40B4-BE49-F238E27FC236}">
                <a16:creationId xmlns:a16="http://schemas.microsoft.com/office/drawing/2014/main" id="{EDB53F6F-2611-8ABA-773E-F5D868E59C0E}"/>
              </a:ext>
            </a:extLst>
          </p:cNvPr>
          <p:cNvSpPr/>
          <p:nvPr/>
        </p:nvSpPr>
        <p:spPr bwMode="auto">
          <a:xfrm>
            <a:off x="651528" y="589331"/>
            <a:ext cx="11010034" cy="5679338"/>
          </a:xfrm>
          <a:prstGeom prst="roundRect">
            <a:avLst>
              <a:gd name="adj" fmla="val 3555"/>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22" name="Group 21">
            <a:extLst>
              <a:ext uri="{FF2B5EF4-FFF2-40B4-BE49-F238E27FC236}">
                <a16:creationId xmlns:a16="http://schemas.microsoft.com/office/drawing/2014/main" id="{8BDB77E1-82AF-5AD1-169C-0E6114AB3AEB}"/>
              </a:ext>
            </a:extLst>
          </p:cNvPr>
          <p:cNvGrpSpPr/>
          <p:nvPr/>
        </p:nvGrpSpPr>
        <p:grpSpPr>
          <a:xfrm>
            <a:off x="714374" y="717347"/>
            <a:ext cx="5527676" cy="986791"/>
            <a:chOff x="714374" y="717347"/>
            <a:chExt cx="5527676" cy="986791"/>
          </a:xfrm>
        </p:grpSpPr>
        <p:sp>
          <p:nvSpPr>
            <p:cNvPr id="20" name="Rectangle: Rounded Corners 19">
              <a:extLst>
                <a:ext uri="{FF2B5EF4-FFF2-40B4-BE49-F238E27FC236}">
                  <a16:creationId xmlns:a16="http://schemas.microsoft.com/office/drawing/2014/main" id="{0B6BB0B4-7FFD-2254-019C-7EFD5DDE6A33}"/>
                </a:ext>
              </a:extLst>
            </p:cNvPr>
            <p:cNvSpPr>
              <a:spLocks/>
            </p:cNvSpPr>
            <p:nvPr/>
          </p:nvSpPr>
          <p:spPr bwMode="auto">
            <a:xfrm>
              <a:off x="714374" y="717347"/>
              <a:ext cx="5527676" cy="986791"/>
            </a:xfrm>
            <a:prstGeom prst="roundRect">
              <a:avLst>
                <a:gd name="adj" fmla="val 9588"/>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FFFFFF"/>
                </a:solidFill>
                <a:effectLst/>
                <a:uLnTx/>
                <a:uFillTx/>
                <a:latin typeface="Segoe UI Semibold"/>
                <a:ea typeface="+mn-ea"/>
                <a:cs typeface="+mn-cs"/>
              </a:endParaRPr>
            </a:p>
          </p:txBody>
        </p:sp>
        <p:sp>
          <p:nvSpPr>
            <p:cNvPr id="18" name="Title 12">
              <a:extLst>
                <a:ext uri="{FF2B5EF4-FFF2-40B4-BE49-F238E27FC236}">
                  <a16:creationId xmlns:a16="http://schemas.microsoft.com/office/drawing/2014/main" id="{94D95622-9D66-DA1B-32A2-23308E77BF07}"/>
                </a:ext>
              </a:extLst>
            </p:cNvPr>
            <p:cNvSpPr txBox="1">
              <a:spLocks/>
            </p:cNvSpPr>
            <p:nvPr/>
          </p:nvSpPr>
          <p:spPr>
            <a:xfrm>
              <a:off x="809312" y="964521"/>
              <a:ext cx="5347233" cy="461665"/>
            </a:xfrm>
            <a:prstGeom prst="rect">
              <a:avLst/>
            </a:prstGeom>
          </p:spPr>
          <p:txBody>
            <a:bodyPr vert="horz" wrap="square" lIns="0" tIns="0" rIns="0" bIns="0" rtlCol="0" anchor="t">
              <a:spAutoFit/>
            </a:bodyPr>
            <a:lstStyle>
              <a:lvl1pPr algn="l" defTabSz="874446" rtl="0" eaLnBrk="1" latinLnBrk="0" hangingPunct="1">
                <a:lnSpc>
                  <a:spcPct val="100000"/>
                </a:lnSpc>
                <a:spcBef>
                  <a:spcPct val="0"/>
                </a:spcBef>
                <a:buNone/>
                <a:defRPr lang="en-US" sz="3200" b="0" kern="1200" cap="none" spc="-47"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a:ln w="3175">
                    <a:noFill/>
                  </a:ln>
                  <a:solidFill>
                    <a:srgbClr val="FFFFFF"/>
                  </a:solidFill>
                  <a:effectLst/>
                  <a:uLnTx/>
                  <a:uFillTx/>
                  <a:latin typeface="Segoe UI Semibold"/>
                  <a:ea typeface="+mn-ea"/>
                  <a:cs typeface="Segoe UI" pitchFamily="34" charset="0"/>
                </a:rPr>
                <a:t>IT Set up and Controls Guide</a:t>
              </a:r>
            </a:p>
          </p:txBody>
        </p:sp>
      </p:grpSp>
      <p:sp>
        <p:nvSpPr>
          <p:cNvPr id="19" name="TextBox 18">
            <a:extLst>
              <a:ext uri="{FF2B5EF4-FFF2-40B4-BE49-F238E27FC236}">
                <a16:creationId xmlns:a16="http://schemas.microsoft.com/office/drawing/2014/main" id="{3F7BF268-7002-1230-7EAF-AB233DB83965}"/>
              </a:ext>
            </a:extLst>
          </p:cNvPr>
          <p:cNvSpPr txBox="1">
            <a:spLocks/>
          </p:cNvSpPr>
          <p:nvPr/>
        </p:nvSpPr>
        <p:spPr>
          <a:xfrm>
            <a:off x="714375" y="1832155"/>
            <a:ext cx="5527675" cy="4301946"/>
          </a:xfrm>
          <a:prstGeom prst="roundRect">
            <a:avLst>
              <a:gd name="adj" fmla="val 2049"/>
            </a:avLst>
          </a:prstGeom>
          <a:solidFill>
            <a:schemeClr val="bg1"/>
          </a:solidFill>
          <a:ln w="12700">
            <a:noFill/>
          </a:ln>
          <a:effectLst>
            <a:outerShdw blurRad="635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mn-cs"/>
            </a:endParaRPr>
          </a:p>
        </p:txBody>
      </p:sp>
      <p:pic>
        <p:nvPicPr>
          <p:cNvPr id="25" name="Picture 24">
            <a:extLst>
              <a:ext uri="{FF2B5EF4-FFF2-40B4-BE49-F238E27FC236}">
                <a16:creationId xmlns:a16="http://schemas.microsoft.com/office/drawing/2014/main" id="{83F96C6A-A42F-3DA4-9AE0-2AC557BEAA42}"/>
              </a:ext>
            </a:extLst>
          </p:cNvPr>
          <p:cNvPicPr>
            <a:picLocks noChangeAspect="1"/>
          </p:cNvPicPr>
          <p:nvPr/>
        </p:nvPicPr>
        <p:blipFill rotWithShape="1">
          <a:blip r:embed="rId3"/>
          <a:srcRect l="375" r="375"/>
          <a:stretch/>
        </p:blipFill>
        <p:spPr>
          <a:xfrm>
            <a:off x="846136" y="3241597"/>
            <a:ext cx="5264150" cy="2764291"/>
          </a:xfrm>
          <a:prstGeom prst="roundRect">
            <a:avLst>
              <a:gd name="adj" fmla="val 3066"/>
            </a:avLst>
          </a:prstGeom>
          <a:ln w="6350">
            <a:solidFill>
              <a:schemeClr val="bg1">
                <a:lumMod val="85000"/>
              </a:schemeClr>
            </a:solidFill>
          </a:ln>
          <a:effectLst/>
        </p:spPr>
      </p:pic>
      <p:sp>
        <p:nvSpPr>
          <p:cNvPr id="32" name="TextBox 31">
            <a:extLst>
              <a:ext uri="{FF2B5EF4-FFF2-40B4-BE49-F238E27FC236}">
                <a16:creationId xmlns:a16="http://schemas.microsoft.com/office/drawing/2014/main" id="{76F1FD05-97C0-C304-1F5C-8B32F9B88B8C}"/>
              </a:ext>
            </a:extLst>
          </p:cNvPr>
          <p:cNvSpPr txBox="1"/>
          <p:nvPr/>
        </p:nvSpPr>
        <p:spPr>
          <a:xfrm>
            <a:off x="846138" y="2436568"/>
            <a:ext cx="5264150" cy="738664"/>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mn-cs"/>
              </a:rPr>
              <a:t>Get the latest on IT set up and controls guidance for Copilot Chat and agents. Manage access to Copilot Chat for your users and set up required data governance controls. Then set up access to agents including licensing and billing plans. Learn how to monitor and manage consumption.</a:t>
            </a:r>
          </a:p>
        </p:txBody>
      </p:sp>
      <p:grpSp>
        <p:nvGrpSpPr>
          <p:cNvPr id="23" name="Group 22">
            <a:extLst>
              <a:ext uri="{FF2B5EF4-FFF2-40B4-BE49-F238E27FC236}">
                <a16:creationId xmlns:a16="http://schemas.microsoft.com/office/drawing/2014/main" id="{EAA6D80E-4E8B-5DA5-DFF0-8C345C5C2C45}"/>
              </a:ext>
            </a:extLst>
          </p:cNvPr>
          <p:cNvGrpSpPr/>
          <p:nvPr/>
        </p:nvGrpSpPr>
        <p:grpSpPr>
          <a:xfrm>
            <a:off x="846138" y="1965640"/>
            <a:ext cx="3741102" cy="404562"/>
            <a:chOff x="846138" y="1965640"/>
            <a:chExt cx="3741102" cy="404562"/>
          </a:xfrm>
        </p:grpSpPr>
        <p:sp>
          <p:nvSpPr>
            <p:cNvPr id="6" name="Rectangle: Rounded Corners 5">
              <a:extLst>
                <a:ext uri="{FF2B5EF4-FFF2-40B4-BE49-F238E27FC236}">
                  <a16:creationId xmlns:a16="http://schemas.microsoft.com/office/drawing/2014/main" id="{AB8021D2-7D85-7760-D511-D12A7CE9E997}"/>
                </a:ext>
              </a:extLst>
            </p:cNvPr>
            <p:cNvSpPr>
              <a:spLocks/>
            </p:cNvSpPr>
            <p:nvPr/>
          </p:nvSpPr>
          <p:spPr bwMode="auto">
            <a:xfrm>
              <a:off x="846138" y="1965640"/>
              <a:ext cx="3741102" cy="404562"/>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0" tIns="0" rIns="14400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hlinkClick r:id="rId4">
                    <a:extLst>
                      <a:ext uri="{A12FA001-AC4F-418D-AE19-62706E023703}">
                        <ahyp:hlinkClr xmlns:ahyp="http://schemas.microsoft.com/office/drawing/2018/hyperlinkcolor" val="tx"/>
                      </a:ext>
                    </a:extLst>
                  </a:hlinkClick>
                </a:rPr>
                <a:t>aka.ms/Copilot/</a:t>
              </a:r>
              <a:r>
                <a:rPr kumimoji="0" lang="en-US" sz="1400" b="0" i="0" u="none" strike="noStrike" kern="1200" cap="none" spc="0" normalizeH="0" baseline="0" noProof="0" err="1">
                  <a:ln>
                    <a:noFill/>
                  </a:ln>
                  <a:solidFill>
                    <a:srgbClr val="0078D4"/>
                  </a:solidFill>
                  <a:effectLst/>
                  <a:uLnTx/>
                  <a:uFillTx/>
                  <a:latin typeface="Segoe UI Semibold"/>
                  <a:ea typeface="Calibri" panose="020F0502020204030204" pitchFamily="34" charset="0"/>
                  <a:cs typeface="+mn-cs"/>
                  <a:hlinkClick r:id="rId4">
                    <a:extLst>
                      <a:ext uri="{A12FA001-AC4F-418D-AE19-62706E023703}">
                        <ahyp:hlinkClr xmlns:ahyp="http://schemas.microsoft.com/office/drawing/2018/hyperlinkcolor" val="tx"/>
                      </a:ext>
                    </a:extLst>
                  </a:hlinkClick>
                </a:rPr>
                <a:t>ITControlsGuide</a:t>
              </a:r>
              <a:r>
                <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hlinkClick r:id="rId4">
                    <a:extLst>
                      <a:ext uri="{A12FA001-AC4F-418D-AE19-62706E023703}">
                        <ahyp:hlinkClr xmlns:ahyp="http://schemas.microsoft.com/office/drawing/2018/hyperlinkcolor" val="tx"/>
                      </a:ext>
                    </a:extLst>
                  </a:hlinkClick>
                </a:rPr>
                <a:t> </a:t>
              </a:r>
              <a:endPar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grpSp>
          <p:nvGrpSpPr>
            <p:cNvPr id="7" name="Group 6">
              <a:extLst>
                <a:ext uri="{FF2B5EF4-FFF2-40B4-BE49-F238E27FC236}">
                  <a16:creationId xmlns:a16="http://schemas.microsoft.com/office/drawing/2014/main" id="{A11007DB-9208-DDDE-9C4B-82A1C9ADB250}"/>
                </a:ext>
                <a:ext uri="{C183D7F6-B498-43B3-948B-1728B52AA6E4}">
                  <adec:decorative xmlns:adec="http://schemas.microsoft.com/office/drawing/2017/decorative" val="1"/>
                </a:ext>
              </a:extLst>
            </p:cNvPr>
            <p:cNvGrpSpPr/>
            <p:nvPr/>
          </p:nvGrpSpPr>
          <p:grpSpPr>
            <a:xfrm>
              <a:off x="878863" y="1987036"/>
              <a:ext cx="361770" cy="361770"/>
              <a:chOff x="632462" y="5834381"/>
              <a:chExt cx="396238" cy="396238"/>
            </a:xfrm>
          </p:grpSpPr>
          <p:sp>
            <p:nvSpPr>
              <p:cNvPr id="8" name="Freeform: Shape 115">
                <a:extLst>
                  <a:ext uri="{FF2B5EF4-FFF2-40B4-BE49-F238E27FC236}">
                    <a16:creationId xmlns:a16="http://schemas.microsoft.com/office/drawing/2014/main" id="{E239052D-D68C-263B-7F22-FBED61272E6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Graphic 255" descr="Icon of a finger tapping on a screen">
                <a:extLst>
                  <a:ext uri="{FF2B5EF4-FFF2-40B4-BE49-F238E27FC236}">
                    <a16:creationId xmlns:a16="http://schemas.microsoft.com/office/drawing/2014/main" id="{1535A9A9-B089-BE4C-4CE3-2A49F49F2608}"/>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grpSp>
        <p:nvGrpSpPr>
          <p:cNvPr id="2" name="Group 1">
            <a:extLst>
              <a:ext uri="{FF2B5EF4-FFF2-40B4-BE49-F238E27FC236}">
                <a16:creationId xmlns:a16="http://schemas.microsoft.com/office/drawing/2014/main" id="{3023CF20-95EA-C079-1FFE-99BBFADB918A}"/>
              </a:ext>
            </a:extLst>
          </p:cNvPr>
          <p:cNvGrpSpPr/>
          <p:nvPr/>
        </p:nvGrpSpPr>
        <p:grpSpPr>
          <a:xfrm>
            <a:off x="6408723" y="1426186"/>
            <a:ext cx="4974413" cy="539454"/>
            <a:chOff x="294551" y="1965640"/>
            <a:chExt cx="4292690" cy="404562"/>
          </a:xfrm>
        </p:grpSpPr>
        <p:sp>
          <p:nvSpPr>
            <p:cNvPr id="3" name="Rectangle: Rounded Corners 2">
              <a:extLst>
                <a:ext uri="{FF2B5EF4-FFF2-40B4-BE49-F238E27FC236}">
                  <a16:creationId xmlns:a16="http://schemas.microsoft.com/office/drawing/2014/main" id="{80D02076-AC36-395C-9F82-73E6A1D5425A}"/>
                </a:ext>
              </a:extLst>
            </p:cNvPr>
            <p:cNvSpPr>
              <a:spLocks/>
            </p:cNvSpPr>
            <p:nvPr/>
          </p:nvSpPr>
          <p:spPr bwMode="auto">
            <a:xfrm>
              <a:off x="294551" y="1965640"/>
              <a:ext cx="4292690" cy="404562"/>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0" tIns="0" rIns="14400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hlinkClick r:id="rId5"/>
                </a:rPr>
                <a:t>Deploy Transformational Ent-Wide agents : Microsoft as Customer Zero</a:t>
              </a:r>
              <a:endPar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10" name="Graphic 255" descr="Icon of a finger tapping on a screen">
              <a:extLst>
                <a:ext uri="{FF2B5EF4-FFF2-40B4-BE49-F238E27FC236}">
                  <a16:creationId xmlns:a16="http://schemas.microsoft.com/office/drawing/2014/main" id="{37818203-1717-E152-A14D-B8E3BB9A27C4}"/>
                </a:ext>
              </a:extLst>
            </p:cNvPr>
            <p:cNvSpPr/>
            <p:nvPr/>
          </p:nvSpPr>
          <p:spPr>
            <a:xfrm>
              <a:off x="406094" y="2055592"/>
              <a:ext cx="169415" cy="224658"/>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1" name="Rectangle: Rounded Corners 10">
            <a:extLst>
              <a:ext uri="{FF2B5EF4-FFF2-40B4-BE49-F238E27FC236}">
                <a16:creationId xmlns:a16="http://schemas.microsoft.com/office/drawing/2014/main" id="{526F17B4-070C-E533-0E08-2467FB2238C4}"/>
              </a:ext>
            </a:extLst>
          </p:cNvPr>
          <p:cNvSpPr>
            <a:spLocks/>
          </p:cNvSpPr>
          <p:nvPr/>
        </p:nvSpPr>
        <p:spPr bwMode="auto">
          <a:xfrm>
            <a:off x="6408722" y="3075020"/>
            <a:ext cx="4974413" cy="51866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0" tIns="0" rIns="14400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hlinkClick r:id="rId4"/>
              </a:rPr>
              <a:t>Robust Security &amp; Governance for Agents in M365 Copilot</a:t>
            </a:r>
            <a:endPar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12" name="Rectangle: Rounded Corners 11">
            <a:extLst>
              <a:ext uri="{FF2B5EF4-FFF2-40B4-BE49-F238E27FC236}">
                <a16:creationId xmlns:a16="http://schemas.microsoft.com/office/drawing/2014/main" id="{EA5B3285-6766-7828-C250-4B19B04B31CB}"/>
              </a:ext>
            </a:extLst>
          </p:cNvPr>
          <p:cNvSpPr>
            <a:spLocks/>
          </p:cNvSpPr>
          <p:nvPr/>
        </p:nvSpPr>
        <p:spPr bwMode="auto">
          <a:xfrm>
            <a:off x="6459930" y="4623742"/>
            <a:ext cx="4923206" cy="51866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457200" tIns="0" rIns="14400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hlinkClick r:id="rId6"/>
              </a:rPr>
              <a:t>Adopt &amp; Administer Copilot Studio with managed security &amp; governance</a:t>
            </a:r>
            <a:endParaRPr kumimoji="0" lang="en-US" sz="14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13" name="Graphic 255" descr="Icon of a finger tapping on a screen">
            <a:extLst>
              <a:ext uri="{FF2B5EF4-FFF2-40B4-BE49-F238E27FC236}">
                <a16:creationId xmlns:a16="http://schemas.microsoft.com/office/drawing/2014/main" id="{853089E0-7D61-66AF-DCC7-BF13F12670C5}"/>
              </a:ext>
            </a:extLst>
          </p:cNvPr>
          <p:cNvSpPr/>
          <p:nvPr/>
        </p:nvSpPr>
        <p:spPr>
          <a:xfrm>
            <a:off x="6595904" y="3222024"/>
            <a:ext cx="169415" cy="224658"/>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4" name="Graphic 255" descr="Icon of a finger tapping on a screen">
            <a:extLst>
              <a:ext uri="{FF2B5EF4-FFF2-40B4-BE49-F238E27FC236}">
                <a16:creationId xmlns:a16="http://schemas.microsoft.com/office/drawing/2014/main" id="{4F44A5EA-FD4F-2C0F-D0BA-4667668DA76F}"/>
              </a:ext>
            </a:extLst>
          </p:cNvPr>
          <p:cNvSpPr/>
          <p:nvPr/>
        </p:nvSpPr>
        <p:spPr>
          <a:xfrm>
            <a:off x="6680612" y="4770746"/>
            <a:ext cx="169415" cy="224658"/>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2243637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500"/>
                                        <p:tgtEl>
                                          <p:spTgt spid="2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left)">
                                      <p:cBhvr>
                                        <p:cTn id="11" dur="500"/>
                                        <p:tgtEl>
                                          <p:spTgt spid="22"/>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ipe(left)">
                                      <p:cBhvr>
                                        <p:cTn id="27" dur="500"/>
                                        <p:tgtEl>
                                          <p:spTgt spid="25"/>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left)">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19" grpId="0" animBg="1"/>
      <p:bldP spid="3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677C5-3868-1878-09D0-F2CE89DBED9B}"/>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230CD33-8F0E-0C02-4155-C211F441ABB3}"/>
              </a:ext>
            </a:extLst>
          </p:cNvPr>
          <p:cNvSpPr/>
          <p:nvPr/>
        </p:nvSpPr>
        <p:spPr bwMode="auto">
          <a:xfrm>
            <a:off x="590983" y="589331"/>
            <a:ext cx="11010034" cy="5679338"/>
          </a:xfrm>
          <a:prstGeom prst="roundRect">
            <a:avLst>
              <a:gd name="adj" fmla="val 3555"/>
            </a:avLst>
          </a:prstGeom>
          <a:solidFill>
            <a:schemeClr val="bg1"/>
          </a:solid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 name="TextBox 4">
            <a:extLst>
              <a:ext uri="{FF2B5EF4-FFF2-40B4-BE49-F238E27FC236}">
                <a16:creationId xmlns:a16="http://schemas.microsoft.com/office/drawing/2014/main" id="{3390CEB8-28C5-61AC-46D6-033D94B9B15D}"/>
              </a:ext>
            </a:extLst>
          </p:cNvPr>
          <p:cNvSpPr txBox="1">
            <a:spLocks/>
          </p:cNvSpPr>
          <p:nvPr/>
        </p:nvSpPr>
        <p:spPr>
          <a:xfrm>
            <a:off x="714375" y="1832155"/>
            <a:ext cx="5527675" cy="4301946"/>
          </a:xfrm>
          <a:prstGeom prst="roundRect">
            <a:avLst>
              <a:gd name="adj" fmla="val 2049"/>
            </a:avLst>
          </a:prstGeom>
          <a:solidFill>
            <a:schemeClr val="bg1"/>
          </a:solidFill>
          <a:ln w="12700">
            <a:noFill/>
          </a:ln>
          <a:effectLst>
            <a:outerShdw blurRad="635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Calibri" panose="020F0502020204030204" pitchFamily="34" charset="0"/>
              <a:cs typeface="+mn-cs"/>
            </a:endParaRPr>
          </a:p>
        </p:txBody>
      </p:sp>
      <p:grpSp>
        <p:nvGrpSpPr>
          <p:cNvPr id="7" name="Group 6">
            <a:extLst>
              <a:ext uri="{FF2B5EF4-FFF2-40B4-BE49-F238E27FC236}">
                <a16:creationId xmlns:a16="http://schemas.microsoft.com/office/drawing/2014/main" id="{D68DA5C3-7D0F-93F6-84D7-3DEEA5D64234}"/>
              </a:ext>
            </a:extLst>
          </p:cNvPr>
          <p:cNvGrpSpPr/>
          <p:nvPr/>
        </p:nvGrpSpPr>
        <p:grpSpPr>
          <a:xfrm>
            <a:off x="714374" y="717347"/>
            <a:ext cx="5527676" cy="986791"/>
            <a:chOff x="714374" y="717347"/>
            <a:chExt cx="5527676" cy="986791"/>
          </a:xfrm>
        </p:grpSpPr>
        <p:sp>
          <p:nvSpPr>
            <p:cNvPr id="4" name="Rectangle: Rounded Corners 3">
              <a:extLst>
                <a:ext uri="{FF2B5EF4-FFF2-40B4-BE49-F238E27FC236}">
                  <a16:creationId xmlns:a16="http://schemas.microsoft.com/office/drawing/2014/main" id="{F2AE3874-AAA5-7C3A-E8A2-D9C2553F8329}"/>
                </a:ext>
              </a:extLst>
            </p:cNvPr>
            <p:cNvSpPr>
              <a:spLocks/>
            </p:cNvSpPr>
            <p:nvPr/>
          </p:nvSpPr>
          <p:spPr bwMode="auto">
            <a:xfrm>
              <a:off x="714374" y="717347"/>
              <a:ext cx="5527676" cy="986791"/>
            </a:xfrm>
            <a:prstGeom prst="roundRect">
              <a:avLst>
                <a:gd name="adj" fmla="val 9588"/>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491019"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w="3175">
                  <a:noFill/>
                </a:ln>
                <a:solidFill>
                  <a:srgbClr val="FFFFFF"/>
                </a:solidFill>
                <a:effectLst/>
                <a:uLnTx/>
                <a:uFillTx/>
                <a:latin typeface="Segoe UI Semibold"/>
                <a:ea typeface="+mn-ea"/>
                <a:cs typeface="+mn-cs"/>
              </a:endParaRPr>
            </a:p>
          </p:txBody>
        </p:sp>
        <p:sp>
          <p:nvSpPr>
            <p:cNvPr id="19" name="Title 12">
              <a:extLst>
                <a:ext uri="{FF2B5EF4-FFF2-40B4-BE49-F238E27FC236}">
                  <a16:creationId xmlns:a16="http://schemas.microsoft.com/office/drawing/2014/main" id="{4AB87D3B-2E28-08E6-6782-0D79DDA727B7}"/>
                </a:ext>
              </a:extLst>
            </p:cNvPr>
            <p:cNvSpPr txBox="1">
              <a:spLocks/>
            </p:cNvSpPr>
            <p:nvPr/>
          </p:nvSpPr>
          <p:spPr>
            <a:xfrm>
              <a:off x="841422" y="964521"/>
              <a:ext cx="5273580" cy="492443"/>
            </a:xfrm>
            <a:prstGeom prst="rect">
              <a:avLst/>
            </a:prstGeom>
          </p:spPr>
          <p:txBody>
            <a:bodyPr vert="horz" wrap="square" lIns="0" tIns="0" rIns="0" bIns="0" rtlCol="0" anchor="t">
              <a:spAutoFit/>
            </a:bodyPr>
            <a:lstStyle>
              <a:lvl1pPr algn="l" defTabSz="874446" rtl="0" eaLnBrk="1" latinLnBrk="0" hangingPunct="1">
                <a:lnSpc>
                  <a:spcPct val="100000"/>
                </a:lnSpc>
                <a:spcBef>
                  <a:spcPct val="0"/>
                </a:spcBef>
                <a:buNone/>
                <a:defRPr lang="en-US" sz="3200" b="0" kern="1200" cap="none" spc="-47"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w="3175">
                    <a:noFill/>
                  </a:ln>
                  <a:solidFill>
                    <a:srgbClr val="FFFFFF"/>
                  </a:solidFill>
                  <a:effectLst/>
                  <a:uLnTx/>
                  <a:uFillTx/>
                  <a:latin typeface="Segoe UI Semibold"/>
                  <a:ea typeface="+mn-ea"/>
                  <a:cs typeface="Segoe UI" pitchFamily="34" charset="0"/>
                </a:rPr>
                <a:t>Agent scenarios</a:t>
              </a:r>
            </a:p>
          </p:txBody>
        </p:sp>
      </p:grpSp>
      <p:sp>
        <p:nvSpPr>
          <p:cNvPr id="21" name="TextBox 20">
            <a:extLst>
              <a:ext uri="{FF2B5EF4-FFF2-40B4-BE49-F238E27FC236}">
                <a16:creationId xmlns:a16="http://schemas.microsoft.com/office/drawing/2014/main" id="{41F4E9C2-D4E5-5809-6422-ADC71EB29355}"/>
              </a:ext>
            </a:extLst>
          </p:cNvPr>
          <p:cNvSpPr txBox="1"/>
          <p:nvPr/>
        </p:nvSpPr>
        <p:spPr>
          <a:xfrm>
            <a:off x="846138" y="1965640"/>
            <a:ext cx="5264150" cy="369332"/>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688" b="0" i="0" u="none" strike="noStrike" cap="none" spc="0" normalizeH="0" baseline="0">
                <a:ln>
                  <a:noFill/>
                </a:ln>
                <a:solidFill>
                  <a:srgbClr val="FFFFFF"/>
                </a:solidFill>
                <a:effectLst/>
                <a:uLnTx/>
                <a:uFillTx/>
                <a:latin typeface="Segoe Sans Display"/>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mn-cs"/>
              </a:rPr>
              <a:t>We have launched new agent (consumption) scenarios to the </a:t>
            </a:r>
            <a:r>
              <a:rPr kumimoji="0" lang="en-US" sz="1200" b="0" i="0" u="none" strike="noStrike" kern="1200" cap="none" spc="0" normalizeH="0" baseline="0" noProof="0">
                <a:ln>
                  <a:noFill/>
                </a:ln>
                <a:solidFill>
                  <a:srgbClr val="0078D4"/>
                </a:solidFill>
                <a:effectLst/>
                <a:uLnTx/>
                <a:uFillTx/>
                <a:latin typeface="Segoe UI"/>
                <a:ea typeface="Calibri" panose="020F0502020204030204" pitchFamily="34" charset="0"/>
                <a:cs typeface="+mn-cs"/>
                <a:hlinkClick r:id="rId3">
                  <a:extLst>
                    <a:ext uri="{A12FA001-AC4F-418D-AE19-62706E023703}">
                      <ahyp:hlinkClr xmlns:ahyp="http://schemas.microsoft.com/office/drawing/2018/hyperlinkcolor" val="tx"/>
                    </a:ext>
                  </a:extLst>
                </a:hlinkClick>
              </a:rPr>
              <a:t>Scenario Library</a:t>
            </a:r>
            <a:r>
              <a:rPr kumimoji="0" lang="en-US" sz="1200" b="0" i="0" u="none" strike="noStrike" kern="1200" cap="none" spc="0" normalizeH="0" baseline="0" noProof="0">
                <a:ln>
                  <a:noFill/>
                </a:ln>
                <a:solidFill>
                  <a:srgbClr val="000000"/>
                </a:solidFill>
                <a:effectLst/>
                <a:uLnTx/>
                <a:uFillTx/>
                <a:latin typeface="Segoe UI"/>
                <a:ea typeface="Calibri" panose="020F0502020204030204" pitchFamily="34" charset="0"/>
                <a:cs typeface="+mn-cs"/>
              </a:rPr>
              <a:t>, with easy steps for each of your functional teams to get started.</a:t>
            </a:r>
          </a:p>
        </p:txBody>
      </p:sp>
      <p:pic>
        <p:nvPicPr>
          <p:cNvPr id="27" name="Picture 26">
            <a:extLst>
              <a:ext uri="{FF2B5EF4-FFF2-40B4-BE49-F238E27FC236}">
                <a16:creationId xmlns:a16="http://schemas.microsoft.com/office/drawing/2014/main" id="{633F3177-9D31-F373-6617-D6A863DE80E2}"/>
              </a:ext>
            </a:extLst>
          </p:cNvPr>
          <p:cNvPicPr>
            <a:picLocks noChangeAspect="1"/>
          </p:cNvPicPr>
          <p:nvPr/>
        </p:nvPicPr>
        <p:blipFill rotWithShape="1">
          <a:blip r:embed="rId4"/>
          <a:srcRect l="-121" t="-188" r="121" b="-267"/>
          <a:stretch/>
        </p:blipFill>
        <p:spPr>
          <a:xfrm>
            <a:off x="831850" y="2850461"/>
            <a:ext cx="5264150" cy="2413690"/>
          </a:xfrm>
          <a:prstGeom prst="roundRect">
            <a:avLst>
              <a:gd name="adj" fmla="val 3066"/>
            </a:avLst>
          </a:prstGeom>
          <a:solidFill>
            <a:schemeClr val="bg1"/>
          </a:solidFill>
          <a:ln w="6350">
            <a:solidFill>
              <a:schemeClr val="bg1">
                <a:lumMod val="85000"/>
              </a:schemeClr>
            </a:solidFill>
          </a:ln>
          <a:effectLst/>
        </p:spPr>
      </p:pic>
      <p:pic>
        <p:nvPicPr>
          <p:cNvPr id="31" name="Picture 30">
            <a:extLst>
              <a:ext uri="{FF2B5EF4-FFF2-40B4-BE49-F238E27FC236}">
                <a16:creationId xmlns:a16="http://schemas.microsoft.com/office/drawing/2014/main" id="{39E93586-B66F-46CD-780F-65D959898492}"/>
              </a:ext>
            </a:extLst>
          </p:cNvPr>
          <p:cNvPicPr>
            <a:picLocks noChangeAspect="1"/>
          </p:cNvPicPr>
          <p:nvPr/>
        </p:nvPicPr>
        <p:blipFill rotWithShape="1">
          <a:blip r:embed="rId5"/>
          <a:srcRect t="-3781" b="-3781"/>
          <a:stretch/>
        </p:blipFill>
        <p:spPr>
          <a:xfrm>
            <a:off x="6363221" y="722975"/>
            <a:ext cx="4004437" cy="2252297"/>
          </a:xfrm>
          <a:prstGeom prst="roundRect">
            <a:avLst>
              <a:gd name="adj" fmla="val 3066"/>
            </a:avLst>
          </a:prstGeom>
          <a:solidFill>
            <a:schemeClr val="bg1"/>
          </a:solidFill>
          <a:ln w="6350">
            <a:noFill/>
          </a:ln>
          <a:effectLst>
            <a:outerShdw blurRad="63500" algn="ctr" rotWithShape="0">
              <a:prstClr val="black">
                <a:alpha val="10000"/>
              </a:prstClr>
            </a:outerShdw>
          </a:effectLst>
        </p:spPr>
      </p:pic>
      <p:pic>
        <p:nvPicPr>
          <p:cNvPr id="32" name="Picture 31">
            <a:extLst>
              <a:ext uri="{FF2B5EF4-FFF2-40B4-BE49-F238E27FC236}">
                <a16:creationId xmlns:a16="http://schemas.microsoft.com/office/drawing/2014/main" id="{D0EDEDD9-0D1C-F432-288E-1CF3423217F8}"/>
              </a:ext>
            </a:extLst>
          </p:cNvPr>
          <p:cNvPicPr>
            <a:picLocks noChangeAspect="1"/>
          </p:cNvPicPr>
          <p:nvPr/>
        </p:nvPicPr>
        <p:blipFill rotWithShape="1">
          <a:blip r:embed="rId6"/>
          <a:srcRect t="-4063" b="-4063"/>
          <a:stretch/>
        </p:blipFill>
        <p:spPr>
          <a:xfrm>
            <a:off x="6913030" y="2302390"/>
            <a:ext cx="4004437" cy="2252297"/>
          </a:xfrm>
          <a:prstGeom prst="roundRect">
            <a:avLst>
              <a:gd name="adj" fmla="val 3066"/>
            </a:avLst>
          </a:prstGeom>
          <a:solidFill>
            <a:schemeClr val="bg1"/>
          </a:solidFill>
          <a:ln w="6350">
            <a:noFill/>
          </a:ln>
          <a:effectLst>
            <a:outerShdw blurRad="63500" algn="ctr" rotWithShape="0">
              <a:prstClr val="black">
                <a:alpha val="10000"/>
              </a:prstClr>
            </a:outerShdw>
          </a:effectLst>
        </p:spPr>
      </p:pic>
      <p:pic>
        <p:nvPicPr>
          <p:cNvPr id="33" name="Picture 32">
            <a:extLst>
              <a:ext uri="{FF2B5EF4-FFF2-40B4-BE49-F238E27FC236}">
                <a16:creationId xmlns:a16="http://schemas.microsoft.com/office/drawing/2014/main" id="{2459A88A-5B18-30E6-CE71-699E7F276DF3}"/>
              </a:ext>
            </a:extLst>
          </p:cNvPr>
          <p:cNvPicPr>
            <a:picLocks noChangeAspect="1"/>
          </p:cNvPicPr>
          <p:nvPr/>
        </p:nvPicPr>
        <p:blipFill rotWithShape="1">
          <a:blip r:embed="rId7"/>
          <a:srcRect t="-4741" b="-4741"/>
          <a:stretch/>
        </p:blipFill>
        <p:spPr>
          <a:xfrm>
            <a:off x="7462840" y="3881805"/>
            <a:ext cx="4004437" cy="2252297"/>
          </a:xfrm>
          <a:prstGeom prst="roundRect">
            <a:avLst>
              <a:gd name="adj" fmla="val 3066"/>
            </a:avLst>
          </a:prstGeom>
          <a:solidFill>
            <a:schemeClr val="bg1"/>
          </a:solidFill>
          <a:ln w="6350">
            <a:noFill/>
          </a:ln>
          <a:effectLst>
            <a:outerShdw blurRad="63500" algn="ctr" rotWithShape="0">
              <a:prstClr val="black">
                <a:alpha val="10000"/>
              </a:prstClr>
            </a:outerShdw>
          </a:effectLst>
        </p:spPr>
      </p:pic>
    </p:spTree>
    <p:extLst>
      <p:ext uri="{BB962C8B-B14F-4D97-AF65-F5344CB8AC3E}">
        <p14:creationId xmlns:p14="http://schemas.microsoft.com/office/powerpoint/2010/main" val="1826249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500"/>
                                        <p:tgtEl>
                                          <p:spTgt spid="5"/>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left)">
                                      <p:cBhvr>
                                        <p:cTn id="19" dur="500"/>
                                        <p:tgtEl>
                                          <p:spTgt spid="21"/>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left)">
                                      <p:cBhvr>
                                        <p:cTn id="23" dur="500"/>
                                        <p:tgtEl>
                                          <p:spTgt spid="27"/>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up)">
                                      <p:cBhvr>
                                        <p:cTn id="27" dur="500"/>
                                        <p:tgtEl>
                                          <p:spTgt spid="31"/>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up)">
                                      <p:cBhvr>
                                        <p:cTn id="31" dur="500"/>
                                        <p:tgtEl>
                                          <p:spTgt spid="32"/>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wipe(up)">
                                      <p:cBhvr>
                                        <p:cTn id="3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2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C9A7C4A-0536-1F37-DE83-47C0C8491735}"/>
              </a:ext>
            </a:extLst>
          </p:cNvPr>
          <p:cNvSpPr>
            <a:spLocks noGrp="1"/>
          </p:cNvSpPr>
          <p:nvPr>
            <p:ph type="title"/>
          </p:nvPr>
        </p:nvSpPr>
        <p:spPr>
          <a:xfrm>
            <a:off x="586740" y="457200"/>
            <a:ext cx="11018520" cy="492443"/>
          </a:xfrm>
        </p:spPr>
        <p:txBody>
          <a:bodyPr wrap="square">
            <a:spAutoFit/>
          </a:bodyPr>
          <a:lstStyle/>
          <a:p>
            <a:r>
              <a:rPr lang="en-US">
                <a:solidFill>
                  <a:schemeClr val="tx1"/>
                </a:solidFill>
              </a:rPr>
              <a:t>Microsoft investments to accelerate your time to value</a:t>
            </a:r>
          </a:p>
        </p:txBody>
      </p:sp>
      <p:pic>
        <p:nvPicPr>
          <p:cNvPr id="2" name="Picture 1">
            <a:extLst>
              <a:ext uri="{FF2B5EF4-FFF2-40B4-BE49-F238E27FC236}">
                <a16:creationId xmlns:a16="http://schemas.microsoft.com/office/drawing/2014/main" id="{67915510-118A-6029-1C2F-62F893052CB6}"/>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587374" y="1814512"/>
            <a:ext cx="11017254" cy="4247425"/>
          </a:xfrm>
          <a:prstGeom prst="roundRect">
            <a:avLst>
              <a:gd name="adj" fmla="val 4731"/>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6" name="Rectangle: Top Corners Rounded 5">
            <a:extLst>
              <a:ext uri="{FF2B5EF4-FFF2-40B4-BE49-F238E27FC236}">
                <a16:creationId xmlns:a16="http://schemas.microsoft.com/office/drawing/2014/main" id="{C4CB7184-0299-51B1-BF69-B9A4ACF92838}"/>
              </a:ext>
              <a:ext uri="{C183D7F6-B498-43B3-948B-1728B52AA6E4}">
                <adec:decorative xmlns:adec="http://schemas.microsoft.com/office/drawing/2017/decorative" val="1"/>
              </a:ext>
            </a:extLst>
          </p:cNvPr>
          <p:cNvSpPr>
            <a:spLocks/>
          </p:cNvSpPr>
          <p:nvPr/>
        </p:nvSpPr>
        <p:spPr bwMode="auto">
          <a:xfrm>
            <a:off x="586740" y="5505647"/>
            <a:ext cx="11017254" cy="564952"/>
          </a:xfrm>
          <a:prstGeom prst="round2SameRect">
            <a:avLst>
              <a:gd name="adj1" fmla="val 0"/>
              <a:gd name="adj2" fmla="val 29391"/>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7" name="TextBox 6">
            <a:extLst>
              <a:ext uri="{FF2B5EF4-FFF2-40B4-BE49-F238E27FC236}">
                <a16:creationId xmlns:a16="http://schemas.microsoft.com/office/drawing/2014/main" id="{8E01AF9E-FF17-FC65-E60D-CDD41B7320CC}"/>
              </a:ext>
              <a:ext uri="{C183D7F6-B498-43B3-948B-1728B52AA6E4}">
                <adec:decorative xmlns:adec="http://schemas.microsoft.com/office/drawing/2017/decorative" val="1"/>
              </a:ext>
            </a:extLst>
          </p:cNvPr>
          <p:cNvSpPr txBox="1">
            <a:spLocks/>
          </p:cNvSpPr>
          <p:nvPr/>
        </p:nvSpPr>
        <p:spPr>
          <a:xfrm>
            <a:off x="724532"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3" name="TextBox 12">
            <a:extLst>
              <a:ext uri="{FF2B5EF4-FFF2-40B4-BE49-F238E27FC236}">
                <a16:creationId xmlns:a16="http://schemas.microsoft.com/office/drawing/2014/main" id="{73681691-20BB-3D4C-2F76-5868DD0BF3E0}"/>
              </a:ext>
              <a:ext uri="{C183D7F6-B498-43B3-948B-1728B52AA6E4}">
                <adec:decorative xmlns:adec="http://schemas.microsoft.com/office/drawing/2017/decorative" val="1"/>
              </a:ext>
            </a:extLst>
          </p:cNvPr>
          <p:cNvSpPr txBox="1">
            <a:spLocks/>
          </p:cNvSpPr>
          <p:nvPr/>
        </p:nvSpPr>
        <p:spPr>
          <a:xfrm>
            <a:off x="7984919"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5D2A3FB4-7639-F59C-C966-FC8B96EED6F1}"/>
              </a:ext>
              <a:ext uri="{C183D7F6-B498-43B3-948B-1728B52AA6E4}">
                <adec:decorative xmlns:adec="http://schemas.microsoft.com/office/drawing/2017/decorative" val="1"/>
              </a:ext>
            </a:extLst>
          </p:cNvPr>
          <p:cNvSpPr/>
          <p:nvPr/>
        </p:nvSpPr>
        <p:spPr bwMode="auto">
          <a:xfrm>
            <a:off x="2094690" y="2915601"/>
            <a:ext cx="738426" cy="67806"/>
          </a:xfrm>
          <a:prstGeom prst="round2SameRect">
            <a:avLst>
              <a:gd name="adj1" fmla="val 50000"/>
              <a:gd name="adj2"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Rectangle: Top Corners Rounded 17">
            <a:extLst>
              <a:ext uri="{FF2B5EF4-FFF2-40B4-BE49-F238E27FC236}">
                <a16:creationId xmlns:a16="http://schemas.microsoft.com/office/drawing/2014/main" id="{7D4C55B4-C4BE-34D2-C7AB-1B27FE243C07}"/>
              </a:ext>
              <a:ext uri="{C183D7F6-B498-43B3-948B-1728B52AA6E4}">
                <adec:decorative xmlns:adec="http://schemas.microsoft.com/office/drawing/2017/decorative" val="1"/>
              </a:ext>
            </a:extLst>
          </p:cNvPr>
          <p:cNvSpPr>
            <a:spLocks/>
          </p:cNvSpPr>
          <p:nvPr/>
        </p:nvSpPr>
        <p:spPr bwMode="auto">
          <a:xfrm>
            <a:off x="9355077" y="2915601"/>
            <a:ext cx="738426" cy="67806"/>
          </a:xfrm>
          <a:prstGeom prst="round2SameRect">
            <a:avLst>
              <a:gd name="adj1" fmla="val 50000"/>
              <a:gd name="adj2" fmla="val 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extBox 18">
            <a:extLst>
              <a:ext uri="{FF2B5EF4-FFF2-40B4-BE49-F238E27FC236}">
                <a16:creationId xmlns:a16="http://schemas.microsoft.com/office/drawing/2014/main" id="{1CA52D74-D3EF-4A3E-A379-85ADA397C946}"/>
              </a:ext>
            </a:extLst>
          </p:cNvPr>
          <p:cNvSpPr txBox="1"/>
          <p:nvPr/>
        </p:nvSpPr>
        <p:spPr>
          <a:xfrm>
            <a:off x="866366"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Find Partners to help with Microsoft 365 Copilot Extensibility</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t the </a:t>
            </a:r>
          </a:p>
        </p:txBody>
      </p:sp>
      <p:sp>
        <p:nvSpPr>
          <p:cNvPr id="35" name="TextBox 34">
            <a:extLst>
              <a:ext uri="{FF2B5EF4-FFF2-40B4-BE49-F238E27FC236}">
                <a16:creationId xmlns:a16="http://schemas.microsoft.com/office/drawing/2014/main" id="{E0C2927B-7403-59DF-EE1E-90C5A54567BE}"/>
              </a:ext>
              <a:ext uri="{C183D7F6-B498-43B3-948B-1728B52AA6E4}">
                <adec:decorative xmlns:adec="http://schemas.microsoft.com/office/drawing/2017/decorative" val="1"/>
              </a:ext>
            </a:extLst>
          </p:cNvPr>
          <p:cNvSpPr txBox="1">
            <a:spLocks/>
          </p:cNvSpPr>
          <p:nvPr/>
        </p:nvSpPr>
        <p:spPr>
          <a:xfrm>
            <a:off x="4346017" y="1963954"/>
            <a:ext cx="3478743" cy="3948541"/>
          </a:xfrm>
          <a:prstGeom prst="roundRect">
            <a:avLst>
              <a:gd name="adj" fmla="val 4700"/>
            </a:avLst>
          </a:prstGeom>
          <a:solidFill>
            <a:schemeClr val="bg1"/>
          </a:solid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400" b="0" i="0" u="none" strike="noStrike" kern="0" cap="none" spc="0" normalizeH="0" baseline="0">
                <a:ln>
                  <a:noFill/>
                </a:ln>
                <a:solidFill>
                  <a:srgbClr val="FFFFFF"/>
                </a:solidFill>
                <a:effectLst/>
                <a:uLnTx/>
                <a:uFillTx/>
                <a:latin typeface="Segoe UI Semibold"/>
                <a:cs typeface="Segoe UI" pitchFamily="34" charset="0"/>
              </a:defRPr>
            </a:lvl1p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w="3175">
                <a:noFill/>
              </a:ln>
              <a:solidFill>
                <a:srgbClr val="000000"/>
              </a:solidFill>
              <a:effectLst/>
              <a:uLnTx/>
              <a:uFillTx/>
              <a:latin typeface="Segoe UI"/>
              <a:ea typeface="+mn-ea"/>
              <a:cs typeface="Segoe UI" pitchFamily="34" charset="0"/>
            </a:endParaRPr>
          </a:p>
        </p:txBody>
      </p:sp>
      <p:sp>
        <p:nvSpPr>
          <p:cNvPr id="38" name="Rectangle: Top Corners Rounded 37">
            <a:extLst>
              <a:ext uri="{FF2B5EF4-FFF2-40B4-BE49-F238E27FC236}">
                <a16:creationId xmlns:a16="http://schemas.microsoft.com/office/drawing/2014/main" id="{9E69B886-851A-4BFC-B42B-0DB3A1083649}"/>
              </a:ext>
              <a:ext uri="{C183D7F6-B498-43B3-948B-1728B52AA6E4}">
                <adec:decorative xmlns:adec="http://schemas.microsoft.com/office/drawing/2017/decorative" val="1"/>
              </a:ext>
            </a:extLst>
          </p:cNvPr>
          <p:cNvSpPr/>
          <p:nvPr/>
        </p:nvSpPr>
        <p:spPr bwMode="auto">
          <a:xfrm>
            <a:off x="5716175" y="2915601"/>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TextBox 39">
            <a:extLst>
              <a:ext uri="{FF2B5EF4-FFF2-40B4-BE49-F238E27FC236}">
                <a16:creationId xmlns:a16="http://schemas.microsoft.com/office/drawing/2014/main" id="{DBD0298A-FAE0-CE7C-83BD-AD035A9707E2}"/>
              </a:ext>
            </a:extLst>
          </p:cNvPr>
          <p:cNvSpPr txBox="1"/>
          <p:nvPr/>
        </p:nvSpPr>
        <p:spPr>
          <a:xfrm>
            <a:off x="4487850"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Eligible customers</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can request technical and deployment</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assistance from </a:t>
            </a:r>
          </a:p>
        </p:txBody>
      </p:sp>
      <p:sp>
        <p:nvSpPr>
          <p:cNvPr id="41" name="TextBox 40">
            <a:extLst>
              <a:ext uri="{FF2B5EF4-FFF2-40B4-BE49-F238E27FC236}">
                <a16:creationId xmlns:a16="http://schemas.microsoft.com/office/drawing/2014/main" id="{9BF808FC-1B6F-4ED3-A609-8BD36DB8C8F2}"/>
              </a:ext>
            </a:extLst>
          </p:cNvPr>
          <p:cNvSpPr txBox="1"/>
          <p:nvPr/>
        </p:nvSpPr>
        <p:spPr>
          <a:xfrm>
            <a:off x="8126752" y="3200362"/>
            <a:ext cx="3195076" cy="14773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Get started on</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your Copilot journey with expert-led</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services through </a:t>
            </a:r>
          </a:p>
        </p:txBody>
      </p:sp>
      <p:sp>
        <p:nvSpPr>
          <p:cNvPr id="42" name="Rectangle: Rounded Corners 41">
            <a:extLst>
              <a:ext uri="{FF2B5EF4-FFF2-40B4-BE49-F238E27FC236}">
                <a16:creationId xmlns:a16="http://schemas.microsoft.com/office/drawing/2014/main" id="{E254328C-50E5-EFF4-38D1-C35709195A27}"/>
              </a:ext>
            </a:extLst>
          </p:cNvPr>
          <p:cNvSpPr>
            <a:spLocks/>
          </p:cNvSpPr>
          <p:nvPr/>
        </p:nvSpPr>
        <p:spPr bwMode="auto">
          <a:xfrm>
            <a:off x="866366"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Microsoft 365 Copilot </a:t>
            </a:r>
            <a:b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b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hlinkClick r:id="rId4">
                  <a:extLst>
                    <a:ext uri="{A12FA001-AC4F-418D-AE19-62706E023703}">
                      <ahyp:hlinkClr xmlns:ahyp="http://schemas.microsoft.com/office/drawing/2018/hyperlinkcolor" val="tx"/>
                    </a:ext>
                  </a:extLst>
                </a:hlinkClick>
              </a:rPr>
              <a:t>Partner Directory</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3" name="Rectangle: Rounded Corners 42">
            <a:extLst>
              <a:ext uri="{FF2B5EF4-FFF2-40B4-BE49-F238E27FC236}">
                <a16:creationId xmlns:a16="http://schemas.microsoft.com/office/drawing/2014/main" id="{C1F0D71F-275E-62C3-C81C-9A0FDF1CCBED}"/>
              </a:ext>
            </a:extLst>
          </p:cNvPr>
          <p:cNvSpPr>
            <a:spLocks/>
          </p:cNvSpPr>
          <p:nvPr/>
        </p:nvSpPr>
        <p:spPr bwMode="auto">
          <a:xfrm>
            <a:off x="4487851"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FastTrack</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44" name="Rectangle: Rounded Corners 43">
            <a:extLst>
              <a:ext uri="{FF2B5EF4-FFF2-40B4-BE49-F238E27FC236}">
                <a16:creationId xmlns:a16="http://schemas.microsoft.com/office/drawing/2014/main" id="{C9F09923-D651-73EA-1851-1C29A3706FE7}"/>
              </a:ext>
            </a:extLst>
          </p:cNvPr>
          <p:cNvSpPr>
            <a:spLocks/>
          </p:cNvSpPr>
          <p:nvPr/>
        </p:nvSpPr>
        <p:spPr bwMode="auto">
          <a:xfrm>
            <a:off x="8126754" y="4912520"/>
            <a:ext cx="3195074" cy="593127"/>
          </a:xfrm>
          <a:prstGeom prst="roundRect">
            <a:avLst>
              <a:gd name="adj" fmla="val 50000"/>
            </a:avLst>
          </a:pr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73152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6">
                  <a:extLst>
                    <a:ext uri="{A12FA001-AC4F-418D-AE19-62706E023703}">
                      <ahyp:hlinkClr xmlns:ahyp="http://schemas.microsoft.com/office/drawing/2018/hyperlinkcolor" val="tx"/>
                    </a:ext>
                  </a:extLst>
                </a:hlinkClick>
              </a:rPr>
              <a:t>Microsoft Unified</a:t>
            </a:r>
            <a:endParaRPr kumimoji="0" lang="en-US" sz="1600" b="0" i="0" u="none" strike="noStrike" kern="1200" cap="none" spc="0" normalizeH="0" baseline="0" noProof="0">
              <a:ln>
                <a:noFill/>
              </a:ln>
              <a:solidFill>
                <a:srgbClr val="0078D4"/>
              </a:solidFill>
              <a:effectLst/>
              <a:uLnTx/>
              <a:uFillTx/>
              <a:latin typeface="Segoe UI Semibold"/>
              <a:ea typeface="Calibri" panose="020F0502020204030204" pitchFamily="34" charset="0"/>
              <a:cs typeface="+mn-cs"/>
            </a:endParaRP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2259611" y="2246302"/>
            <a:ext cx="408584" cy="510642"/>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5843386" y="2261850"/>
            <a:ext cx="484004" cy="479546"/>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9484517" y="2261850"/>
            <a:ext cx="479546" cy="47954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600" b="0" i="0" u="none" strike="noStrike" kern="1200" cap="none" spc="0" normalizeH="0" baseline="0" noProof="0">
              <a:ln>
                <a:noFill/>
              </a:ln>
              <a:solidFill>
                <a:srgbClr val="FFFFFF"/>
              </a:solidFill>
              <a:effectLst/>
              <a:uLnTx/>
              <a:uFillTx/>
              <a:latin typeface="Segoe UI Semibold"/>
              <a:ea typeface="+mn-ea"/>
              <a:cs typeface="+mn-cs"/>
            </a:endParaRPr>
          </a:p>
        </p:txBody>
      </p:sp>
      <p:grpSp>
        <p:nvGrpSpPr>
          <p:cNvPr id="46" name="Group 45">
            <a:extLst>
              <a:ext uri="{FF2B5EF4-FFF2-40B4-BE49-F238E27FC236}">
                <a16:creationId xmlns:a16="http://schemas.microsoft.com/office/drawing/2014/main" id="{46FA2823-24E3-274D-4828-A007FE1F1D7C}"/>
              </a:ext>
              <a:ext uri="{C183D7F6-B498-43B3-948B-1728B52AA6E4}">
                <adec:decorative xmlns:adec="http://schemas.microsoft.com/office/drawing/2017/decorative" val="1"/>
              </a:ext>
            </a:extLst>
          </p:cNvPr>
          <p:cNvGrpSpPr/>
          <p:nvPr/>
        </p:nvGrpSpPr>
        <p:grpSpPr>
          <a:xfrm>
            <a:off x="909224" y="4949618"/>
            <a:ext cx="518930" cy="518930"/>
            <a:chOff x="632462" y="5834381"/>
            <a:chExt cx="396238" cy="396238"/>
          </a:xfrm>
        </p:grpSpPr>
        <p:sp>
          <p:nvSpPr>
            <p:cNvPr id="47" name="Freeform: Shape 115">
              <a:extLst>
                <a:ext uri="{FF2B5EF4-FFF2-40B4-BE49-F238E27FC236}">
                  <a16:creationId xmlns:a16="http://schemas.microsoft.com/office/drawing/2014/main" id="{FF246A9C-9882-9E05-7657-569692785013}"/>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Graphic 255" descr="Icon of a finger tapping on a screen">
              <a:extLst>
                <a:ext uri="{FF2B5EF4-FFF2-40B4-BE49-F238E27FC236}">
                  <a16:creationId xmlns:a16="http://schemas.microsoft.com/office/drawing/2014/main" id="{28D9AF22-0DB2-C64A-31D2-1F55F81B7673}"/>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49" name="Group 48">
            <a:extLst>
              <a:ext uri="{FF2B5EF4-FFF2-40B4-BE49-F238E27FC236}">
                <a16:creationId xmlns:a16="http://schemas.microsoft.com/office/drawing/2014/main" id="{D2F384E1-7FD4-C245-F507-217F49F14C46}"/>
              </a:ext>
              <a:ext uri="{C183D7F6-B498-43B3-948B-1728B52AA6E4}">
                <adec:decorative xmlns:adec="http://schemas.microsoft.com/office/drawing/2017/decorative" val="1"/>
              </a:ext>
            </a:extLst>
          </p:cNvPr>
          <p:cNvGrpSpPr/>
          <p:nvPr/>
        </p:nvGrpSpPr>
        <p:grpSpPr>
          <a:xfrm>
            <a:off x="4530709" y="4949618"/>
            <a:ext cx="518930" cy="518930"/>
            <a:chOff x="632462" y="5834381"/>
            <a:chExt cx="396238" cy="396238"/>
          </a:xfrm>
        </p:grpSpPr>
        <p:sp>
          <p:nvSpPr>
            <p:cNvPr id="50" name="Freeform: Shape 115">
              <a:extLst>
                <a:ext uri="{FF2B5EF4-FFF2-40B4-BE49-F238E27FC236}">
                  <a16:creationId xmlns:a16="http://schemas.microsoft.com/office/drawing/2014/main" id="{844C3B0A-085E-ED01-0723-E92574F558FC}"/>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1" name="Graphic 255" descr="Icon of a finger tapping on a screen">
              <a:extLst>
                <a:ext uri="{FF2B5EF4-FFF2-40B4-BE49-F238E27FC236}">
                  <a16:creationId xmlns:a16="http://schemas.microsoft.com/office/drawing/2014/main" id="{2A9BFABE-1A21-4EEF-2D5E-EBF2599AB15D}"/>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52" name="Group 51">
            <a:extLst>
              <a:ext uri="{FF2B5EF4-FFF2-40B4-BE49-F238E27FC236}">
                <a16:creationId xmlns:a16="http://schemas.microsoft.com/office/drawing/2014/main" id="{93A158F8-C083-EC61-E920-CE0515DE586B}"/>
              </a:ext>
              <a:ext uri="{C183D7F6-B498-43B3-948B-1728B52AA6E4}">
                <adec:decorative xmlns:adec="http://schemas.microsoft.com/office/drawing/2017/decorative" val="1"/>
              </a:ext>
            </a:extLst>
          </p:cNvPr>
          <p:cNvGrpSpPr/>
          <p:nvPr/>
        </p:nvGrpSpPr>
        <p:grpSpPr>
          <a:xfrm>
            <a:off x="8169612" y="4949618"/>
            <a:ext cx="518930" cy="518930"/>
            <a:chOff x="632462" y="5834381"/>
            <a:chExt cx="396238" cy="396238"/>
          </a:xfrm>
        </p:grpSpPr>
        <p:sp>
          <p:nvSpPr>
            <p:cNvPr id="53" name="Freeform: Shape 115">
              <a:extLst>
                <a:ext uri="{FF2B5EF4-FFF2-40B4-BE49-F238E27FC236}">
                  <a16:creationId xmlns:a16="http://schemas.microsoft.com/office/drawing/2014/main" id="{323855ED-6191-A38E-650D-8A32D451EBDF}"/>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54" name="Graphic 255" descr="Icon of a finger tapping on a screen">
              <a:extLst>
                <a:ext uri="{FF2B5EF4-FFF2-40B4-BE49-F238E27FC236}">
                  <a16:creationId xmlns:a16="http://schemas.microsoft.com/office/drawing/2014/main" id="{3A73A677-766E-3260-EC80-2A14347B3BBA}"/>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2"/>
                                        </p:tgtEl>
                                        <p:attrNameLst>
                                          <p:attrName>ppt_x</p:attrName>
                                          <p:attrName>ppt_y</p:attrName>
                                        </p:attrNameLst>
                                      </p:cBhvr>
                                      <p:rCtr x="0" y="-1944"/>
                                    </p:animMotion>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wipe(up)">
                                      <p:cBhvr>
                                        <p:cTn id="13" dur="250"/>
                                        <p:tgtEl>
                                          <p:spTgt spid="6"/>
                                        </p:tgtEl>
                                      </p:cBhvr>
                                    </p:animEffect>
                                  </p:childTnLst>
                                </p:cTn>
                              </p:par>
                            </p:childTnLst>
                          </p:cTn>
                        </p:par>
                        <p:par>
                          <p:cTn id="14" fill="hold">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250"/>
                                        <p:tgtEl>
                                          <p:spTgt spid="7"/>
                                        </p:tgtEl>
                                      </p:cBhvr>
                                    </p:animEffect>
                                  </p:childTnLst>
                                </p:cTn>
                              </p:par>
                              <p:par>
                                <p:cTn id="18" presetID="42" presetClass="path" presetSubtype="0" decel="100000" fill="hold" grpId="1" nodeType="withEffect">
                                  <p:stCondLst>
                                    <p:cond delay="0"/>
                                  </p:stCondLst>
                                  <p:childTnLst>
                                    <p:animMotion origin="layout" path="M 1.25E-6 0.03889 L 1.25E-6 1.85185E-6 " pathEditMode="relative" rAng="0" ptsTypes="AA">
                                      <p:cBhvr>
                                        <p:cTn id="19" dur="500" fill="hold"/>
                                        <p:tgtEl>
                                          <p:spTgt spid="7"/>
                                        </p:tgtEl>
                                        <p:attrNameLst>
                                          <p:attrName>ppt_x</p:attrName>
                                          <p:attrName>ppt_y</p:attrName>
                                        </p:attrNameLst>
                                      </p:cBhvr>
                                      <p:rCtr x="0" y="-1944"/>
                                    </p:animMotion>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42" presetClass="path" presetSubtype="0" decel="100000" fill="hold" grpId="1" nodeType="withEffect">
                                  <p:stCondLst>
                                    <p:cond delay="0"/>
                                  </p:stCondLst>
                                  <p:childTnLst>
                                    <p:animMotion origin="layout" path="M 1.25E-6 0.03889 L 1.25E-6 1.85185E-6 " pathEditMode="relative" rAng="0" ptsTypes="AA">
                                      <p:cBhvr>
                                        <p:cTn id="24" dur="500" fill="hold"/>
                                        <p:tgtEl>
                                          <p:spTgt spid="13"/>
                                        </p:tgtEl>
                                        <p:attrNameLst>
                                          <p:attrName>ppt_x</p:attrName>
                                          <p:attrName>ppt_y</p:attrName>
                                        </p:attrNameLst>
                                      </p:cBhvr>
                                      <p:rCtr x="0" y="-1944"/>
                                    </p:animMotion>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par>
                                <p:cTn id="28" presetID="42" presetClass="path" presetSubtype="0" decel="100000" fill="hold" grpId="1" nodeType="withEffect">
                                  <p:stCondLst>
                                    <p:cond delay="0"/>
                                  </p:stCondLst>
                                  <p:childTnLst>
                                    <p:animMotion origin="layout" path="M 1.25E-6 0.03889 L 1.25E-6 1.85185E-6 " pathEditMode="relative" rAng="0" ptsTypes="AA">
                                      <p:cBhvr>
                                        <p:cTn id="29" dur="500" fill="hold"/>
                                        <p:tgtEl>
                                          <p:spTgt spid="17"/>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250"/>
                                        <p:tgtEl>
                                          <p:spTgt spid="18"/>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18"/>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250"/>
                                        <p:tgtEl>
                                          <p:spTgt spid="19"/>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19"/>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250"/>
                                        <p:tgtEl>
                                          <p:spTgt spid="35"/>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35"/>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fade">
                                      <p:cBhvr>
                                        <p:cTn id="47" dur="250"/>
                                        <p:tgtEl>
                                          <p:spTgt spid="38"/>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38"/>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250"/>
                                        <p:tgtEl>
                                          <p:spTgt spid="40"/>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40"/>
                                        </p:tgtEl>
                                        <p:attrNameLst>
                                          <p:attrName>ppt_x</p:attrName>
                                          <p:attrName>ppt_y</p:attrName>
                                        </p:attrNameLst>
                                      </p:cBhvr>
                                      <p:rCtr x="0" y="-1944"/>
                                    </p:animMotion>
                                  </p:childTnLst>
                                </p:cTn>
                              </p:par>
                              <p:par>
                                <p:cTn id="55" presetID="10" presetClass="entr" presetSubtype="0" fill="hold" grpId="0" nodeType="with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250"/>
                                        <p:tgtEl>
                                          <p:spTgt spid="41"/>
                                        </p:tgtEl>
                                      </p:cBhvr>
                                    </p:animEffect>
                                  </p:childTnLst>
                                </p:cTn>
                              </p:par>
                              <p:par>
                                <p:cTn id="58" presetID="42" presetClass="path" presetSubtype="0" decel="100000" fill="hold" grpId="1" nodeType="withEffect">
                                  <p:stCondLst>
                                    <p:cond delay="0"/>
                                  </p:stCondLst>
                                  <p:childTnLst>
                                    <p:animMotion origin="layout" path="M 1.25E-6 0.03889 L 1.25E-6 1.85185E-6 " pathEditMode="relative" rAng="0" ptsTypes="AA">
                                      <p:cBhvr>
                                        <p:cTn id="59" dur="500" fill="hold"/>
                                        <p:tgtEl>
                                          <p:spTgt spid="41"/>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46"/>
                                        </p:tgtEl>
                                        <p:attrNameLst>
                                          <p:attrName>style.visibility</p:attrName>
                                        </p:attrNameLst>
                                      </p:cBhvr>
                                      <p:to>
                                        <p:strVal val="visible"/>
                                      </p:to>
                                    </p:set>
                                    <p:animEffect transition="in" filter="fade">
                                      <p:cBhvr>
                                        <p:cTn id="62" dur="250"/>
                                        <p:tgtEl>
                                          <p:spTgt spid="46"/>
                                        </p:tgtEl>
                                      </p:cBhvr>
                                    </p:animEffect>
                                  </p:childTnLst>
                                </p:cTn>
                              </p:par>
                              <p:par>
                                <p:cTn id="63" presetID="42" presetClass="path" presetSubtype="0" decel="100000" fill="hold" nodeType="withEffect">
                                  <p:stCondLst>
                                    <p:cond delay="0"/>
                                  </p:stCondLst>
                                  <p:childTnLst>
                                    <p:animMotion origin="layout" path="M -3.33333E-6 0.03889 L -3.33333E-6 -7.40741E-7 " pathEditMode="relative" rAng="0" ptsTypes="AA">
                                      <p:cBhvr>
                                        <p:cTn id="64" dur="500" fill="hold"/>
                                        <p:tgtEl>
                                          <p:spTgt spid="46"/>
                                        </p:tgtEl>
                                        <p:attrNameLst>
                                          <p:attrName>ppt_x</p:attrName>
                                          <p:attrName>ppt_y</p:attrName>
                                        </p:attrNameLst>
                                      </p:cBhvr>
                                      <p:rCtr x="0" y="-1944"/>
                                    </p:animMotion>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250"/>
                                        <p:tgtEl>
                                          <p:spTgt spid="42"/>
                                        </p:tgtEl>
                                      </p:cBhvr>
                                    </p:animEffect>
                                  </p:childTnLst>
                                </p:cTn>
                              </p:par>
                              <p:par>
                                <p:cTn id="68" presetID="42" presetClass="path" presetSubtype="0" decel="100000" fill="hold" grpId="1" nodeType="withEffect">
                                  <p:stCondLst>
                                    <p:cond delay="0"/>
                                  </p:stCondLst>
                                  <p:childTnLst>
                                    <p:animMotion origin="layout" path="M 1.25E-6 0.03889 L 1.25E-6 1.85185E-6 " pathEditMode="relative" rAng="0" ptsTypes="AA">
                                      <p:cBhvr>
                                        <p:cTn id="69" dur="500" fill="hold"/>
                                        <p:tgtEl>
                                          <p:spTgt spid="42"/>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250"/>
                                        <p:tgtEl>
                                          <p:spTgt spid="49"/>
                                        </p:tgtEl>
                                      </p:cBhvr>
                                    </p:animEffect>
                                  </p:childTnLst>
                                </p:cTn>
                              </p:par>
                              <p:par>
                                <p:cTn id="73" presetID="42" presetClass="path" presetSubtype="0" decel="100000" fill="hold" nodeType="withEffect">
                                  <p:stCondLst>
                                    <p:cond delay="0"/>
                                  </p:stCondLst>
                                  <p:childTnLst>
                                    <p:animMotion origin="layout" path="M 1.45833E-6 0.03889 L 1.45833E-6 -7.40741E-7 " pathEditMode="relative" rAng="0" ptsTypes="AA">
                                      <p:cBhvr>
                                        <p:cTn id="74" dur="500" fill="hold"/>
                                        <p:tgtEl>
                                          <p:spTgt spid="49"/>
                                        </p:tgtEl>
                                        <p:attrNameLst>
                                          <p:attrName>ppt_x</p:attrName>
                                          <p:attrName>ppt_y</p:attrName>
                                        </p:attrNameLst>
                                      </p:cBhvr>
                                      <p:rCtr x="0" y="-1944"/>
                                    </p:animMotion>
                                  </p:childTnLst>
                                </p:cTn>
                              </p:par>
                              <p:par>
                                <p:cTn id="75" presetID="10" presetClass="entr" presetSubtype="0" fill="hold" grpId="0" nodeType="withEffect">
                                  <p:stCondLst>
                                    <p:cond delay="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250"/>
                                        <p:tgtEl>
                                          <p:spTgt spid="43"/>
                                        </p:tgtEl>
                                      </p:cBhvr>
                                    </p:animEffect>
                                  </p:childTnLst>
                                </p:cTn>
                              </p:par>
                              <p:par>
                                <p:cTn id="78" presetID="42" presetClass="path" presetSubtype="0" decel="100000" fill="hold" grpId="1" nodeType="withEffect">
                                  <p:stCondLst>
                                    <p:cond delay="0"/>
                                  </p:stCondLst>
                                  <p:childTnLst>
                                    <p:animMotion origin="layout" path="M 1.45833E-6 0.03889 L 1.45833E-6 -7.40741E-7 " pathEditMode="relative" rAng="0" ptsTypes="AA">
                                      <p:cBhvr>
                                        <p:cTn id="79" dur="500" fill="hold"/>
                                        <p:tgtEl>
                                          <p:spTgt spid="43"/>
                                        </p:tgtEl>
                                        <p:attrNameLst>
                                          <p:attrName>ppt_x</p:attrName>
                                          <p:attrName>ppt_y</p:attrName>
                                        </p:attrNameLst>
                                      </p:cBhvr>
                                      <p:rCtr x="0" y="-1944"/>
                                    </p:animMotion>
                                  </p:childTnLst>
                                </p:cTn>
                              </p:par>
                              <p:par>
                                <p:cTn id="80" presetID="10" presetClass="entr" presetSubtype="0" fill="hold" nodeType="withEffect">
                                  <p:stCondLst>
                                    <p:cond delay="0"/>
                                  </p:stCondLst>
                                  <p:childTnLst>
                                    <p:set>
                                      <p:cBhvr>
                                        <p:cTn id="81" dur="1" fill="hold">
                                          <p:stCondLst>
                                            <p:cond delay="0"/>
                                          </p:stCondLst>
                                        </p:cTn>
                                        <p:tgtEl>
                                          <p:spTgt spid="52"/>
                                        </p:tgtEl>
                                        <p:attrNameLst>
                                          <p:attrName>style.visibility</p:attrName>
                                        </p:attrNameLst>
                                      </p:cBhvr>
                                      <p:to>
                                        <p:strVal val="visible"/>
                                      </p:to>
                                    </p:set>
                                    <p:animEffect transition="in" filter="fade">
                                      <p:cBhvr>
                                        <p:cTn id="82" dur="250"/>
                                        <p:tgtEl>
                                          <p:spTgt spid="52"/>
                                        </p:tgtEl>
                                      </p:cBhvr>
                                    </p:animEffect>
                                  </p:childTnLst>
                                </p:cTn>
                              </p:par>
                              <p:par>
                                <p:cTn id="83" presetID="42" presetClass="path" presetSubtype="0" decel="100000" fill="hold" nodeType="withEffect">
                                  <p:stCondLst>
                                    <p:cond delay="0"/>
                                  </p:stCondLst>
                                  <p:childTnLst>
                                    <p:animMotion origin="layout" path="M 3.95833E-6 0.03889 L 3.95833E-6 -7.40741E-7 " pathEditMode="relative" rAng="0" ptsTypes="AA">
                                      <p:cBhvr>
                                        <p:cTn id="84" dur="500" fill="hold"/>
                                        <p:tgtEl>
                                          <p:spTgt spid="52"/>
                                        </p:tgtEl>
                                        <p:attrNameLst>
                                          <p:attrName>ppt_x</p:attrName>
                                          <p:attrName>ppt_y</p:attrName>
                                        </p:attrNameLst>
                                      </p:cBhvr>
                                      <p:rCtr x="0" y="-1944"/>
                                    </p:animMotion>
                                  </p:childTnLst>
                                </p:cTn>
                              </p:par>
                              <p:par>
                                <p:cTn id="85" presetID="10" presetClass="entr" presetSubtype="0" fill="hold" grpId="0" nodeType="withEffect">
                                  <p:stCondLst>
                                    <p:cond delay="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42" presetClass="path" presetSubtype="0" decel="100000" fill="hold" grpId="1" nodeType="withEffect">
                                  <p:stCondLst>
                                    <p:cond delay="0"/>
                                  </p:stCondLst>
                                  <p:childTnLst>
                                    <p:animMotion origin="layout" path="M 1.25E-6 0.03889 L 1.25E-6 1.85185E-6 " pathEditMode="relative" rAng="0" ptsTypes="AA">
                                      <p:cBhvr>
                                        <p:cTn id="89" dur="500" fill="hold"/>
                                        <p:tgtEl>
                                          <p:spTgt spid="44"/>
                                        </p:tgtEl>
                                        <p:attrNameLst>
                                          <p:attrName>ppt_x</p:attrName>
                                          <p:attrName>ppt_y</p:attrName>
                                        </p:attrNameLst>
                                      </p:cBhvr>
                                      <p:rCtr x="0" y="-1944"/>
                                    </p:animMotion>
                                  </p:childTnLst>
                                </p:cTn>
                              </p:par>
                              <p:par>
                                <p:cTn id="90" presetID="10" presetClass="entr" presetSubtype="0" fill="hold" grpId="0" nodeType="with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250"/>
                                        <p:tgtEl>
                                          <p:spTgt spid="9"/>
                                        </p:tgtEl>
                                      </p:cBhvr>
                                    </p:animEffect>
                                  </p:childTnLst>
                                </p:cTn>
                              </p:par>
                              <p:par>
                                <p:cTn id="93" presetID="42" presetClass="path" presetSubtype="0" decel="100000" fill="hold" grpId="1" nodeType="withEffect">
                                  <p:stCondLst>
                                    <p:cond delay="0"/>
                                  </p:stCondLst>
                                  <p:childTnLst>
                                    <p:animMotion origin="layout" path="M 1.25E-6 0.03889 L 1.25E-6 1.85185E-6 " pathEditMode="relative" rAng="0" ptsTypes="AA">
                                      <p:cBhvr>
                                        <p:cTn id="94" dur="500" fill="hold"/>
                                        <p:tgtEl>
                                          <p:spTgt spid="9"/>
                                        </p:tgtEl>
                                        <p:attrNameLst>
                                          <p:attrName>ppt_x</p:attrName>
                                          <p:attrName>ppt_y</p:attrName>
                                        </p:attrNameLst>
                                      </p:cBhvr>
                                      <p:rCtr x="0" y="-1944"/>
                                    </p:animMotion>
                                  </p:childTnLst>
                                </p:cTn>
                              </p:par>
                              <p:par>
                                <p:cTn id="95" presetID="10" presetClass="entr" presetSubtype="0" fill="hold" grpId="0" nodeType="withEffect">
                                  <p:stCondLst>
                                    <p:cond delay="0"/>
                                  </p:stCondLst>
                                  <p:childTnLst>
                                    <p:set>
                                      <p:cBhvr>
                                        <p:cTn id="96" dur="1" fill="hold">
                                          <p:stCondLst>
                                            <p:cond delay="0"/>
                                          </p:stCondLst>
                                        </p:cTn>
                                        <p:tgtEl>
                                          <p:spTgt spid="10"/>
                                        </p:tgtEl>
                                        <p:attrNameLst>
                                          <p:attrName>style.visibility</p:attrName>
                                        </p:attrNameLst>
                                      </p:cBhvr>
                                      <p:to>
                                        <p:strVal val="visible"/>
                                      </p:to>
                                    </p:set>
                                    <p:animEffect transition="in" filter="fade">
                                      <p:cBhvr>
                                        <p:cTn id="97" dur="250"/>
                                        <p:tgtEl>
                                          <p:spTgt spid="10"/>
                                        </p:tgtEl>
                                      </p:cBhvr>
                                    </p:animEffect>
                                  </p:childTnLst>
                                </p:cTn>
                              </p:par>
                              <p:par>
                                <p:cTn id="98" presetID="42" presetClass="path" presetSubtype="0" decel="100000" fill="hold" grpId="1" nodeType="withEffect">
                                  <p:stCondLst>
                                    <p:cond delay="0"/>
                                  </p:stCondLst>
                                  <p:childTnLst>
                                    <p:animMotion origin="layout" path="M 1.25E-6 0.03889 L 1.25E-6 1.85185E-6 " pathEditMode="relative" rAng="0" ptsTypes="AA">
                                      <p:cBhvr>
                                        <p:cTn id="99" dur="500" fill="hold"/>
                                        <p:tgtEl>
                                          <p:spTgt spid="10"/>
                                        </p:tgtEl>
                                        <p:attrNameLst>
                                          <p:attrName>ppt_x</p:attrName>
                                          <p:attrName>ppt_y</p:attrName>
                                        </p:attrNameLst>
                                      </p:cBhvr>
                                      <p:rCtr x="0" y="-1944"/>
                                    </p:animMotion>
                                  </p:childTnLst>
                                </p:cTn>
                              </p:par>
                              <p:par>
                                <p:cTn id="100" presetID="10" presetClass="entr" presetSubtype="0" fill="hold" grpId="0" nodeType="withEffect">
                                  <p:stCondLst>
                                    <p:cond delay="0"/>
                                  </p:stCondLst>
                                  <p:childTnLst>
                                    <p:set>
                                      <p:cBhvr>
                                        <p:cTn id="101" dur="1" fill="hold">
                                          <p:stCondLst>
                                            <p:cond delay="0"/>
                                          </p:stCondLst>
                                        </p:cTn>
                                        <p:tgtEl>
                                          <p:spTgt spid="15"/>
                                        </p:tgtEl>
                                        <p:attrNameLst>
                                          <p:attrName>style.visibility</p:attrName>
                                        </p:attrNameLst>
                                      </p:cBhvr>
                                      <p:to>
                                        <p:strVal val="visible"/>
                                      </p:to>
                                    </p:set>
                                    <p:animEffect transition="in" filter="fade">
                                      <p:cBhvr>
                                        <p:cTn id="102" dur="250"/>
                                        <p:tgtEl>
                                          <p:spTgt spid="15"/>
                                        </p:tgtEl>
                                      </p:cBhvr>
                                    </p:animEffect>
                                  </p:childTnLst>
                                </p:cTn>
                              </p:par>
                              <p:par>
                                <p:cTn id="103" presetID="42" presetClass="path" presetSubtype="0" decel="100000" fill="hold" grpId="1" nodeType="withEffect">
                                  <p:stCondLst>
                                    <p:cond delay="0"/>
                                  </p:stCondLst>
                                  <p:childTnLst>
                                    <p:animMotion origin="layout" path="M 1.25E-6 0.03889 L 1.25E-6 1.85185E-6 " pathEditMode="relative" rAng="0" ptsTypes="AA">
                                      <p:cBhvr>
                                        <p:cTn id="104" dur="500" fill="hold"/>
                                        <p:tgtEl>
                                          <p:spTgt spid="1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7" grpId="1" animBg="1"/>
      <p:bldP spid="13" grpId="0" animBg="1"/>
      <p:bldP spid="13" grpId="1" animBg="1"/>
      <p:bldP spid="17" grpId="0" animBg="1"/>
      <p:bldP spid="17" grpId="1" animBg="1"/>
      <p:bldP spid="18" grpId="0" animBg="1"/>
      <p:bldP spid="18" grpId="1" animBg="1"/>
      <p:bldP spid="19" grpId="0"/>
      <p:bldP spid="19" grpId="1"/>
      <p:bldP spid="35" grpId="0" animBg="1"/>
      <p:bldP spid="35" grpId="1" animBg="1"/>
      <p:bldP spid="38" grpId="0" animBg="1"/>
      <p:bldP spid="38" grpId="1" animBg="1"/>
      <p:bldP spid="40" grpId="0"/>
      <p:bldP spid="40" grpId="1"/>
      <p:bldP spid="41" grpId="0"/>
      <p:bldP spid="41" grpId="1"/>
      <p:bldP spid="42" grpId="0" animBg="1"/>
      <p:bldP spid="42" grpId="1" animBg="1"/>
      <p:bldP spid="43" grpId="0" animBg="1"/>
      <p:bldP spid="43" grpId="1" animBg="1"/>
      <p:bldP spid="44" grpId="0" animBg="1"/>
      <p:bldP spid="44" grpId="1" animBg="1"/>
      <p:bldP spid="9" grpId="0" animBg="1"/>
      <p:bldP spid="9" grpId="1" animBg="1"/>
      <p:bldP spid="10" grpId="0" animBg="1"/>
      <p:bldP spid="10" grpId="1" animBg="1"/>
      <p:bldP spid="15" grpId="0" animBg="1"/>
      <p:bldP spid="15" grpId="1"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9">
            <a:extLst>
              <a:ext uri="{FF2B5EF4-FFF2-40B4-BE49-F238E27FC236}">
                <a16:creationId xmlns:a16="http://schemas.microsoft.com/office/drawing/2014/main" id="{A802E455-35EE-F40E-5EE8-3DCA9335202C}"/>
              </a:ext>
            </a:extLst>
          </p:cNvPr>
          <p:cNvSpPr txBox="1">
            <a:spLocks noGrp="1"/>
          </p:cNvSpPr>
          <p:nvPr>
            <p:ph type="title"/>
          </p:nvPr>
        </p:nvSpPr>
        <p:spPr>
          <a:xfrm>
            <a:off x="121714" y="-3659"/>
            <a:ext cx="11922882" cy="55662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463456">
              <a:lnSpc>
                <a:spcPct val="130000"/>
              </a:lnSpc>
              <a:spcBef>
                <a:spcPts val="618"/>
              </a:spcBef>
              <a:spcAft>
                <a:spcPts val="618"/>
              </a:spcAft>
              <a:defRPr/>
            </a:pPr>
            <a:r>
              <a:rPr lang="en-US" sz="3000" b="1" spc="-20">
                <a:ln w="3175">
                  <a:noFill/>
                </a:ln>
                <a:gradFill flip="none">
                  <a:gsLst>
                    <a:gs pos="40000">
                      <a:srgbClr val="764BBD"/>
                    </a:gs>
                    <a:gs pos="100000">
                      <a:srgbClr val="B741C4"/>
                    </a:gs>
                  </a:gsLst>
                  <a:lin ang="0" scaled="1"/>
                  <a:tileRect/>
                </a:gradFill>
                <a:latin typeface="Aptos Display"/>
                <a:ea typeface="+mn-ea"/>
                <a:cs typeface="Segoe Sans Display Semibold"/>
              </a:rPr>
              <a:t>Agent Governance Support Engagement</a:t>
            </a:r>
          </a:p>
        </p:txBody>
      </p:sp>
      <p:sp>
        <p:nvSpPr>
          <p:cNvPr id="4" name="TextBox 3">
            <a:extLst>
              <a:ext uri="{FF2B5EF4-FFF2-40B4-BE49-F238E27FC236}">
                <a16:creationId xmlns:a16="http://schemas.microsoft.com/office/drawing/2014/main" id="{870DE9BD-5C2F-9DA7-CF6C-4C67CF4E53DB}"/>
              </a:ext>
            </a:extLst>
          </p:cNvPr>
          <p:cNvSpPr txBox="1"/>
          <p:nvPr/>
        </p:nvSpPr>
        <p:spPr>
          <a:xfrm>
            <a:off x="2657940" y="509641"/>
            <a:ext cx="764448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7030A0"/>
                </a:solidFill>
                <a:effectLst/>
                <a:uLnTx/>
                <a:uFillTx/>
                <a:latin typeface="Segoe Sans"/>
                <a:ea typeface="+mn-ea"/>
                <a:cs typeface="+mn-cs"/>
              </a:rPr>
              <a:t>Guidance on Agent Governance Controls and Implementation Best Practices </a:t>
            </a:r>
            <a:endParaRPr kumimoji="0" lang="en-CA"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endParaRPr>
          </a:p>
        </p:txBody>
      </p:sp>
      <p:sp>
        <p:nvSpPr>
          <p:cNvPr id="5" name="TextBox 4">
            <a:extLst>
              <a:ext uri="{FF2B5EF4-FFF2-40B4-BE49-F238E27FC236}">
                <a16:creationId xmlns:a16="http://schemas.microsoft.com/office/drawing/2014/main" id="{E039B990-19FA-09E1-44EC-D2C24C048EDE}"/>
              </a:ext>
            </a:extLst>
          </p:cNvPr>
          <p:cNvSpPr txBox="1"/>
          <p:nvPr/>
        </p:nvSpPr>
        <p:spPr>
          <a:xfrm>
            <a:off x="785903" y="1547303"/>
            <a:ext cx="7474537" cy="340519"/>
          </a:xfrm>
          <a:prstGeom prst="round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a:ln>
                  <a:noFill/>
                </a:ln>
                <a:solidFill>
                  <a:srgbClr val="000000"/>
                </a:solidFill>
                <a:effectLst/>
                <a:uLnTx/>
                <a:uFillTx/>
                <a:latin typeface="Segoe Sans"/>
                <a:ea typeface="+mn-ea"/>
                <a:cs typeface="+mn-cs"/>
              </a:rPr>
              <a:t>Practical steps to operationalize agent governance for M365 Copilot and Copilot Chat</a:t>
            </a:r>
          </a:p>
        </p:txBody>
      </p:sp>
      <p:sp>
        <p:nvSpPr>
          <p:cNvPr id="6" name="TextBox 5">
            <a:extLst>
              <a:ext uri="{FF2B5EF4-FFF2-40B4-BE49-F238E27FC236}">
                <a16:creationId xmlns:a16="http://schemas.microsoft.com/office/drawing/2014/main" id="{2B48C15D-CDA0-5BA4-AD51-831721F50EBA}"/>
              </a:ext>
            </a:extLst>
          </p:cNvPr>
          <p:cNvSpPr txBox="1"/>
          <p:nvPr/>
        </p:nvSpPr>
        <p:spPr>
          <a:xfrm>
            <a:off x="785903" y="2522167"/>
            <a:ext cx="7097659" cy="578882"/>
          </a:xfrm>
          <a:prstGeom prst="round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a:ea typeface="+mn-ea"/>
                <a:cs typeface="+mn-cs"/>
              </a:rPr>
              <a:t>Best practices for agent message consumption, cost forecasting, and reporting tailored to your organization.</a:t>
            </a:r>
            <a:endParaRPr kumimoji="0" lang="en-CA" sz="1400" b="0" i="0" u="none" strike="noStrike" kern="1200" cap="none" spc="0" normalizeH="0" baseline="0" noProof="0">
              <a:ln>
                <a:noFill/>
              </a:ln>
              <a:solidFill>
                <a:srgbClr val="000000"/>
              </a:solidFill>
              <a:effectLst/>
              <a:uLnTx/>
              <a:uFillTx/>
              <a:latin typeface="Segoe Sans"/>
              <a:ea typeface="+mn-ea"/>
              <a:cs typeface="+mn-cs"/>
            </a:endParaRPr>
          </a:p>
        </p:txBody>
      </p:sp>
      <p:sp>
        <p:nvSpPr>
          <p:cNvPr id="7" name="TextBox 6">
            <a:extLst>
              <a:ext uri="{FF2B5EF4-FFF2-40B4-BE49-F238E27FC236}">
                <a16:creationId xmlns:a16="http://schemas.microsoft.com/office/drawing/2014/main" id="{BCF0B6FD-936D-2320-6B60-7B0CAB56556F}"/>
              </a:ext>
            </a:extLst>
          </p:cNvPr>
          <p:cNvSpPr txBox="1"/>
          <p:nvPr/>
        </p:nvSpPr>
        <p:spPr>
          <a:xfrm>
            <a:off x="785903" y="3497031"/>
            <a:ext cx="7569208" cy="578882"/>
          </a:xfrm>
          <a:prstGeom prst="round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a:ea typeface="+mn-ea"/>
                <a:cs typeface="+mn-cs"/>
              </a:rPr>
              <a:t>Assistance in designing your agent governance strategy with technical discussions and interactive demos</a:t>
            </a:r>
          </a:p>
        </p:txBody>
      </p:sp>
      <p:sp>
        <p:nvSpPr>
          <p:cNvPr id="11" name="Oval 10">
            <a:extLst>
              <a:ext uri="{FF2B5EF4-FFF2-40B4-BE49-F238E27FC236}">
                <a16:creationId xmlns:a16="http://schemas.microsoft.com/office/drawing/2014/main" id="{9CCE1BF7-69C3-39AB-1BE9-989746EF193A}"/>
              </a:ext>
              <a:ext uri="{C183D7F6-B498-43B3-948B-1728B52AA6E4}">
                <adec:decorative xmlns:adec="http://schemas.microsoft.com/office/drawing/2017/decorative" val="1"/>
              </a:ext>
            </a:extLst>
          </p:cNvPr>
          <p:cNvSpPr/>
          <p:nvPr/>
        </p:nvSpPr>
        <p:spPr bwMode="auto">
          <a:xfrm>
            <a:off x="81940" y="1515444"/>
            <a:ext cx="599535" cy="588789"/>
          </a:xfrm>
          <a:prstGeom prst="ellipse">
            <a:avLst/>
          </a:prstGeom>
          <a:solidFill>
            <a:srgbClr val="4472C4"/>
          </a:solidFill>
          <a:ln w="15875" cap="rnd">
            <a:noFill/>
            <a:prstDash val="solid"/>
            <a:round/>
          </a:ln>
          <a:effectLst/>
        </p:spPr>
        <p:txBody>
          <a:bodyPr rot="0" spcFirstLastPara="0" vert="horz" wrap="square" lIns="812800" tIns="232229" rIns="812800" bIns="348343"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3065153" rtl="0" eaLnBrk="1" fontAlgn="auto" latinLnBrk="0" hangingPunct="1">
              <a:lnSpc>
                <a:spcPct val="100000"/>
              </a:lnSpc>
              <a:spcBef>
                <a:spcPts val="1072"/>
              </a:spcBef>
              <a:spcAft>
                <a:spcPts val="0"/>
              </a:spcAft>
              <a:buClrTx/>
              <a:buSzTx/>
              <a:buFontTx/>
              <a:buNone/>
              <a:tabLst>
                <a:tab pos="5037334" algn="l"/>
              </a:tabLst>
              <a:defRPr/>
            </a:pPr>
            <a:endParaRPr kumimoji="0" lang="en-US" sz="4572"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Semibold" panose="020B0702040204020203" pitchFamily="34" charset="0"/>
              <a:ea typeface="+mn-ea"/>
              <a:cs typeface="Segoe UI" panose="020B0502040204020203" pitchFamily="34" charset="0"/>
            </a:endParaRPr>
          </a:p>
        </p:txBody>
      </p:sp>
      <p:sp>
        <p:nvSpPr>
          <p:cNvPr id="12" name="Oval 11">
            <a:extLst>
              <a:ext uri="{FF2B5EF4-FFF2-40B4-BE49-F238E27FC236}">
                <a16:creationId xmlns:a16="http://schemas.microsoft.com/office/drawing/2014/main" id="{8F72AD61-CEE8-2C16-49B0-4AD9228265F3}"/>
              </a:ext>
              <a:ext uri="{C183D7F6-B498-43B3-948B-1728B52AA6E4}">
                <adec:decorative xmlns:adec="http://schemas.microsoft.com/office/drawing/2017/decorative" val="1"/>
              </a:ext>
            </a:extLst>
          </p:cNvPr>
          <p:cNvSpPr/>
          <p:nvPr/>
        </p:nvSpPr>
        <p:spPr bwMode="auto">
          <a:xfrm>
            <a:off x="91697" y="2522167"/>
            <a:ext cx="599535" cy="588789"/>
          </a:xfrm>
          <a:prstGeom prst="ellipse">
            <a:avLst/>
          </a:prstGeom>
          <a:solidFill>
            <a:srgbClr val="4472C4"/>
          </a:solidFill>
          <a:ln w="15875" cap="rnd">
            <a:noFill/>
            <a:prstDash val="solid"/>
            <a:round/>
          </a:ln>
          <a:effectLst/>
        </p:spPr>
        <p:txBody>
          <a:bodyPr rot="0" spcFirstLastPara="0" vert="horz" wrap="square" lIns="812800" tIns="232229" rIns="812800" bIns="348343"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3065153" rtl="0" eaLnBrk="1" fontAlgn="auto" latinLnBrk="0" hangingPunct="1">
              <a:lnSpc>
                <a:spcPct val="100000"/>
              </a:lnSpc>
              <a:spcBef>
                <a:spcPts val="1072"/>
              </a:spcBef>
              <a:spcAft>
                <a:spcPts val="0"/>
              </a:spcAft>
              <a:buClrTx/>
              <a:buSzTx/>
              <a:buFontTx/>
              <a:buNone/>
              <a:tabLst>
                <a:tab pos="5037334" algn="l"/>
              </a:tabLst>
              <a:defRPr/>
            </a:pPr>
            <a:endParaRPr kumimoji="0" lang="en-US" sz="4572"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Semibold" panose="020B0702040204020203" pitchFamily="34" charset="0"/>
              <a:ea typeface="+mn-ea"/>
              <a:cs typeface="Segoe UI" panose="020B0502040204020203" pitchFamily="34" charset="0"/>
            </a:endParaRPr>
          </a:p>
        </p:txBody>
      </p:sp>
      <p:sp>
        <p:nvSpPr>
          <p:cNvPr id="13" name="Oval 12">
            <a:extLst>
              <a:ext uri="{FF2B5EF4-FFF2-40B4-BE49-F238E27FC236}">
                <a16:creationId xmlns:a16="http://schemas.microsoft.com/office/drawing/2014/main" id="{A7C925A6-C935-20F8-BC2A-369983861641}"/>
              </a:ext>
              <a:ext uri="{C183D7F6-B498-43B3-948B-1728B52AA6E4}">
                <adec:decorative xmlns:adec="http://schemas.microsoft.com/office/drawing/2017/decorative" val="1"/>
              </a:ext>
            </a:extLst>
          </p:cNvPr>
          <p:cNvSpPr/>
          <p:nvPr/>
        </p:nvSpPr>
        <p:spPr bwMode="auto">
          <a:xfrm>
            <a:off x="91696" y="3499110"/>
            <a:ext cx="599535" cy="588789"/>
          </a:xfrm>
          <a:prstGeom prst="ellipse">
            <a:avLst/>
          </a:prstGeom>
          <a:solidFill>
            <a:srgbClr val="4472C4"/>
          </a:solidFill>
          <a:ln w="15875" cap="rnd">
            <a:noFill/>
            <a:prstDash val="solid"/>
            <a:round/>
          </a:ln>
          <a:effectLst/>
        </p:spPr>
        <p:txBody>
          <a:bodyPr rot="0" spcFirstLastPara="0" vert="horz" wrap="square" lIns="812800" tIns="232229" rIns="812800" bIns="348343"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ctr" defTabSz="3065153" rtl="0" eaLnBrk="1" fontAlgn="auto" latinLnBrk="0" hangingPunct="1">
              <a:lnSpc>
                <a:spcPct val="100000"/>
              </a:lnSpc>
              <a:spcBef>
                <a:spcPts val="1072"/>
              </a:spcBef>
              <a:spcAft>
                <a:spcPts val="0"/>
              </a:spcAft>
              <a:buClrTx/>
              <a:buSzTx/>
              <a:buFontTx/>
              <a:buNone/>
              <a:tabLst>
                <a:tab pos="5037334" algn="l"/>
              </a:tabLst>
              <a:defRPr/>
            </a:pPr>
            <a:endParaRPr kumimoji="0" lang="en-US" sz="4572" b="1" i="0" u="none" strike="noStrike" kern="1200" cap="none" spc="0" normalizeH="0" baseline="0" noProof="0">
              <a:ln w="3175">
                <a:noFill/>
              </a:ln>
              <a:gradFill flip="none" rotWithShape="1">
                <a:gsLst>
                  <a:gs pos="20183">
                    <a:srgbClr val="FFFFFF"/>
                  </a:gs>
                  <a:gs pos="42000">
                    <a:srgbClr val="FFFFFF"/>
                  </a:gs>
                </a:gsLst>
                <a:lin ang="2700000" scaled="0"/>
                <a:tileRect/>
              </a:gradFill>
              <a:effectLst/>
              <a:uLnTx/>
              <a:uFillTx/>
              <a:latin typeface="Segoe UI Semibold" panose="020B0702040204020203" pitchFamily="34" charset="0"/>
              <a:ea typeface="+mn-ea"/>
              <a:cs typeface="Segoe UI" panose="020B0502040204020203" pitchFamily="34" charset="0"/>
            </a:endParaRPr>
          </a:p>
        </p:txBody>
      </p:sp>
      <p:sp>
        <p:nvSpPr>
          <p:cNvPr id="14" name="Graphic 27">
            <a:extLst>
              <a:ext uri="{FF2B5EF4-FFF2-40B4-BE49-F238E27FC236}">
                <a16:creationId xmlns:a16="http://schemas.microsoft.com/office/drawing/2014/main" id="{89AF3CB3-6A1B-FF13-5E66-05929D6ADCA4}"/>
              </a:ext>
              <a:ext uri="{C183D7F6-B498-43B3-948B-1728B52AA6E4}">
                <adec:decorative xmlns:adec="http://schemas.microsoft.com/office/drawing/2017/decorative" val="1"/>
              </a:ext>
            </a:extLst>
          </p:cNvPr>
          <p:cNvSpPr/>
          <p:nvPr/>
        </p:nvSpPr>
        <p:spPr>
          <a:xfrm>
            <a:off x="255312" y="3635473"/>
            <a:ext cx="252792" cy="316062"/>
          </a:xfrm>
          <a:custGeom>
            <a:avLst/>
            <a:gdLst>
              <a:gd name="connsiteX0" fmla="*/ 130969 w 152371"/>
              <a:gd name="connsiteY0" fmla="*/ 114300 h 190509"/>
              <a:gd name="connsiteX1" fmla="*/ 152371 w 152371"/>
              <a:gd name="connsiteY1" fmla="*/ 134760 h 190509"/>
              <a:gd name="connsiteX2" fmla="*/ 152362 w 152371"/>
              <a:gd name="connsiteY2" fmla="*/ 135731 h 190509"/>
              <a:gd name="connsiteX3" fmla="*/ 76200 w 152371"/>
              <a:gd name="connsiteY3" fmla="*/ 135731 h 190509"/>
              <a:gd name="connsiteX4" fmla="*/ 76200 w 152371"/>
              <a:gd name="connsiteY4" fmla="*/ 145247 h 190509"/>
              <a:gd name="connsiteX5" fmla="*/ 152162 w 152371"/>
              <a:gd name="connsiteY5" fmla="*/ 145256 h 190509"/>
              <a:gd name="connsiteX6" fmla="*/ 147314 w 152371"/>
              <a:gd name="connsiteY6" fmla="*/ 159553 h 190509"/>
              <a:gd name="connsiteX7" fmla="*/ 76200 w 152371"/>
              <a:gd name="connsiteY7" fmla="*/ 159534 h 190509"/>
              <a:gd name="connsiteX8" fmla="*/ 76200 w 152371"/>
              <a:gd name="connsiteY8" fmla="*/ 169059 h 190509"/>
              <a:gd name="connsiteX9" fmla="*/ 139427 w 152371"/>
              <a:gd name="connsiteY9" fmla="*/ 169078 h 190509"/>
              <a:gd name="connsiteX10" fmla="*/ 76162 w 152371"/>
              <a:gd name="connsiteY10" fmla="*/ 190510 h 190509"/>
              <a:gd name="connsiteX11" fmla="*/ 8553 w 152371"/>
              <a:gd name="connsiteY11" fmla="*/ 164411 h 190509"/>
              <a:gd name="connsiteX12" fmla="*/ 0 w 152371"/>
              <a:gd name="connsiteY12" fmla="*/ 141227 h 190509"/>
              <a:gd name="connsiteX13" fmla="*/ 0 w 152371"/>
              <a:gd name="connsiteY13" fmla="*/ 135722 h 190509"/>
              <a:gd name="connsiteX14" fmla="*/ 21412 w 152371"/>
              <a:gd name="connsiteY14" fmla="*/ 114290 h 190509"/>
              <a:gd name="connsiteX15" fmla="*/ 130969 w 152371"/>
              <a:gd name="connsiteY15" fmla="*/ 114290 h 190509"/>
              <a:gd name="connsiteX16" fmla="*/ 76162 w 152371"/>
              <a:gd name="connsiteY16" fmla="*/ 0 h 190509"/>
              <a:gd name="connsiteX17" fmla="*/ 114262 w 152371"/>
              <a:gd name="connsiteY17" fmla="*/ 19050 h 190509"/>
              <a:gd name="connsiteX18" fmla="*/ 76190 w 152371"/>
              <a:gd name="connsiteY18" fmla="*/ 19050 h 190509"/>
              <a:gd name="connsiteX19" fmla="*/ 76190 w 152371"/>
              <a:gd name="connsiteY19" fmla="*/ 28565 h 190509"/>
              <a:gd name="connsiteX20" fmla="*/ 119825 w 152371"/>
              <a:gd name="connsiteY20" fmla="*/ 28575 h 190509"/>
              <a:gd name="connsiteX21" fmla="*/ 123549 w 152371"/>
              <a:gd name="connsiteY21" fmla="*/ 42863 h 190509"/>
              <a:gd name="connsiteX22" fmla="*/ 76181 w 152371"/>
              <a:gd name="connsiteY22" fmla="*/ 42863 h 190509"/>
              <a:gd name="connsiteX23" fmla="*/ 76181 w 152371"/>
              <a:gd name="connsiteY23" fmla="*/ 52388 h 190509"/>
              <a:gd name="connsiteX24" fmla="*/ 123549 w 152371"/>
              <a:gd name="connsiteY24" fmla="*/ 52407 h 190509"/>
              <a:gd name="connsiteX25" fmla="*/ 119825 w 152371"/>
              <a:gd name="connsiteY25" fmla="*/ 66694 h 190509"/>
              <a:gd name="connsiteX26" fmla="*/ 76181 w 152371"/>
              <a:gd name="connsiteY26" fmla="*/ 66675 h 190509"/>
              <a:gd name="connsiteX27" fmla="*/ 76190 w 152371"/>
              <a:gd name="connsiteY27" fmla="*/ 76210 h 190509"/>
              <a:gd name="connsiteX28" fmla="*/ 114252 w 152371"/>
              <a:gd name="connsiteY28" fmla="*/ 76219 h 190509"/>
              <a:gd name="connsiteX29" fmla="*/ 47573 w 152371"/>
              <a:gd name="connsiteY29" fmla="*/ 85711 h 190509"/>
              <a:gd name="connsiteX30" fmla="*/ 38081 w 152371"/>
              <a:gd name="connsiteY30" fmla="*/ 19031 h 190509"/>
              <a:gd name="connsiteX31" fmla="*/ 76162 w 152371"/>
              <a:gd name="connsiteY31" fmla="*/ 0 h 1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371" h="190509">
                <a:moveTo>
                  <a:pt x="130969" y="114300"/>
                </a:moveTo>
                <a:cubicBezTo>
                  <a:pt x="142475" y="114300"/>
                  <a:pt x="151867" y="123377"/>
                  <a:pt x="152371" y="134760"/>
                </a:cubicBezTo>
                <a:lnTo>
                  <a:pt x="152362" y="135731"/>
                </a:lnTo>
                <a:lnTo>
                  <a:pt x="76200" y="135731"/>
                </a:lnTo>
                <a:lnTo>
                  <a:pt x="76200" y="145247"/>
                </a:lnTo>
                <a:lnTo>
                  <a:pt x="152162" y="145256"/>
                </a:lnTo>
                <a:cubicBezTo>
                  <a:pt x="151583" y="150313"/>
                  <a:pt x="149929" y="155187"/>
                  <a:pt x="147314" y="159553"/>
                </a:cubicBezTo>
                <a:lnTo>
                  <a:pt x="76200" y="159534"/>
                </a:lnTo>
                <a:lnTo>
                  <a:pt x="76200" y="169059"/>
                </a:lnTo>
                <a:lnTo>
                  <a:pt x="139427" y="169078"/>
                </a:lnTo>
                <a:cubicBezTo>
                  <a:pt x="124568" y="183423"/>
                  <a:pt x="103327" y="190510"/>
                  <a:pt x="76162" y="190510"/>
                </a:cubicBezTo>
                <a:cubicBezTo>
                  <a:pt x="46196" y="190510"/>
                  <a:pt x="23470" y="181889"/>
                  <a:pt x="8553" y="164411"/>
                </a:cubicBezTo>
                <a:cubicBezTo>
                  <a:pt x="3035" y="157946"/>
                  <a:pt x="2" y="149726"/>
                  <a:pt x="0" y="141227"/>
                </a:cubicBezTo>
                <a:lnTo>
                  <a:pt x="0" y="135722"/>
                </a:lnTo>
                <a:cubicBezTo>
                  <a:pt x="-5" y="123891"/>
                  <a:pt x="9581" y="114296"/>
                  <a:pt x="21412" y="114290"/>
                </a:cubicBezTo>
                <a:lnTo>
                  <a:pt x="130969" y="114290"/>
                </a:lnTo>
                <a:close/>
                <a:moveTo>
                  <a:pt x="76162" y="0"/>
                </a:moveTo>
                <a:cubicBezTo>
                  <a:pt x="91745" y="0"/>
                  <a:pt x="105575" y="7477"/>
                  <a:pt x="114262" y="19050"/>
                </a:cubicBezTo>
                <a:lnTo>
                  <a:pt x="76190" y="19050"/>
                </a:lnTo>
                <a:lnTo>
                  <a:pt x="76190" y="28565"/>
                </a:lnTo>
                <a:lnTo>
                  <a:pt x="119825" y="28575"/>
                </a:lnTo>
                <a:cubicBezTo>
                  <a:pt x="121768" y="33033"/>
                  <a:pt x="123053" y="37833"/>
                  <a:pt x="123549" y="42863"/>
                </a:cubicBezTo>
                <a:lnTo>
                  <a:pt x="76181" y="42863"/>
                </a:lnTo>
                <a:lnTo>
                  <a:pt x="76181" y="52388"/>
                </a:lnTo>
                <a:lnTo>
                  <a:pt x="123549" y="52407"/>
                </a:lnTo>
                <a:cubicBezTo>
                  <a:pt x="123063" y="57335"/>
                  <a:pt x="121806" y="62156"/>
                  <a:pt x="119825" y="66694"/>
                </a:cubicBezTo>
                <a:lnTo>
                  <a:pt x="76181" y="66675"/>
                </a:lnTo>
                <a:lnTo>
                  <a:pt x="76190" y="76210"/>
                </a:lnTo>
                <a:lnTo>
                  <a:pt x="114252" y="76219"/>
                </a:lnTo>
                <a:cubicBezTo>
                  <a:pt x="98460" y="97253"/>
                  <a:pt x="68607" y="101503"/>
                  <a:pt x="47573" y="85711"/>
                </a:cubicBezTo>
                <a:cubicBezTo>
                  <a:pt x="26538" y="69919"/>
                  <a:pt x="22289" y="40065"/>
                  <a:pt x="38081" y="19031"/>
                </a:cubicBezTo>
                <a:cubicBezTo>
                  <a:pt x="47075" y="7051"/>
                  <a:pt x="61182" y="2"/>
                  <a:pt x="76162" y="0"/>
                </a:cubicBezTo>
                <a:close/>
              </a:path>
            </a:pathLst>
          </a:custGeom>
          <a:solidFill>
            <a:srgbClr val="FFFFFF"/>
          </a:soli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509" rtl="0" eaLnBrk="1" fontAlgn="base" latinLnBrk="0" hangingPunct="1">
              <a:lnSpc>
                <a:spcPct val="100000"/>
              </a:lnSpc>
              <a:spcBef>
                <a:spcPct val="0"/>
              </a:spcBef>
              <a:spcAft>
                <a:spcPct val="0"/>
              </a:spcAft>
              <a:buClrTx/>
              <a:buSzTx/>
              <a:buFontTx/>
              <a:buNone/>
              <a:tabLst/>
              <a:defRPr/>
            </a:pPr>
            <a:endParaRPr kumimoji="0" lang="ru-UA" sz="2000" b="1"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7" name="Graphic 16">
            <a:extLst>
              <a:ext uri="{FF2B5EF4-FFF2-40B4-BE49-F238E27FC236}">
                <a16:creationId xmlns:a16="http://schemas.microsoft.com/office/drawing/2014/main" id="{23AE811F-5F42-90AD-8121-913F4226F833}"/>
              </a:ext>
              <a:ext uri="{C183D7F6-B498-43B3-948B-1728B52AA6E4}">
                <adec:decorative xmlns:adec="http://schemas.microsoft.com/office/drawing/2017/decorative" val="1"/>
              </a:ext>
            </a:extLst>
          </p:cNvPr>
          <p:cNvSpPr/>
          <p:nvPr/>
        </p:nvSpPr>
        <p:spPr>
          <a:xfrm>
            <a:off x="238603" y="2682602"/>
            <a:ext cx="262419" cy="258012"/>
          </a:xfrm>
          <a:custGeom>
            <a:avLst/>
            <a:gdLst>
              <a:gd name="connsiteX0" fmla="*/ 83706 w 190472"/>
              <a:gd name="connsiteY0" fmla="*/ 7172 h 182411"/>
              <a:gd name="connsiteX1" fmla="*/ 106766 w 190472"/>
              <a:gd name="connsiteY1" fmla="*/ 7172 h 182411"/>
              <a:gd name="connsiteX2" fmla="*/ 129226 w 190472"/>
              <a:gd name="connsiteY2" fmla="*/ 52673 h 182411"/>
              <a:gd name="connsiteX3" fmla="*/ 179451 w 190472"/>
              <a:gd name="connsiteY3" fmla="*/ 59969 h 182411"/>
              <a:gd name="connsiteX4" fmla="*/ 186576 w 190472"/>
              <a:gd name="connsiteY4" fmla="*/ 81905 h 182411"/>
              <a:gd name="connsiteX5" fmla="*/ 150229 w 190472"/>
              <a:gd name="connsiteY5" fmla="*/ 117338 h 182411"/>
              <a:gd name="connsiteX6" fmla="*/ 158811 w 190472"/>
              <a:gd name="connsiteY6" fmla="*/ 167345 h 182411"/>
              <a:gd name="connsiteX7" fmla="*/ 140151 w 190472"/>
              <a:gd name="connsiteY7" fmla="*/ 180908 h 182411"/>
              <a:gd name="connsiteX8" fmla="*/ 95231 w 190472"/>
              <a:gd name="connsiteY8" fmla="*/ 157286 h 182411"/>
              <a:gd name="connsiteX9" fmla="*/ 50321 w 190472"/>
              <a:gd name="connsiteY9" fmla="*/ 180908 h 182411"/>
              <a:gd name="connsiteX10" fmla="*/ 31652 w 190472"/>
              <a:gd name="connsiteY10" fmla="*/ 167345 h 182411"/>
              <a:gd name="connsiteX11" fmla="*/ 40234 w 190472"/>
              <a:gd name="connsiteY11" fmla="*/ 117338 h 182411"/>
              <a:gd name="connsiteX12" fmla="*/ 3896 w 190472"/>
              <a:gd name="connsiteY12" fmla="*/ 81905 h 182411"/>
              <a:gd name="connsiteX13" fmla="*/ 11021 w 190472"/>
              <a:gd name="connsiteY13" fmla="*/ 59969 h 182411"/>
              <a:gd name="connsiteX14" fmla="*/ 61246 w 190472"/>
              <a:gd name="connsiteY14" fmla="*/ 52673 h 182411"/>
              <a:gd name="connsiteX15" fmla="*/ 83706 w 190472"/>
              <a:gd name="connsiteY15" fmla="*/ 7172 h 18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472" h="182411">
                <a:moveTo>
                  <a:pt x="83706" y="7172"/>
                </a:moveTo>
                <a:cubicBezTo>
                  <a:pt x="88421" y="-2391"/>
                  <a:pt x="102051" y="-2391"/>
                  <a:pt x="106766" y="7172"/>
                </a:cubicBezTo>
                <a:lnTo>
                  <a:pt x="129226" y="52673"/>
                </a:lnTo>
                <a:lnTo>
                  <a:pt x="179451" y="59969"/>
                </a:lnTo>
                <a:cubicBezTo>
                  <a:pt x="189995" y="61503"/>
                  <a:pt x="194206" y="74466"/>
                  <a:pt x="186576" y="81905"/>
                </a:cubicBezTo>
                <a:lnTo>
                  <a:pt x="150229" y="117338"/>
                </a:lnTo>
                <a:lnTo>
                  <a:pt x="158811" y="167345"/>
                </a:lnTo>
                <a:cubicBezTo>
                  <a:pt x="160620" y="177851"/>
                  <a:pt x="149590" y="185861"/>
                  <a:pt x="140151" y="180908"/>
                </a:cubicBezTo>
                <a:lnTo>
                  <a:pt x="95231" y="157286"/>
                </a:lnTo>
                <a:lnTo>
                  <a:pt x="50321" y="180908"/>
                </a:lnTo>
                <a:cubicBezTo>
                  <a:pt x="40891" y="185861"/>
                  <a:pt x="29861" y="177860"/>
                  <a:pt x="31652" y="167345"/>
                </a:cubicBezTo>
                <a:lnTo>
                  <a:pt x="40234" y="117338"/>
                </a:lnTo>
                <a:lnTo>
                  <a:pt x="3896" y="81905"/>
                </a:lnTo>
                <a:cubicBezTo>
                  <a:pt x="-3734" y="74476"/>
                  <a:pt x="477" y="61503"/>
                  <a:pt x="11021" y="59969"/>
                </a:cubicBezTo>
                <a:lnTo>
                  <a:pt x="61246" y="52673"/>
                </a:lnTo>
                <a:lnTo>
                  <a:pt x="83706" y="7172"/>
                </a:lnTo>
                <a:close/>
              </a:path>
            </a:pathLst>
          </a:custGeom>
          <a:solidFill>
            <a:srgbClr val="FFFFFF"/>
          </a:soli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509" rtl="0" eaLnBrk="1" fontAlgn="base" latinLnBrk="0" hangingPunct="1">
              <a:lnSpc>
                <a:spcPct val="100000"/>
              </a:lnSpc>
              <a:spcBef>
                <a:spcPct val="0"/>
              </a:spcBef>
              <a:spcAft>
                <a:spcPct val="0"/>
              </a:spcAft>
              <a:buClrTx/>
              <a:buSzTx/>
              <a:buFontTx/>
              <a:buNone/>
              <a:tabLst/>
              <a:defRPr/>
            </a:pPr>
            <a:endParaRPr kumimoji="0" lang="ru-UA" sz="2000" b="1"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8" name="Graphic 24">
            <a:extLst>
              <a:ext uri="{FF2B5EF4-FFF2-40B4-BE49-F238E27FC236}">
                <a16:creationId xmlns:a16="http://schemas.microsoft.com/office/drawing/2014/main" id="{F75BF61D-D6C3-2EB3-310D-0A5B698B78D0}"/>
              </a:ext>
              <a:ext uri="{C183D7F6-B498-43B3-948B-1728B52AA6E4}">
                <adec:decorative xmlns:adec="http://schemas.microsoft.com/office/drawing/2017/decorative" val="1"/>
              </a:ext>
            </a:extLst>
          </p:cNvPr>
          <p:cNvSpPr/>
          <p:nvPr/>
        </p:nvSpPr>
        <p:spPr>
          <a:xfrm>
            <a:off x="238603" y="1636309"/>
            <a:ext cx="271518" cy="367079"/>
          </a:xfrm>
          <a:custGeom>
            <a:avLst/>
            <a:gdLst>
              <a:gd name="connsiteX0" fmla="*/ 92561 w 158693"/>
              <a:gd name="connsiteY0" fmla="*/ 4001 h 167136"/>
              <a:gd name="connsiteX1" fmla="*/ 153187 w 158693"/>
              <a:gd name="connsiteY1" fmla="*/ 44415 h 167136"/>
              <a:gd name="connsiteX2" fmla="*/ 155828 w 158693"/>
              <a:gd name="connsiteY2" fmla="*/ 57625 h 167136"/>
              <a:gd name="connsiteX3" fmla="*/ 153187 w 158693"/>
              <a:gd name="connsiteY3" fmla="*/ 60265 h 167136"/>
              <a:gd name="connsiteX4" fmla="*/ 92561 w 158693"/>
              <a:gd name="connsiteY4" fmla="*/ 100689 h 167136"/>
              <a:gd name="connsiteX5" fmla="*/ 66138 w 158693"/>
              <a:gd name="connsiteY5" fmla="*/ 100689 h 167136"/>
              <a:gd name="connsiteX6" fmla="*/ 5512 w 158693"/>
              <a:gd name="connsiteY6" fmla="*/ 60265 h 167136"/>
              <a:gd name="connsiteX7" fmla="*/ 2871 w 158693"/>
              <a:gd name="connsiteY7" fmla="*/ 47056 h 167136"/>
              <a:gd name="connsiteX8" fmla="*/ 5512 w 158693"/>
              <a:gd name="connsiteY8" fmla="*/ 44415 h 167136"/>
              <a:gd name="connsiteX9" fmla="*/ 66138 w 158693"/>
              <a:gd name="connsiteY9" fmla="*/ 4001 h 167136"/>
              <a:gd name="connsiteX10" fmla="*/ 92561 w 158693"/>
              <a:gd name="connsiteY10" fmla="*/ 4001 h 167136"/>
              <a:gd name="connsiteX11" fmla="*/ 155797 w 158693"/>
              <a:gd name="connsiteY11" fmla="*/ 87507 h 167136"/>
              <a:gd name="connsiteX12" fmla="*/ 150301 w 158693"/>
              <a:gd name="connsiteY12" fmla="*/ 93202 h 167136"/>
              <a:gd name="connsiteX13" fmla="*/ 92675 w 158693"/>
              <a:gd name="connsiteY13" fmla="*/ 132103 h 167136"/>
              <a:gd name="connsiteX14" fmla="*/ 66024 w 158693"/>
              <a:gd name="connsiteY14" fmla="*/ 132103 h 167136"/>
              <a:gd name="connsiteX15" fmla="*/ 8398 w 158693"/>
              <a:gd name="connsiteY15" fmla="*/ 93202 h 167136"/>
              <a:gd name="connsiteX16" fmla="*/ 978 w 158693"/>
              <a:gd name="connsiteY16" fmla="*/ 71390 h 167136"/>
              <a:gd name="connsiteX17" fmla="*/ 66138 w 158693"/>
              <a:gd name="connsiteY17" fmla="*/ 114824 h 167136"/>
              <a:gd name="connsiteX18" fmla="*/ 91027 w 158693"/>
              <a:gd name="connsiteY18" fmla="*/ 115758 h 167136"/>
              <a:gd name="connsiteX19" fmla="*/ 92551 w 158693"/>
              <a:gd name="connsiteY19" fmla="*/ 114824 h 167136"/>
              <a:gd name="connsiteX20" fmla="*/ 157712 w 158693"/>
              <a:gd name="connsiteY20" fmla="*/ 71390 h 167136"/>
              <a:gd name="connsiteX21" fmla="*/ 155797 w 158693"/>
              <a:gd name="connsiteY21" fmla="*/ 87507 h 167136"/>
              <a:gd name="connsiteX22" fmla="*/ 155797 w 158693"/>
              <a:gd name="connsiteY22" fmla="*/ 118463 h 167136"/>
              <a:gd name="connsiteX23" fmla="*/ 150301 w 158693"/>
              <a:gd name="connsiteY23" fmla="*/ 124159 h 167136"/>
              <a:gd name="connsiteX24" fmla="*/ 92675 w 158693"/>
              <a:gd name="connsiteY24" fmla="*/ 163059 h 167136"/>
              <a:gd name="connsiteX25" fmla="*/ 66024 w 158693"/>
              <a:gd name="connsiteY25" fmla="*/ 163059 h 167136"/>
              <a:gd name="connsiteX26" fmla="*/ 8398 w 158693"/>
              <a:gd name="connsiteY26" fmla="*/ 124159 h 167136"/>
              <a:gd name="connsiteX27" fmla="*/ 978 w 158693"/>
              <a:gd name="connsiteY27" fmla="*/ 102346 h 167136"/>
              <a:gd name="connsiteX28" fmla="*/ 66138 w 158693"/>
              <a:gd name="connsiteY28" fmla="*/ 145780 h 167136"/>
              <a:gd name="connsiteX29" fmla="*/ 91027 w 158693"/>
              <a:gd name="connsiteY29" fmla="*/ 146714 h 167136"/>
              <a:gd name="connsiteX30" fmla="*/ 92551 w 158693"/>
              <a:gd name="connsiteY30" fmla="*/ 145780 h 167136"/>
              <a:gd name="connsiteX31" fmla="*/ 157712 w 158693"/>
              <a:gd name="connsiteY31" fmla="*/ 102346 h 167136"/>
              <a:gd name="connsiteX32" fmla="*/ 155797 w 158693"/>
              <a:gd name="connsiteY32" fmla="*/ 118463 h 16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8693" h="167136">
                <a:moveTo>
                  <a:pt x="92561" y="4001"/>
                </a:moveTo>
                <a:lnTo>
                  <a:pt x="153187" y="44415"/>
                </a:lnTo>
                <a:cubicBezTo>
                  <a:pt x="157564" y="47334"/>
                  <a:pt x="158746" y="53248"/>
                  <a:pt x="155828" y="57625"/>
                </a:cubicBezTo>
                <a:cubicBezTo>
                  <a:pt x="155130" y="58670"/>
                  <a:pt x="154233" y="59568"/>
                  <a:pt x="153187" y="60265"/>
                </a:cubicBezTo>
                <a:lnTo>
                  <a:pt x="92561" y="100689"/>
                </a:lnTo>
                <a:cubicBezTo>
                  <a:pt x="84561" y="106024"/>
                  <a:pt x="74138" y="106024"/>
                  <a:pt x="66138" y="100689"/>
                </a:cubicBezTo>
                <a:lnTo>
                  <a:pt x="5512" y="60265"/>
                </a:lnTo>
                <a:cubicBezTo>
                  <a:pt x="1135" y="57347"/>
                  <a:pt x="-47" y="51433"/>
                  <a:pt x="2871" y="47056"/>
                </a:cubicBezTo>
                <a:cubicBezTo>
                  <a:pt x="3568" y="46010"/>
                  <a:pt x="4466" y="45113"/>
                  <a:pt x="5512" y="44415"/>
                </a:cubicBezTo>
                <a:lnTo>
                  <a:pt x="66138" y="4001"/>
                </a:lnTo>
                <a:cubicBezTo>
                  <a:pt x="74138" y="-1334"/>
                  <a:pt x="84561" y="-1334"/>
                  <a:pt x="92561" y="4001"/>
                </a:cubicBezTo>
                <a:close/>
                <a:moveTo>
                  <a:pt x="155797" y="87507"/>
                </a:moveTo>
                <a:cubicBezTo>
                  <a:pt x="154384" y="89769"/>
                  <a:pt x="152511" y="91709"/>
                  <a:pt x="150301" y="93202"/>
                </a:cubicBezTo>
                <a:lnTo>
                  <a:pt x="92675" y="132103"/>
                </a:lnTo>
                <a:cubicBezTo>
                  <a:pt x="84623" y="137539"/>
                  <a:pt x="74075" y="137539"/>
                  <a:pt x="66024" y="132103"/>
                </a:cubicBezTo>
                <a:lnTo>
                  <a:pt x="8398" y="93202"/>
                </a:lnTo>
                <a:cubicBezTo>
                  <a:pt x="1310" y="88421"/>
                  <a:pt x="-1724" y="79503"/>
                  <a:pt x="978" y="71390"/>
                </a:cubicBezTo>
                <a:lnTo>
                  <a:pt x="66138" y="114824"/>
                </a:lnTo>
                <a:cubicBezTo>
                  <a:pt x="73597" y="119795"/>
                  <a:pt x="83217" y="120155"/>
                  <a:pt x="91027" y="115758"/>
                </a:cubicBezTo>
                <a:lnTo>
                  <a:pt x="92551" y="114824"/>
                </a:lnTo>
                <a:lnTo>
                  <a:pt x="157712" y="71390"/>
                </a:lnTo>
                <a:cubicBezTo>
                  <a:pt x="159514" y="76779"/>
                  <a:pt x="158812" y="82691"/>
                  <a:pt x="155797" y="87507"/>
                </a:cubicBezTo>
                <a:close/>
                <a:moveTo>
                  <a:pt x="155797" y="118463"/>
                </a:moveTo>
                <a:cubicBezTo>
                  <a:pt x="154384" y="120725"/>
                  <a:pt x="152511" y="122665"/>
                  <a:pt x="150301" y="124159"/>
                </a:cubicBezTo>
                <a:lnTo>
                  <a:pt x="92675" y="163059"/>
                </a:lnTo>
                <a:cubicBezTo>
                  <a:pt x="84623" y="168496"/>
                  <a:pt x="74075" y="168496"/>
                  <a:pt x="66024" y="163059"/>
                </a:cubicBezTo>
                <a:lnTo>
                  <a:pt x="8398" y="124159"/>
                </a:lnTo>
                <a:cubicBezTo>
                  <a:pt x="1310" y="119377"/>
                  <a:pt x="-1724" y="110459"/>
                  <a:pt x="978" y="102346"/>
                </a:cubicBezTo>
                <a:lnTo>
                  <a:pt x="66138" y="145780"/>
                </a:lnTo>
                <a:cubicBezTo>
                  <a:pt x="73597" y="150752"/>
                  <a:pt x="83217" y="151112"/>
                  <a:pt x="91027" y="146714"/>
                </a:cubicBezTo>
                <a:lnTo>
                  <a:pt x="92551" y="145780"/>
                </a:lnTo>
                <a:lnTo>
                  <a:pt x="157712" y="102346"/>
                </a:lnTo>
                <a:cubicBezTo>
                  <a:pt x="159514" y="107735"/>
                  <a:pt x="158812" y="113647"/>
                  <a:pt x="155797" y="118463"/>
                </a:cubicBezTo>
                <a:close/>
              </a:path>
            </a:pathLst>
          </a:custGeom>
          <a:solidFill>
            <a:srgbClr val="FFFFFF"/>
          </a:solidFill>
          <a:ln w="12700">
            <a:noFill/>
            <a:headEnd type="none" w="med" len="med"/>
            <a:tailEnd type="none" w="med" len="med"/>
          </a:ln>
          <a:effectLst/>
          <a:scene3d>
            <a:camera prst="perspectiveRight" fov="2700000">
              <a:rot lat="0" lon="21594000" rev="0"/>
            </a:camera>
            <a:lightRig rig="flat" dir="t"/>
          </a:scene3d>
          <a:sp3d>
            <a:bevelT w="0" h="38100"/>
            <a:bevelB w="0" h="0"/>
            <a:contourClr>
              <a:schemeClr val="bg1"/>
            </a:contourClr>
          </a:sp3d>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lt1"/>
                </a:solidFill>
                <a:latin typeface="+mn-lt"/>
                <a:ea typeface="+mn-ea"/>
                <a:cs typeface="+mn-cs"/>
              </a:defRPr>
            </a:lvl1pPr>
            <a:lvl2pPr marL="457183" algn="l" defTabSz="914367" rtl="0" eaLnBrk="1" latinLnBrk="0" hangingPunct="1">
              <a:defRPr sz="1765" kern="1200">
                <a:solidFill>
                  <a:schemeClr val="lt1"/>
                </a:solidFill>
                <a:latin typeface="+mn-lt"/>
                <a:ea typeface="+mn-ea"/>
                <a:cs typeface="+mn-cs"/>
              </a:defRPr>
            </a:lvl2pPr>
            <a:lvl3pPr marL="914367" algn="l" defTabSz="914367" rtl="0" eaLnBrk="1" latinLnBrk="0" hangingPunct="1">
              <a:defRPr sz="1765" kern="1200">
                <a:solidFill>
                  <a:schemeClr val="lt1"/>
                </a:solidFill>
                <a:latin typeface="+mn-lt"/>
                <a:ea typeface="+mn-ea"/>
                <a:cs typeface="+mn-cs"/>
              </a:defRPr>
            </a:lvl3pPr>
            <a:lvl4pPr marL="1371550" algn="l" defTabSz="914367" rtl="0" eaLnBrk="1" latinLnBrk="0" hangingPunct="1">
              <a:defRPr sz="1765" kern="1200">
                <a:solidFill>
                  <a:schemeClr val="lt1"/>
                </a:solidFill>
                <a:latin typeface="+mn-lt"/>
                <a:ea typeface="+mn-ea"/>
                <a:cs typeface="+mn-cs"/>
              </a:defRPr>
            </a:lvl4pPr>
            <a:lvl5pPr marL="1828734" algn="l" defTabSz="914367" rtl="0" eaLnBrk="1" latinLnBrk="0" hangingPunct="1">
              <a:defRPr sz="1765" kern="1200">
                <a:solidFill>
                  <a:schemeClr val="lt1"/>
                </a:solidFill>
                <a:latin typeface="+mn-lt"/>
                <a:ea typeface="+mn-ea"/>
                <a:cs typeface="+mn-cs"/>
              </a:defRPr>
            </a:lvl5pPr>
            <a:lvl6pPr marL="2285918" algn="l" defTabSz="914367" rtl="0" eaLnBrk="1" latinLnBrk="0" hangingPunct="1">
              <a:defRPr sz="1765" kern="1200">
                <a:solidFill>
                  <a:schemeClr val="lt1"/>
                </a:solidFill>
                <a:latin typeface="+mn-lt"/>
                <a:ea typeface="+mn-ea"/>
                <a:cs typeface="+mn-cs"/>
              </a:defRPr>
            </a:lvl6pPr>
            <a:lvl7pPr marL="2743101" algn="l" defTabSz="914367" rtl="0" eaLnBrk="1" latinLnBrk="0" hangingPunct="1">
              <a:defRPr sz="1765" kern="1200">
                <a:solidFill>
                  <a:schemeClr val="lt1"/>
                </a:solidFill>
                <a:latin typeface="+mn-lt"/>
                <a:ea typeface="+mn-ea"/>
                <a:cs typeface="+mn-cs"/>
              </a:defRPr>
            </a:lvl7pPr>
            <a:lvl8pPr marL="3200284" algn="l" defTabSz="914367" rtl="0" eaLnBrk="1" latinLnBrk="0" hangingPunct="1">
              <a:defRPr sz="1765" kern="1200">
                <a:solidFill>
                  <a:schemeClr val="lt1"/>
                </a:solidFill>
                <a:latin typeface="+mn-lt"/>
                <a:ea typeface="+mn-ea"/>
                <a:cs typeface="+mn-cs"/>
              </a:defRPr>
            </a:lvl8pPr>
            <a:lvl9pPr marL="3657469" algn="l" defTabSz="914367" rtl="0" eaLnBrk="1" latinLnBrk="0" hangingPunct="1">
              <a:defRPr sz="1765" kern="1200">
                <a:solidFill>
                  <a:schemeClr val="lt1"/>
                </a:solidFill>
                <a:latin typeface="+mn-lt"/>
                <a:ea typeface="+mn-ea"/>
                <a:cs typeface="+mn-cs"/>
              </a:defRPr>
            </a:lvl9pPr>
          </a:lstStyle>
          <a:p>
            <a:pPr marL="0" marR="0" lvl="0" indent="0" algn="l" defTabSz="932509" rtl="0" eaLnBrk="1" fontAlgn="base" latinLnBrk="0" hangingPunct="1">
              <a:lnSpc>
                <a:spcPct val="100000"/>
              </a:lnSpc>
              <a:spcBef>
                <a:spcPct val="0"/>
              </a:spcBef>
              <a:spcAft>
                <a:spcPct val="0"/>
              </a:spcAft>
              <a:buClrTx/>
              <a:buSzTx/>
              <a:buFontTx/>
              <a:buNone/>
              <a:tabLst/>
              <a:defRPr/>
            </a:pPr>
            <a:endParaRPr kumimoji="0" lang="ru-UA" sz="2000" b="1"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19" name="Rectangle: Rounded Corners 18">
            <a:extLst>
              <a:ext uri="{FF2B5EF4-FFF2-40B4-BE49-F238E27FC236}">
                <a16:creationId xmlns:a16="http://schemas.microsoft.com/office/drawing/2014/main" id="{7EA67E9F-55A0-F16A-7A50-BDB687B45C71}"/>
              </a:ext>
            </a:extLst>
          </p:cNvPr>
          <p:cNvSpPr/>
          <p:nvPr/>
        </p:nvSpPr>
        <p:spPr bwMode="auto">
          <a:xfrm>
            <a:off x="121714" y="1008653"/>
            <a:ext cx="2536226" cy="346333"/>
          </a:xfrm>
          <a:prstGeom prst="roundRect">
            <a:avLst/>
          </a:prstGeom>
          <a:gradFill flip="none" rotWithShape="1">
            <a:gsLst>
              <a:gs pos="100000">
                <a:srgbClr val="0078D4">
                  <a:alpha val="50000"/>
                </a:srgbClr>
              </a:gs>
              <a:gs pos="40000">
                <a:srgbClr val="8661C5">
                  <a:alpha val="80000"/>
                </a:srgbClr>
              </a:gs>
              <a:gs pos="0">
                <a:srgbClr val="C03BC4">
                  <a:lumMod val="70000"/>
                  <a:lumOff val="30000"/>
                </a:srgbClr>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30999" tIns="0" rIns="130999"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848350" rtl="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ey Benefits </a:t>
            </a:r>
            <a:endParaRPr kumimoji="0" lang="en-AU"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21" name="Rectangle: Rounded Corners 20">
            <a:extLst>
              <a:ext uri="{FF2B5EF4-FFF2-40B4-BE49-F238E27FC236}">
                <a16:creationId xmlns:a16="http://schemas.microsoft.com/office/drawing/2014/main" id="{88A83A61-E296-A41C-BAD3-D844601C8190}"/>
              </a:ext>
            </a:extLst>
          </p:cNvPr>
          <p:cNvSpPr/>
          <p:nvPr/>
        </p:nvSpPr>
        <p:spPr>
          <a:xfrm>
            <a:off x="91695" y="4481819"/>
            <a:ext cx="8162109" cy="1936205"/>
          </a:xfrm>
          <a:prstGeom prst="roundRect">
            <a:avLst/>
          </a:prstGeom>
          <a:solidFill>
            <a:schemeClr val="bg1">
              <a:lumMod val="95000"/>
            </a:schemeClr>
          </a:solidFill>
          <a:ln>
            <a:solidFill>
              <a:schemeClr val="bg1"/>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a:ln>
                  <a:noFill/>
                </a:ln>
                <a:solidFill>
                  <a:srgbClr val="2F2F2F"/>
                </a:solidFill>
                <a:effectLst/>
                <a:uLnTx/>
                <a:uFillTx/>
                <a:latin typeface="Segoe UI"/>
                <a:ea typeface="+mn-ea"/>
                <a:cs typeface="+mn-cs"/>
              </a:rPr>
              <a:t>    </a:t>
            </a:r>
            <a:endParaRPr kumimoji="0" lang="en-CA" sz="1400" b="1"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Agent Fundamentals &amp; Architectur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CA" sz="12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Demos on agents built on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     Builder, Copilot Studio &amp; SharePoi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Governance, Data protection &amp;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     Reporting across graph connector</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     &amp;  agent creation experiences </a:t>
            </a:r>
          </a:p>
        </p:txBody>
      </p:sp>
      <p:sp>
        <p:nvSpPr>
          <p:cNvPr id="20" name="Rectangle: Rounded Corners 19">
            <a:extLst>
              <a:ext uri="{FF2B5EF4-FFF2-40B4-BE49-F238E27FC236}">
                <a16:creationId xmlns:a16="http://schemas.microsoft.com/office/drawing/2014/main" id="{CFF64697-5062-14B5-835E-0CA435C4203E}"/>
              </a:ext>
            </a:extLst>
          </p:cNvPr>
          <p:cNvSpPr/>
          <p:nvPr/>
        </p:nvSpPr>
        <p:spPr bwMode="auto">
          <a:xfrm>
            <a:off x="152334" y="4357920"/>
            <a:ext cx="2505606" cy="348501"/>
          </a:xfrm>
          <a:prstGeom prst="roundRect">
            <a:avLst/>
          </a:prstGeom>
          <a:gradFill flip="none" rotWithShape="1">
            <a:gsLst>
              <a:gs pos="100000">
                <a:srgbClr val="0078D4">
                  <a:alpha val="50000"/>
                </a:srgbClr>
              </a:gs>
              <a:gs pos="40000">
                <a:srgbClr val="8661C5">
                  <a:alpha val="80000"/>
                </a:srgbClr>
              </a:gs>
              <a:gs pos="0">
                <a:srgbClr val="C03BC4">
                  <a:lumMod val="70000"/>
                  <a:lumOff val="30000"/>
                </a:srgbClr>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30999" tIns="0" rIns="130999"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848350" rtl="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Engagement Structure </a:t>
            </a:r>
            <a:endParaRPr kumimoji="0" lang="en-AU"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23" name="Straight Connector 22">
            <a:extLst>
              <a:ext uri="{FF2B5EF4-FFF2-40B4-BE49-F238E27FC236}">
                <a16:creationId xmlns:a16="http://schemas.microsoft.com/office/drawing/2014/main" id="{B32BC1DE-1424-9A40-399C-06BAB8A55C35}"/>
              </a:ext>
            </a:extLst>
          </p:cNvPr>
          <p:cNvCxnSpPr>
            <a:cxnSpLocks/>
          </p:cNvCxnSpPr>
          <p:nvPr/>
        </p:nvCxnSpPr>
        <p:spPr>
          <a:xfrm flipH="1">
            <a:off x="8562881" y="938988"/>
            <a:ext cx="2885" cy="5409371"/>
          </a:xfrm>
          <a:prstGeom prst="line">
            <a:avLst/>
          </a:prstGeom>
          <a:ln w="63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4" name="Picture 2" descr="A screenshot of a computer&#10;&#10;AI-generated content may be incorrect.">
            <a:extLst>
              <a:ext uri="{FF2B5EF4-FFF2-40B4-BE49-F238E27FC236}">
                <a16:creationId xmlns:a16="http://schemas.microsoft.com/office/drawing/2014/main" id="{3DF57A5D-3634-BC8C-70D5-F802982E4F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1842" y="4754408"/>
            <a:ext cx="2187824" cy="1471189"/>
          </a:xfrm>
          <a:prstGeom prst="rect">
            <a:avLst/>
          </a:prstGeom>
          <a:noFill/>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6EBF42AE-04F2-8C4F-0A94-35213CC068D1}"/>
              </a:ext>
            </a:extLst>
          </p:cNvPr>
          <p:cNvSpPr/>
          <p:nvPr/>
        </p:nvSpPr>
        <p:spPr bwMode="auto">
          <a:xfrm>
            <a:off x="9007813" y="1008653"/>
            <a:ext cx="2536226" cy="346333"/>
          </a:xfrm>
          <a:prstGeom prst="roundRect">
            <a:avLst/>
          </a:prstGeom>
          <a:gradFill flip="none" rotWithShape="1">
            <a:gsLst>
              <a:gs pos="100000">
                <a:srgbClr val="0078D4">
                  <a:alpha val="50000"/>
                </a:srgbClr>
              </a:gs>
              <a:gs pos="40000">
                <a:srgbClr val="8661C5">
                  <a:alpha val="80000"/>
                </a:srgbClr>
              </a:gs>
              <a:gs pos="0">
                <a:srgbClr val="C03BC4">
                  <a:lumMod val="70000"/>
                  <a:lumOff val="30000"/>
                </a:srgbClr>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30999" tIns="0" rIns="130999"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848350" rtl="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Next Steps </a:t>
            </a:r>
            <a:endParaRPr kumimoji="0" lang="en-AU" sz="14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Rectangle: Rounded Corners 36">
            <a:extLst>
              <a:ext uri="{FF2B5EF4-FFF2-40B4-BE49-F238E27FC236}">
                <a16:creationId xmlns:a16="http://schemas.microsoft.com/office/drawing/2014/main" id="{D011F9FB-A9F6-9D85-91EE-DFC5F5950229}"/>
              </a:ext>
            </a:extLst>
          </p:cNvPr>
          <p:cNvSpPr/>
          <p:nvPr/>
        </p:nvSpPr>
        <p:spPr>
          <a:xfrm>
            <a:off x="9142443" y="1670796"/>
            <a:ext cx="2401596" cy="1263309"/>
          </a:xfrm>
          <a:prstGeom prst="roundRect">
            <a:avLst/>
          </a:prstGeom>
          <a:solidFill>
            <a:schemeClr val="bg1">
              <a:lumMod val="95000"/>
            </a:schemeClr>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1" i="0" u="none" strike="noStrike" kern="1200" cap="none" spc="0" normalizeH="0" baseline="0" noProof="0">
              <a:ln>
                <a:noFill/>
              </a:ln>
              <a:solidFill>
                <a:srgbClr val="2F2F2F"/>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sng" strike="noStrike" kern="1200" cap="none" spc="0" normalizeH="0" baseline="0" noProof="0">
                <a:ln>
                  <a:noFill/>
                </a:ln>
                <a:solidFill>
                  <a:srgbClr val="2F2F2F"/>
                </a:solidFill>
                <a:effectLst/>
                <a:uLnTx/>
                <a:uFillTx/>
                <a:latin typeface="Segoe UI"/>
                <a:ea typeface="+mn-ea"/>
                <a:cs typeface="+mn-cs"/>
              </a:rPr>
              <a:t>Self-Serve Skil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Get familiar with Agent Administration &amp; Governance on </a:t>
            </a:r>
            <a:r>
              <a:rPr kumimoji="0" lang="en-CA" sz="1200" b="0" i="0" u="none" strike="noStrike" kern="1200" cap="none" spc="0" normalizeH="0" baseline="0" noProof="0">
                <a:ln>
                  <a:noFill/>
                </a:ln>
                <a:solidFill>
                  <a:srgbClr val="000000"/>
                </a:solidFill>
                <a:effectLst/>
                <a:uLnTx/>
                <a:uFillTx/>
                <a:latin typeface="Segoe UI"/>
                <a:ea typeface="+mn-ea"/>
                <a:cs typeface="+mn-cs"/>
                <a:hlinkClick r:id="rId4"/>
              </a:rPr>
              <a:t>demand resources </a:t>
            </a:r>
            <a:endParaRPr kumimoji="0" lang="en-CA" sz="12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Rectangle: Rounded Corners 37">
            <a:extLst>
              <a:ext uri="{FF2B5EF4-FFF2-40B4-BE49-F238E27FC236}">
                <a16:creationId xmlns:a16="http://schemas.microsoft.com/office/drawing/2014/main" id="{4EC163DB-885B-A6C3-C4FB-51142C690A53}"/>
              </a:ext>
            </a:extLst>
          </p:cNvPr>
          <p:cNvSpPr/>
          <p:nvPr/>
        </p:nvSpPr>
        <p:spPr>
          <a:xfrm>
            <a:off x="9075128" y="3325682"/>
            <a:ext cx="2401596" cy="1374230"/>
          </a:xfrm>
          <a:prstGeom prst="roundRect">
            <a:avLst/>
          </a:prstGeom>
          <a:solidFill>
            <a:schemeClr val="bg1">
              <a:lumMod val="95000"/>
            </a:schemeClr>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sng" strike="noStrike" kern="1200" cap="none" spc="0" normalizeH="0" baseline="0" noProof="0">
                <a:ln>
                  <a:noFill/>
                </a:ln>
                <a:solidFill>
                  <a:srgbClr val="2F2F2F"/>
                </a:solidFill>
                <a:effectLst/>
                <a:uLnTx/>
                <a:uFillTx/>
                <a:latin typeface="Segoe UI"/>
                <a:ea typeface="+mn-ea"/>
                <a:cs typeface="+mn-cs"/>
              </a:rPr>
              <a:t>Webina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Register for an upcoming Agent Governance webinar </a:t>
            </a:r>
            <a:r>
              <a:rPr kumimoji="0" lang="en-CA" sz="1200" b="0" i="0" u="none" strike="noStrike" kern="1200" cap="none" spc="0" normalizeH="0" baseline="0" noProof="0">
                <a:ln>
                  <a:noFill/>
                </a:ln>
                <a:solidFill>
                  <a:srgbClr val="000000"/>
                </a:solidFill>
                <a:effectLst/>
                <a:uLnTx/>
                <a:uFillTx/>
                <a:latin typeface="Segoe UI"/>
                <a:ea typeface="+mn-ea"/>
                <a:cs typeface="+mn-cs"/>
                <a:hlinkClick r:id="rId5"/>
              </a:rPr>
              <a:t>here</a:t>
            </a:r>
            <a:r>
              <a:rPr kumimoji="0" lang="en-CA" sz="1200" b="0" i="0" u="none" strike="noStrike" kern="1200" cap="none" spc="0" normalizeH="0" baseline="0" noProof="0">
                <a:ln>
                  <a:noFill/>
                </a:ln>
                <a:solidFill>
                  <a:srgbClr val="000000"/>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To be published soon)</a:t>
            </a:r>
          </a:p>
        </p:txBody>
      </p:sp>
      <p:sp>
        <p:nvSpPr>
          <p:cNvPr id="39" name="Rectangle: Rounded Corners 38">
            <a:extLst>
              <a:ext uri="{FF2B5EF4-FFF2-40B4-BE49-F238E27FC236}">
                <a16:creationId xmlns:a16="http://schemas.microsoft.com/office/drawing/2014/main" id="{52006C97-DFD8-D7BC-710F-6A1B6C92F47E}"/>
              </a:ext>
            </a:extLst>
          </p:cNvPr>
          <p:cNvSpPr/>
          <p:nvPr/>
        </p:nvSpPr>
        <p:spPr>
          <a:xfrm>
            <a:off x="9075128" y="5037285"/>
            <a:ext cx="2401596" cy="1374230"/>
          </a:xfrm>
          <a:prstGeom prst="roundRect">
            <a:avLst/>
          </a:prstGeom>
          <a:solidFill>
            <a:schemeClr val="bg1">
              <a:lumMod val="95000"/>
            </a:schemeClr>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sng" strike="noStrike" kern="1200" cap="none" spc="0" normalizeH="0" baseline="0" noProof="0">
                <a:ln>
                  <a:noFill/>
                </a:ln>
                <a:solidFill>
                  <a:srgbClr val="2F2F2F"/>
                </a:solidFill>
                <a:effectLst/>
                <a:uLnTx/>
                <a:uFillTx/>
                <a:latin typeface="Segoe UI"/>
                <a:ea typeface="+mn-ea"/>
                <a:cs typeface="+mn-cs"/>
              </a:rPr>
              <a:t>Worksho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Contact your Microsoft Representative to schedule agent governance (</a:t>
            </a:r>
            <a:r>
              <a:rPr kumimoji="0" lang="en-CA" sz="1200" b="1" i="0" u="none" strike="noStrike" kern="1200" cap="none" spc="0" normalizeH="0" baseline="0" noProof="0">
                <a:ln>
                  <a:noFill/>
                </a:ln>
                <a:solidFill>
                  <a:srgbClr val="000000"/>
                </a:solidFill>
                <a:effectLst/>
                <a:uLnTx/>
                <a:uFillTx/>
                <a:latin typeface="Segoe UI"/>
                <a:ea typeface="+mn-ea"/>
                <a:cs typeface="+mn-cs"/>
              </a:rPr>
              <a:t>M365 Copilot Extensibility COE) </a:t>
            </a:r>
            <a:r>
              <a:rPr kumimoji="0" lang="en-CA" sz="1200" b="0" i="0" u="none" strike="noStrike" kern="1200" cap="none" spc="0" normalizeH="0" baseline="0" noProof="0">
                <a:ln>
                  <a:noFill/>
                </a:ln>
                <a:solidFill>
                  <a:srgbClr val="000000"/>
                </a:solidFill>
                <a:effectLst/>
                <a:uLnTx/>
                <a:uFillTx/>
                <a:latin typeface="Segoe UI"/>
                <a:ea typeface="+mn-ea"/>
                <a:cs typeface="+mn-cs"/>
              </a:rPr>
              <a:t>Engagement </a:t>
            </a:r>
          </a:p>
        </p:txBody>
      </p:sp>
      <p:pic>
        <p:nvPicPr>
          <p:cNvPr id="41" name="Picture 40">
            <a:extLst>
              <a:ext uri="{FF2B5EF4-FFF2-40B4-BE49-F238E27FC236}">
                <a16:creationId xmlns:a16="http://schemas.microsoft.com/office/drawing/2014/main" id="{F8D1E444-FDA5-D40E-1C1E-853DCF2FC59A}"/>
              </a:ext>
            </a:extLst>
          </p:cNvPr>
          <p:cNvPicPr>
            <a:picLocks noChangeAspect="1"/>
          </p:cNvPicPr>
          <p:nvPr/>
        </p:nvPicPr>
        <p:blipFill>
          <a:blip r:embed="rId6"/>
          <a:stretch>
            <a:fillRect/>
          </a:stretch>
        </p:blipFill>
        <p:spPr>
          <a:xfrm>
            <a:off x="5490532" y="4747899"/>
            <a:ext cx="2497935" cy="1477697"/>
          </a:xfrm>
          <a:prstGeom prst="rect">
            <a:avLst/>
          </a:prstGeom>
          <a:effectLst>
            <a:glow rad="63500">
              <a:schemeClr val="accent1">
                <a:satMod val="175000"/>
                <a:alpha val="40000"/>
              </a:schemeClr>
            </a:glow>
          </a:effectLst>
        </p:spPr>
      </p:pic>
      <p:sp>
        <p:nvSpPr>
          <p:cNvPr id="42" name="TextBox 41">
            <a:extLst>
              <a:ext uri="{FF2B5EF4-FFF2-40B4-BE49-F238E27FC236}">
                <a16:creationId xmlns:a16="http://schemas.microsoft.com/office/drawing/2014/main" id="{B20AC888-8051-4B78-1F6A-E879F010F0F1}"/>
              </a:ext>
            </a:extLst>
          </p:cNvPr>
          <p:cNvSpPr txBox="1"/>
          <p:nvPr/>
        </p:nvSpPr>
        <p:spPr>
          <a:xfrm>
            <a:off x="2512645" y="6432159"/>
            <a:ext cx="763655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0" i="0" u="none" strike="noStrike" kern="1200" cap="none" spc="0" normalizeH="0" baseline="0" noProof="0">
                <a:ln>
                  <a:noFill/>
                </a:ln>
                <a:solidFill>
                  <a:srgbClr val="000000"/>
                </a:solidFill>
                <a:effectLst/>
                <a:uLnTx/>
                <a:uFillTx/>
                <a:latin typeface="Segoe UI"/>
                <a:ea typeface="+mn-ea"/>
                <a:cs typeface="+mn-cs"/>
              </a:rPr>
              <a:t> </a:t>
            </a:r>
            <a:r>
              <a:rPr kumimoji="0" lang="en-CA" sz="1200" b="1" i="0" u="none" strike="noStrike" kern="1200" cap="none" spc="0" normalizeH="0" baseline="0" noProof="0">
                <a:ln>
                  <a:noFill/>
                </a:ln>
                <a:solidFill>
                  <a:srgbClr val="000000"/>
                </a:solidFill>
                <a:effectLst/>
                <a:uLnTx/>
                <a:uFillTx/>
                <a:latin typeface="Segoe UI"/>
                <a:ea typeface="+mn-ea"/>
                <a:cs typeface="+mn-cs"/>
              </a:rPr>
              <a:t>Share one pager with your customers </a:t>
            </a:r>
            <a:r>
              <a:rPr kumimoji="0" lang="en-CA" sz="1200" b="0" i="0" u="none" strike="noStrike" kern="1200" cap="none" spc="0" normalizeH="0" baseline="0" noProof="0">
                <a:ln>
                  <a:noFill/>
                </a:ln>
                <a:solidFill>
                  <a:srgbClr val="000000"/>
                </a:solidFill>
                <a:effectLst/>
                <a:uLnTx/>
                <a:uFillTx/>
                <a:latin typeface="Segoe UI"/>
                <a:ea typeface="+mn-ea"/>
                <a:cs typeface="+mn-cs"/>
              </a:rPr>
              <a:t>- </a:t>
            </a:r>
            <a:r>
              <a:rPr kumimoji="0" lang="en-CA" sz="1200" b="0" i="0" u="none" strike="noStrike" kern="1200" cap="none" spc="0" normalizeH="0" baseline="0" noProof="0">
                <a:ln>
                  <a:noFill/>
                </a:ln>
                <a:solidFill>
                  <a:srgbClr val="000000"/>
                </a:solidFill>
                <a:effectLst/>
                <a:uLnTx/>
                <a:uFillTx/>
                <a:latin typeface="Segoe UI"/>
                <a:ea typeface="+mn-ea"/>
                <a:cs typeface="+mn-cs"/>
                <a:hlinkClick r:id="rId7"/>
              </a:rPr>
              <a:t>https://aka.ms/AgentGovernanceSupportEngagement</a:t>
            </a:r>
            <a:r>
              <a:rPr kumimoji="0" lang="en-CA" sz="1200" b="0" i="0" u="none" strike="noStrike" kern="1200" cap="none" spc="0" normalizeH="0" baseline="0" noProof="0">
                <a:ln>
                  <a:noFill/>
                </a:ln>
                <a:solidFill>
                  <a:srgbClr val="000000"/>
                </a:solidFill>
                <a:effectLst/>
                <a:uLnTx/>
                <a:uFillTx/>
                <a:latin typeface="Segoe UI"/>
                <a:ea typeface="+mn-ea"/>
                <a:cs typeface="+mn-cs"/>
              </a:rPr>
              <a:t> </a:t>
            </a:r>
          </a:p>
        </p:txBody>
      </p:sp>
    </p:spTree>
    <p:extLst>
      <p:ext uri="{BB962C8B-B14F-4D97-AF65-F5344CB8AC3E}">
        <p14:creationId xmlns:p14="http://schemas.microsoft.com/office/powerpoint/2010/main" val="114369773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64AF96-EB5D-39C8-8AA2-5422433C78BF}"/>
              </a:ext>
            </a:extLst>
          </p:cNvPr>
          <p:cNvSpPr>
            <a:spLocks noGrp="1"/>
          </p:cNvSpPr>
          <p:nvPr>
            <p:ph type="title" idx="4294967295"/>
          </p:nvPr>
        </p:nvSpPr>
        <p:spPr>
          <a:xfrm>
            <a:off x="387350" y="34925"/>
            <a:ext cx="10515600" cy="522288"/>
          </a:xfrm>
        </p:spPr>
        <p:txBody>
          <a:bodyPr>
            <a:normAutofit/>
          </a:bodyPr>
          <a:lstStyle/>
          <a:p>
            <a:r>
              <a:rPr lang="en-US" sz="2800">
                <a:cs typeface="Segoe UI"/>
              </a:rPr>
              <a:t>Agent Governance CoE unified Offering </a:t>
            </a:r>
            <a:endParaRPr lang="en-US" sz="2800">
              <a:gradFill>
                <a:gsLst>
                  <a:gs pos="1250">
                    <a:srgbClr val="000000"/>
                  </a:gs>
                  <a:gs pos="100000">
                    <a:srgbClr val="000000"/>
                  </a:gs>
                </a:gsLst>
                <a:lin ang="5400000" scaled="0"/>
              </a:gradFill>
            </a:endParaRPr>
          </a:p>
        </p:txBody>
      </p:sp>
      <p:sp>
        <p:nvSpPr>
          <p:cNvPr id="5" name="Rounded Rectangle 4">
            <a:extLst>
              <a:ext uri="{FF2B5EF4-FFF2-40B4-BE49-F238E27FC236}">
                <a16:creationId xmlns:a16="http://schemas.microsoft.com/office/drawing/2014/main" id="{AE0BF481-641D-9116-AEEC-1E5503EF7484}"/>
              </a:ext>
            </a:extLst>
          </p:cNvPr>
          <p:cNvSpPr/>
          <p:nvPr/>
        </p:nvSpPr>
        <p:spPr>
          <a:xfrm>
            <a:off x="373237" y="556532"/>
            <a:ext cx="11535518" cy="498835"/>
          </a:xfrm>
          <a:prstGeom prst="roundRect">
            <a:avLst>
              <a:gd name="adj" fmla="val 29756"/>
            </a:avLst>
          </a:prstGeom>
          <a:solidFill>
            <a:schemeClr val="bg1"/>
          </a:solidFill>
          <a:ln w="9525">
            <a:gradFill>
              <a:gsLst>
                <a:gs pos="0">
                  <a:srgbClr val="7865C8"/>
                </a:gs>
                <a:gs pos="100000">
                  <a:srgbClr val="B54DCB"/>
                </a:gs>
              </a:gsLst>
              <a:lin ang="5400000" scaled="1"/>
            </a:gradFill>
          </a:ln>
          <a:effectLst>
            <a:outerShdw blurRad="127000" dist="127000" dir="2700000" algn="tl" rotWithShape="0">
              <a:prstClr val="black">
                <a:alpha val="1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rPr>
              <a:t>Jump Start your Agent Journey with standardized </a:t>
            </a:r>
            <a:r>
              <a:rPr kumimoji="0" lang="en-CA" sz="1600" b="1" i="0" u="sng" strike="noStrike" kern="1200" cap="none" spc="0" normalizeH="0" baseline="0" noProof="0">
                <a:ln>
                  <a:noFill/>
                </a:ln>
                <a:solidFill>
                  <a:srgbClr val="7030A0"/>
                </a:solidFill>
                <a:effectLst/>
                <a:uLnTx/>
                <a:uFillTx/>
                <a:latin typeface="Segoe UI" panose="020B0502040204020203" pitchFamily="34" charset="0"/>
                <a:ea typeface="+mn-ea"/>
                <a:cs typeface="+mn-cs"/>
              </a:rPr>
              <a:t>Governance</a:t>
            </a:r>
            <a:r>
              <a:rPr kumimoji="0" lang="en-CA"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rPr>
              <a:t> and </a:t>
            </a:r>
            <a:r>
              <a:rPr kumimoji="0" lang="en-CA" sz="1600" b="1" i="0" u="sng" strike="noStrike" kern="1200" cap="none" spc="0" normalizeH="0" baseline="0" noProof="0">
                <a:ln>
                  <a:noFill/>
                </a:ln>
                <a:solidFill>
                  <a:srgbClr val="7030A0"/>
                </a:solidFill>
                <a:effectLst/>
                <a:uLnTx/>
                <a:uFillTx/>
                <a:latin typeface="Segoe UI" panose="020B0502040204020203" pitchFamily="34" charset="0"/>
                <a:ea typeface="+mn-ea"/>
                <a:cs typeface="+mn-cs"/>
              </a:rPr>
              <a:t>Adoption</a:t>
            </a:r>
            <a:r>
              <a:rPr kumimoji="0" lang="en-CA"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rPr>
              <a:t> best practices</a:t>
            </a:r>
          </a:p>
        </p:txBody>
      </p:sp>
      <p:sp>
        <p:nvSpPr>
          <p:cNvPr id="2" name="Rectangle: Rounded Corners 1">
            <a:extLst>
              <a:ext uri="{FF2B5EF4-FFF2-40B4-BE49-F238E27FC236}">
                <a16:creationId xmlns:a16="http://schemas.microsoft.com/office/drawing/2014/main" id="{8A8531C5-E306-1F6C-2748-FD60FD02C756}"/>
              </a:ext>
            </a:extLst>
          </p:cNvPr>
          <p:cNvSpPr/>
          <p:nvPr/>
        </p:nvSpPr>
        <p:spPr>
          <a:xfrm>
            <a:off x="373237" y="1181034"/>
            <a:ext cx="3558449" cy="441010"/>
          </a:xfrm>
          <a:prstGeom prst="roundRect">
            <a:avLst/>
          </a:prstGeom>
          <a:gradFill flip="none" rotWithShape="1">
            <a:gsLst>
              <a:gs pos="25287">
                <a:srgbClr val="8661C5"/>
              </a:gs>
              <a:gs pos="43000">
                <a:srgbClr val="8661C5"/>
              </a:gs>
              <a:gs pos="80000">
                <a:srgbClr val="0070C0"/>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Current Challenges </a:t>
            </a:r>
          </a:p>
        </p:txBody>
      </p:sp>
      <p:sp>
        <p:nvSpPr>
          <p:cNvPr id="6" name="Rectangle: Rounded Corners 5">
            <a:extLst>
              <a:ext uri="{FF2B5EF4-FFF2-40B4-BE49-F238E27FC236}">
                <a16:creationId xmlns:a16="http://schemas.microsoft.com/office/drawing/2014/main" id="{2AD629FF-097D-2F7F-8ACD-5ADFA414C96D}"/>
              </a:ext>
            </a:extLst>
          </p:cNvPr>
          <p:cNvSpPr/>
          <p:nvPr/>
        </p:nvSpPr>
        <p:spPr bwMode="auto">
          <a:xfrm>
            <a:off x="417801" y="4304370"/>
            <a:ext cx="3544324" cy="1165080"/>
          </a:xfrm>
          <a:prstGeom prst="roundRect">
            <a:avLst/>
          </a:prstGeom>
          <a:ln>
            <a:headEnd type="none" w="med" len="med"/>
            <a:tailEnd type="none" w="med" len="med"/>
          </a:ln>
          <a:effectLst>
            <a:glow rad="635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l" defTabSz="63575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rPr>
              <a:t>Customer’s ambiguity between </a:t>
            </a:r>
            <a:r>
              <a:rPr kumimoji="0" lang="en-US" sz="1200" b="1" i="0" u="none" strike="noStrike" kern="1200" cap="none" spc="0" normalizeH="0" baseline="0" noProof="0">
                <a:ln>
                  <a:noFill/>
                </a:ln>
                <a:solidFill>
                  <a:srgbClr val="242424"/>
                </a:solidFill>
                <a:effectLst/>
                <a:uLnTx/>
                <a:uFillTx/>
                <a:latin typeface="Segoe UI" panose="020B0502040204020203" pitchFamily="34" charset="0"/>
                <a:ea typeface="+mn-ea"/>
                <a:cs typeface="+mn-cs"/>
              </a:rPr>
              <a:t>build vs buy vs extend </a:t>
            </a:r>
            <a:r>
              <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rPr>
              <a:t>solutions leads to slow start on starting agentic journey at scale</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 </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a:t>
            </a:r>
            <a:endPar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p:txBody>
      </p:sp>
      <p:sp>
        <p:nvSpPr>
          <p:cNvPr id="7" name="Rectangle: Rounded Corners 6">
            <a:extLst>
              <a:ext uri="{FF2B5EF4-FFF2-40B4-BE49-F238E27FC236}">
                <a16:creationId xmlns:a16="http://schemas.microsoft.com/office/drawing/2014/main" id="{EA4CC60E-677B-A314-3D9B-219743954C9B}"/>
              </a:ext>
            </a:extLst>
          </p:cNvPr>
          <p:cNvSpPr/>
          <p:nvPr/>
        </p:nvSpPr>
        <p:spPr bwMode="auto">
          <a:xfrm>
            <a:off x="386591" y="3012456"/>
            <a:ext cx="3575534" cy="1132001"/>
          </a:xfrm>
          <a:prstGeom prst="roundRect">
            <a:avLst/>
          </a:prstGeom>
          <a:ln>
            <a:headEnd type="none" w="med" len="med"/>
            <a:tailEnd type="none" w="med" len="med"/>
          </a:ln>
          <a:effectLst>
            <a:glow rad="635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l" defTabSz="63575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rPr>
              <a:t>Customer requiring guidance on </a:t>
            </a:r>
            <a:r>
              <a:rPr kumimoji="0" lang="en-US" sz="1200" b="1" i="0" u="none" strike="noStrike" kern="1200" cap="none" spc="0" normalizeH="0" baseline="0" noProof="0">
                <a:ln>
                  <a:noFill/>
                </a:ln>
                <a:solidFill>
                  <a:srgbClr val="242424"/>
                </a:solidFill>
                <a:effectLst/>
                <a:uLnTx/>
                <a:uFillTx/>
                <a:latin typeface="Segoe UI" panose="020B0502040204020203" pitchFamily="34" charset="0"/>
                <a:ea typeface="+mn-ea"/>
                <a:cs typeface="+mn-cs"/>
              </a:rPr>
              <a:t>agent landscape, decision frameworks, and licensing guidelines </a:t>
            </a:r>
            <a:r>
              <a:rPr kumimoji="0" lang="en-US"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rPr>
              <a:t>due to continuous product &amp; taxonomy changes </a:t>
            </a:r>
            <a:endParaRPr kumimoji="0" lang="en-CA"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p:txBody>
      </p:sp>
      <p:sp>
        <p:nvSpPr>
          <p:cNvPr id="8" name="Rectangle: Rounded Corners 7">
            <a:extLst>
              <a:ext uri="{FF2B5EF4-FFF2-40B4-BE49-F238E27FC236}">
                <a16:creationId xmlns:a16="http://schemas.microsoft.com/office/drawing/2014/main" id="{794DA2B7-744B-F8F0-BC80-758876FCC879}"/>
              </a:ext>
            </a:extLst>
          </p:cNvPr>
          <p:cNvSpPr/>
          <p:nvPr/>
        </p:nvSpPr>
        <p:spPr bwMode="auto">
          <a:xfrm>
            <a:off x="386590" y="1770991"/>
            <a:ext cx="3575535" cy="1091243"/>
          </a:xfrm>
          <a:prstGeom prst="roundRect">
            <a:avLst/>
          </a:prstGeom>
          <a:ln>
            <a:headEnd type="none" w="med" len="med"/>
            <a:tailEnd type="none" w="med" len="med"/>
          </a:ln>
          <a:effectLst>
            <a:glow rad="635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l" defTabSz="63575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ustomers are expressing concern about </a:t>
            </a:r>
            <a:r>
              <a:rPr kumimoji="0" lang="en-US" sz="1200" b="1" i="0" u="none" strike="noStrike" kern="1200" cap="none" spc="0" normalizeH="0" baseline="0" noProof="0">
                <a:ln>
                  <a:noFill/>
                </a:ln>
                <a:solidFill>
                  <a:srgbClr val="000000"/>
                </a:solidFill>
                <a:effectLst/>
                <a:uLnTx/>
                <a:uFillTx/>
                <a:latin typeface="Segoe UI"/>
                <a:ea typeface="+mn-ea"/>
                <a:cs typeface="+mn-cs"/>
              </a:rPr>
              <a:t>Agent Governance</a:t>
            </a:r>
            <a:r>
              <a:rPr kumimoji="0" lang="en-US" sz="1200" b="0" i="0" u="none" strike="noStrike" kern="1200" cap="none" spc="0" normalizeH="0" baseline="0" noProof="0">
                <a:ln>
                  <a:noFill/>
                </a:ln>
                <a:solidFill>
                  <a:srgbClr val="000000"/>
                </a:solidFill>
                <a:effectLst/>
                <a:uLnTx/>
                <a:uFillTx/>
                <a:latin typeface="Segoe UI"/>
                <a:ea typeface="+mn-ea"/>
                <a:cs typeface="+mn-cs"/>
              </a:rPr>
              <a:t> as it scales to end users, with many restricting end user access to Agent builder</a:t>
            </a:r>
            <a:endParaRPr kumimoji="0" lang="en-CA"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p:txBody>
      </p:sp>
      <p:sp>
        <p:nvSpPr>
          <p:cNvPr id="9" name="Rectangle: Rounded Corners 8">
            <a:extLst>
              <a:ext uri="{FF2B5EF4-FFF2-40B4-BE49-F238E27FC236}">
                <a16:creationId xmlns:a16="http://schemas.microsoft.com/office/drawing/2014/main" id="{C2BFDBBD-0501-54A9-A6F6-C494AC35FA93}"/>
              </a:ext>
            </a:extLst>
          </p:cNvPr>
          <p:cNvSpPr/>
          <p:nvPr/>
        </p:nvSpPr>
        <p:spPr bwMode="auto">
          <a:xfrm>
            <a:off x="4118660" y="1175454"/>
            <a:ext cx="2182181" cy="4293996"/>
          </a:xfrm>
          <a:prstGeom prst="roundRect">
            <a:avLst/>
          </a:prstGeom>
          <a:ln>
            <a:headEnd type="none" w="med" len="med"/>
            <a:tailEnd type="none" w="med" len="med"/>
          </a:ln>
          <a:effectLst>
            <a:glow rad="635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24691" tIns="99753" rIns="124691" bIns="99753" numCol="1" spcCol="0" rtlCol="0" fromWordArt="0" anchor="t" anchorCtr="0" forceAA="0" compatLnSpc="1">
            <a:prstTxWarp prst="textNoShape">
              <a:avLst/>
            </a:prstTxWarp>
            <a:noAutofit/>
          </a:bodyPr>
          <a:lstStyle/>
          <a:p>
            <a:pPr marL="0" marR="0" lvl="0" indent="0" algn="ctr" defTabSz="635759"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a:ln>
                  <a:noFill/>
                </a:ln>
                <a:solidFill>
                  <a:srgbClr val="7030A0"/>
                </a:solidFill>
                <a:effectLst/>
                <a:uLnTx/>
                <a:uFillTx/>
                <a:latin typeface="Segoe UI" panose="020B0502040204020203" pitchFamily="34" charset="0"/>
                <a:ea typeface="+mn-ea"/>
                <a:cs typeface="+mn-cs"/>
              </a:rPr>
              <a:t>M365 Copilot Extensibility CoE</a:t>
            </a:r>
          </a:p>
          <a:p>
            <a:pPr marL="0" marR="0" lvl="0" indent="0" algn="l" defTabSz="635759" rtl="0" eaLnBrk="1" fontAlgn="base" latinLnBrk="0" hangingPunct="1">
              <a:lnSpc>
                <a:spcPct val="100000"/>
              </a:lnSpc>
              <a:spcBef>
                <a:spcPct val="0"/>
              </a:spcBef>
              <a:spcAft>
                <a:spcPct val="0"/>
              </a:spcAft>
              <a:buClrTx/>
              <a:buSzTx/>
              <a:buFontTx/>
              <a:buNone/>
              <a:tabLst/>
              <a:defRPr/>
            </a:pPr>
            <a:endParaRPr kumimoji="0" lang="en-CA" sz="1200"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Set up right </a:t>
            </a:r>
            <a:r>
              <a:rPr kumimoji="0" lang="en-US" sz="1200" b="1" i="1" u="none" strike="noStrike" kern="1200" cap="none" spc="0" normalizeH="0" baseline="0" noProof="0">
                <a:ln>
                  <a:noFill/>
                </a:ln>
                <a:solidFill>
                  <a:srgbClr val="7030A0"/>
                </a:solidFill>
                <a:effectLst/>
                <a:uLnTx/>
                <a:uFillTx/>
                <a:latin typeface="Segoe UI" panose="020B0502040204020203" pitchFamily="34" charset="0"/>
                <a:ea typeface="+mn-ea"/>
                <a:cs typeface="+mn-cs"/>
              </a:rPr>
              <a:t>governance controls</a:t>
            </a:r>
            <a:r>
              <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 to manage agents </a:t>
            </a: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Unlock </a:t>
            </a:r>
            <a:r>
              <a:rPr kumimoji="0" lang="en-US" sz="1200" b="1" i="1" u="none" strike="noStrike" kern="1200" cap="none" spc="0" normalizeH="0" baseline="0" noProof="0">
                <a:ln>
                  <a:noFill/>
                </a:ln>
                <a:solidFill>
                  <a:srgbClr val="7030A0"/>
                </a:solidFill>
                <a:effectLst/>
                <a:uLnTx/>
                <a:uFillTx/>
                <a:latin typeface="Segoe UI" panose="020B0502040204020203" pitchFamily="34" charset="0"/>
                <a:ea typeface="+mn-ea"/>
                <a:cs typeface="+mn-cs"/>
              </a:rPr>
              <a:t>value of Copilot and agent </a:t>
            </a:r>
            <a:r>
              <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by access to quick start agents</a:t>
            </a: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r>
              <a:rPr kumimoji="0" lang="en-US" sz="1200" b="0" i="0" u="none" strike="noStrike" kern="1200" cap="none" spc="0" normalizeH="0" baseline="0" noProof="0">
                <a:ln>
                  <a:noFill/>
                </a:ln>
                <a:solidFill>
                  <a:srgbClr val="161616"/>
                </a:solidFill>
                <a:effectLst/>
                <a:uLnTx/>
                <a:uFillTx/>
                <a:latin typeface="Segoe UI" panose="020B0502040204020203" pitchFamily="34" charset="0"/>
                <a:ea typeface="+mn-ea"/>
                <a:cs typeface="+mn-cs"/>
              </a:rPr>
              <a:t>Track and grow </a:t>
            </a:r>
            <a:r>
              <a:rPr kumimoji="0" lang="en-US" sz="1200" b="1" i="1" u="none" strike="noStrike" kern="1200" cap="none" spc="0" normalizeH="0" baseline="0" noProof="0">
                <a:ln>
                  <a:noFill/>
                </a:ln>
                <a:solidFill>
                  <a:srgbClr val="7030A0"/>
                </a:solidFill>
                <a:effectLst/>
                <a:uLnTx/>
                <a:uFillTx/>
                <a:latin typeface="Segoe UI" panose="020B0502040204020203" pitchFamily="34" charset="0"/>
                <a:ea typeface="+mn-ea"/>
                <a:cs typeface="+mn-cs"/>
              </a:rPr>
              <a:t>org wide AI Agents</a:t>
            </a: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1400"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194824" marR="0" lvl="0" indent="-194824" algn="l" defTabSz="635759" rtl="0" eaLnBrk="1" fontAlgn="base" latinLnBrk="0" hangingPunct="1">
              <a:lnSpc>
                <a:spcPct val="100000"/>
              </a:lnSpc>
              <a:spcBef>
                <a:spcPct val="0"/>
              </a:spcBef>
              <a:spcAft>
                <a:spcPct val="0"/>
              </a:spcAft>
              <a:buClrTx/>
              <a:buSzTx/>
              <a:buFont typeface="Wingdings" panose="05000000000000000000" pitchFamily="2" charset="2"/>
              <a:buChar char="ü"/>
              <a:tabLst/>
              <a:defRPr/>
            </a:pPr>
            <a:endParaRPr kumimoji="0" lang="en-US" sz="955"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a:p>
            <a:pPr marL="0" marR="0" lvl="0" indent="0" algn="l" defTabSz="635759" rtl="0" eaLnBrk="1" fontAlgn="base" latinLnBrk="0" hangingPunct="1">
              <a:lnSpc>
                <a:spcPct val="100000"/>
              </a:lnSpc>
              <a:spcBef>
                <a:spcPct val="0"/>
              </a:spcBef>
              <a:spcAft>
                <a:spcPct val="0"/>
              </a:spcAft>
              <a:buClrTx/>
              <a:buSzTx/>
              <a:buFontTx/>
              <a:buNone/>
              <a:tabLst/>
              <a:defRPr/>
            </a:pPr>
            <a:endParaRPr kumimoji="0" lang="en-CA" sz="955" b="0" i="0" u="none" strike="noStrike" kern="1200" cap="none" spc="0" normalizeH="0" baseline="0" noProof="0">
              <a:ln>
                <a:noFill/>
              </a:ln>
              <a:solidFill>
                <a:srgbClr val="242424"/>
              </a:solidFill>
              <a:effectLst/>
              <a:uLnTx/>
              <a:uFillTx/>
              <a:latin typeface="Segoe UI" panose="020B0502040204020203" pitchFamily="34" charset="0"/>
              <a:ea typeface="+mn-ea"/>
              <a:cs typeface="+mn-cs"/>
            </a:endParaRPr>
          </a:p>
          <a:p>
            <a:pPr marL="0" marR="0" lvl="0" indent="0" algn="l" defTabSz="635759" rtl="0" eaLnBrk="1" fontAlgn="base" latinLnBrk="0" hangingPunct="1">
              <a:lnSpc>
                <a:spcPct val="100000"/>
              </a:lnSpc>
              <a:spcBef>
                <a:spcPct val="0"/>
              </a:spcBef>
              <a:spcAft>
                <a:spcPct val="0"/>
              </a:spcAft>
              <a:buClrTx/>
              <a:buSzTx/>
              <a:buFontTx/>
              <a:buNone/>
              <a:tabLst/>
              <a:defRPr/>
            </a:pPr>
            <a:endParaRPr kumimoji="0" lang="en-US" sz="1227" b="0" i="0" u="none" strike="noStrike" kern="1200" cap="none" spc="0" normalizeH="0" baseline="0" noProof="0">
              <a:ln>
                <a:noFill/>
              </a:ln>
              <a:solidFill>
                <a:srgbClr val="161616"/>
              </a:solidFill>
              <a:effectLst/>
              <a:uLnTx/>
              <a:uFillTx/>
              <a:latin typeface="Segoe UI" panose="020B0502040204020203" pitchFamily="34" charset="0"/>
              <a:ea typeface="+mn-ea"/>
              <a:cs typeface="+mn-cs"/>
            </a:endParaRPr>
          </a:p>
        </p:txBody>
      </p:sp>
      <p:sp>
        <p:nvSpPr>
          <p:cNvPr id="20" name="TextBox 19">
            <a:extLst>
              <a:ext uri="{FF2B5EF4-FFF2-40B4-BE49-F238E27FC236}">
                <a16:creationId xmlns:a16="http://schemas.microsoft.com/office/drawing/2014/main" id="{ED2E378C-2617-A866-342D-43F7D9F9A7CF}"/>
              </a:ext>
            </a:extLst>
          </p:cNvPr>
          <p:cNvSpPr txBox="1"/>
          <p:nvPr/>
        </p:nvSpPr>
        <p:spPr>
          <a:xfrm>
            <a:off x="417801" y="5989208"/>
            <a:ext cx="1158944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030A0"/>
                </a:solidFill>
                <a:effectLst/>
                <a:uLnTx/>
                <a:uFillTx/>
                <a:latin typeface="Segoe UI" panose="020B0502040204020203" pitchFamily="34" charset="0"/>
                <a:ea typeface="+mn-ea"/>
                <a:cs typeface="+mn-cs"/>
              </a:rPr>
              <a:t>CALL TO ACTION</a:t>
            </a:r>
            <a:r>
              <a:rPr kumimoji="0" lang="en-US"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rPr>
              <a:t>: Please reach out to your Microsoft representatives to schedule 1-Day Offering on Agent Governance CoE.</a:t>
            </a:r>
            <a:endParaRPr kumimoji="0" lang="en-CA" sz="1600" b="0" i="0" u="none" strike="noStrike" kern="1200" cap="none" spc="0" normalizeH="0" baseline="0" noProof="0">
              <a:ln>
                <a:noFill/>
              </a:ln>
              <a:solidFill>
                <a:srgbClr val="7030A0"/>
              </a:solidFill>
              <a:effectLst/>
              <a:uLnTx/>
              <a:uFillTx/>
              <a:latin typeface="Segoe UI" panose="020B0502040204020203" pitchFamily="34" charset="0"/>
              <a:ea typeface="+mn-ea"/>
              <a:cs typeface="+mn-cs"/>
            </a:endParaRPr>
          </a:p>
        </p:txBody>
      </p:sp>
      <p:cxnSp>
        <p:nvCxnSpPr>
          <p:cNvPr id="22" name="Straight Connector 21">
            <a:extLst>
              <a:ext uri="{FF2B5EF4-FFF2-40B4-BE49-F238E27FC236}">
                <a16:creationId xmlns:a16="http://schemas.microsoft.com/office/drawing/2014/main" id="{25C72B19-3AAF-C98E-90C5-F0E1756388DD}"/>
              </a:ext>
            </a:extLst>
          </p:cNvPr>
          <p:cNvCxnSpPr>
            <a:cxnSpLocks/>
          </p:cNvCxnSpPr>
          <p:nvPr/>
        </p:nvCxnSpPr>
        <p:spPr>
          <a:xfrm>
            <a:off x="6414151" y="1181034"/>
            <a:ext cx="0" cy="4432868"/>
          </a:xfrm>
          <a:prstGeom prst="line">
            <a:avLst/>
          </a:prstGeom>
          <a:ln w="6350" cap="flat" cmpd="sng" algn="ctr">
            <a:solidFill>
              <a:srgbClr val="7030A0"/>
            </a:solidFill>
            <a:prstDash val="dash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Rectangle: Rounded Corners 24">
            <a:extLst>
              <a:ext uri="{FF2B5EF4-FFF2-40B4-BE49-F238E27FC236}">
                <a16:creationId xmlns:a16="http://schemas.microsoft.com/office/drawing/2014/main" id="{210FA821-8B77-5355-8961-C66722FC9CBE}"/>
              </a:ext>
            </a:extLst>
          </p:cNvPr>
          <p:cNvSpPr/>
          <p:nvPr/>
        </p:nvSpPr>
        <p:spPr>
          <a:xfrm>
            <a:off x="7530570" y="1181034"/>
            <a:ext cx="3558449" cy="441010"/>
          </a:xfrm>
          <a:prstGeom prst="roundRect">
            <a:avLst/>
          </a:prstGeom>
          <a:gradFill flip="none" rotWithShape="1">
            <a:gsLst>
              <a:gs pos="25287">
                <a:srgbClr val="8661C5"/>
              </a:gs>
              <a:gs pos="43000">
                <a:srgbClr val="8661C5"/>
              </a:gs>
              <a:gs pos="80000">
                <a:srgbClr val="0070C0"/>
              </a:gs>
            </a:gsLst>
            <a:path path="circle">
              <a:fillToRect l="100000" t="100000"/>
            </a:path>
            <a:tileRect r="-100000" b="-100000"/>
          </a:gradFill>
          <a:ln w="63897" cap="flat">
            <a:noFill/>
            <a:prstDash val="solid"/>
            <a:miter/>
          </a:ln>
          <a:effectLst>
            <a:outerShdw blurRad="63500" dist="63500" dir="2700000" algn="tl" rotWithShape="0">
              <a:srgbClr val="454142">
                <a:alpha val="2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FFFFFF"/>
                </a:solidFill>
                <a:effectLst/>
                <a:uLnTx/>
                <a:uFillTx/>
                <a:latin typeface="Segoe UI" panose="020B0502040204020203" pitchFamily="34" charset="0"/>
                <a:ea typeface="+mn-ea"/>
                <a:cs typeface="+mn-cs"/>
              </a:rPr>
              <a:t>Core Pillars &amp; Assets</a:t>
            </a:r>
          </a:p>
        </p:txBody>
      </p:sp>
      <p:sp>
        <p:nvSpPr>
          <p:cNvPr id="26" name="Rectangle: Rounded Corners 25">
            <a:extLst>
              <a:ext uri="{FF2B5EF4-FFF2-40B4-BE49-F238E27FC236}">
                <a16:creationId xmlns:a16="http://schemas.microsoft.com/office/drawing/2014/main" id="{D7DCA53F-79FE-60AD-28A3-40187820CF10}"/>
              </a:ext>
            </a:extLst>
          </p:cNvPr>
          <p:cNvSpPr/>
          <p:nvPr/>
        </p:nvSpPr>
        <p:spPr bwMode="auto">
          <a:xfrm>
            <a:off x="6487815" y="1756630"/>
            <a:ext cx="5451648" cy="3847842"/>
          </a:xfrm>
          <a:prstGeom prst="roundRect">
            <a:avLst/>
          </a:prstGeom>
          <a:ln>
            <a:solidFill>
              <a:srgbClr val="7030A0"/>
            </a:solidFill>
            <a:headEnd type="none" w="med" len="med"/>
            <a:tailEnd type="none" w="med" len="med"/>
          </a:ln>
          <a:effectLst>
            <a:softEdge rad="12700"/>
          </a:effectLst>
          <a:scene3d>
            <a:camera prst="orthographicFront"/>
            <a:lightRig rig="threePt" dir="t"/>
          </a:scene3d>
          <a:sp3d>
            <a:bevelT prst="angle"/>
          </a:sp3d>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CA"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33E6E2D5-F36D-128D-7986-9B1E6C26CCDA}"/>
              </a:ext>
            </a:extLst>
          </p:cNvPr>
          <p:cNvSpPr/>
          <p:nvPr/>
        </p:nvSpPr>
        <p:spPr bwMode="auto">
          <a:xfrm>
            <a:off x="8448388" y="2559395"/>
            <a:ext cx="1602842" cy="370052"/>
          </a:xfrm>
          <a:prstGeom prst="roundRect">
            <a:avLst/>
          </a:prstGeom>
          <a:gradFill>
            <a:gsLst>
              <a:gs pos="25287">
                <a:srgbClr val="8661C5"/>
              </a:gs>
              <a:gs pos="43000">
                <a:srgbClr val="8661C5"/>
              </a:gs>
              <a:gs pos="80000">
                <a:srgbClr val="0070C0"/>
              </a:gs>
            </a:gsLst>
            <a:path path="circle">
              <a:fillToRect l="100000" t="100000"/>
            </a:path>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a:ln>
                  <a:noFill/>
                </a:ln>
                <a:solidFill>
                  <a:srgbClr val="FFFFFF"/>
                </a:solidFill>
                <a:effectLst/>
                <a:uLnTx/>
                <a:uFillTx/>
                <a:latin typeface="Segoe UI"/>
                <a:ea typeface="+mn-ea"/>
                <a:cs typeface="Segoe UI" pitchFamily="34" charset="0"/>
              </a:rPr>
              <a:t>Admin &amp; Govern</a:t>
            </a:r>
          </a:p>
        </p:txBody>
      </p:sp>
      <p:sp>
        <p:nvSpPr>
          <p:cNvPr id="28" name="Rectangle: Rounded Corners 27">
            <a:extLst>
              <a:ext uri="{FF2B5EF4-FFF2-40B4-BE49-F238E27FC236}">
                <a16:creationId xmlns:a16="http://schemas.microsoft.com/office/drawing/2014/main" id="{F0AF0EA2-0332-093A-68B5-7FF5ED59BF48}"/>
              </a:ext>
            </a:extLst>
          </p:cNvPr>
          <p:cNvSpPr/>
          <p:nvPr/>
        </p:nvSpPr>
        <p:spPr bwMode="auto">
          <a:xfrm>
            <a:off x="6687540" y="2565308"/>
            <a:ext cx="1522214" cy="370052"/>
          </a:xfrm>
          <a:prstGeom prst="roundRect">
            <a:avLst/>
          </a:prstGeom>
          <a:gradFill>
            <a:gsLst>
              <a:gs pos="25287">
                <a:srgbClr val="8661C5"/>
              </a:gs>
              <a:gs pos="43000">
                <a:srgbClr val="8661C5"/>
              </a:gs>
              <a:gs pos="80000">
                <a:srgbClr val="0070C0"/>
              </a:gs>
            </a:gsLst>
            <a:path path="circle">
              <a:fillToRect l="100000" t="100000"/>
            </a:path>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a:ln>
                  <a:noFill/>
                </a:ln>
                <a:solidFill>
                  <a:srgbClr val="FFFFFF"/>
                </a:solidFill>
                <a:effectLst/>
                <a:uLnTx/>
                <a:uFillTx/>
                <a:latin typeface="Segoe UI"/>
                <a:ea typeface="+mn-ea"/>
                <a:cs typeface="Segoe UI"/>
              </a:rPr>
              <a:t>Vision &amp; Strategy</a:t>
            </a:r>
            <a:endParaRPr kumimoji="0" lang="en-CA" sz="12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9" name="Rectangle: Rounded Corners 28">
            <a:extLst>
              <a:ext uri="{FF2B5EF4-FFF2-40B4-BE49-F238E27FC236}">
                <a16:creationId xmlns:a16="http://schemas.microsoft.com/office/drawing/2014/main" id="{1FFE089F-A0EE-1C70-5141-13CC62AA1F14}"/>
              </a:ext>
            </a:extLst>
          </p:cNvPr>
          <p:cNvSpPr/>
          <p:nvPr/>
        </p:nvSpPr>
        <p:spPr>
          <a:xfrm>
            <a:off x="6632233" y="3124041"/>
            <a:ext cx="1634000" cy="2222559"/>
          </a:xfrm>
          <a:prstGeom prst="roundRect">
            <a:avLst/>
          </a:prstGeom>
          <a:ln>
            <a:solidFill>
              <a:srgbClr val="7030A0"/>
            </a:solidFill>
          </a:ln>
        </p:spPr>
        <p:style>
          <a:lnRef idx="2">
            <a:schemeClr val="accent2"/>
          </a:lnRef>
          <a:fillRef idx="1">
            <a:schemeClr val="lt1"/>
          </a:fillRef>
          <a:effectRef idx="0">
            <a:schemeClr val="accent2"/>
          </a:effectRef>
          <a:fontRef idx="minor">
            <a:schemeClr val="dk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hlinkClick r:id="rId3"/>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mn-cs"/>
              </a:rPr>
              <a:t>COE 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mn-cs"/>
              </a:rPr>
              <a:t>Agent fundamental &amp; Extensibility Guidance  </a:t>
            </a: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a:ln>
                <a:noFill/>
              </a:ln>
              <a:solidFill>
                <a:srgbClr val="000000"/>
              </a:solidFill>
              <a:effectLst/>
              <a:uLnTx/>
              <a:uFillTx/>
              <a:latin typeface="Segoe UI"/>
              <a:ea typeface="+mn-ea"/>
              <a:cs typeface="+mn-cs"/>
            </a:endParaRPr>
          </a:p>
        </p:txBody>
      </p:sp>
      <p:sp>
        <p:nvSpPr>
          <p:cNvPr id="30" name="Rectangle: Rounded Corners 29">
            <a:extLst>
              <a:ext uri="{FF2B5EF4-FFF2-40B4-BE49-F238E27FC236}">
                <a16:creationId xmlns:a16="http://schemas.microsoft.com/office/drawing/2014/main" id="{0B7806EF-5CDA-234D-D70D-D882878E47C9}"/>
              </a:ext>
            </a:extLst>
          </p:cNvPr>
          <p:cNvSpPr/>
          <p:nvPr/>
        </p:nvSpPr>
        <p:spPr>
          <a:xfrm>
            <a:off x="8407527" y="3115394"/>
            <a:ext cx="1683143" cy="2239852"/>
          </a:xfrm>
          <a:prstGeom prst="roundRect">
            <a:avLst/>
          </a:prstGeom>
          <a:ln>
            <a:solidFill>
              <a:srgbClr val="7030A0"/>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mn-cs"/>
              </a:rPr>
              <a:t>Agents Admin &amp; Governance Guid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mn-cs"/>
              </a:rPr>
              <a:t>Graph Connector Admin &amp; Governance Guid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endParaRPr>
          </a:p>
        </p:txBody>
      </p:sp>
      <p:sp>
        <p:nvSpPr>
          <p:cNvPr id="31" name="Rectangle: Rounded Corners 30">
            <a:extLst>
              <a:ext uri="{FF2B5EF4-FFF2-40B4-BE49-F238E27FC236}">
                <a16:creationId xmlns:a16="http://schemas.microsoft.com/office/drawing/2014/main" id="{03E211F6-00CE-A856-0287-D556EEDA581F}"/>
              </a:ext>
            </a:extLst>
          </p:cNvPr>
          <p:cNvSpPr/>
          <p:nvPr/>
        </p:nvSpPr>
        <p:spPr bwMode="auto">
          <a:xfrm>
            <a:off x="10193926" y="2548801"/>
            <a:ext cx="1602841" cy="370052"/>
          </a:xfrm>
          <a:prstGeom prst="roundRect">
            <a:avLst/>
          </a:prstGeom>
          <a:gradFill>
            <a:gsLst>
              <a:gs pos="25287">
                <a:srgbClr val="8661C5"/>
              </a:gs>
              <a:gs pos="43000">
                <a:srgbClr val="8661C5"/>
              </a:gs>
              <a:gs pos="80000">
                <a:srgbClr val="0070C0"/>
              </a:gs>
            </a:gsLst>
            <a:path path="circle">
              <a:fillToRect l="100000" t="100000"/>
            </a:path>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a:ln>
                  <a:noFill/>
                </a:ln>
                <a:solidFill>
                  <a:srgbClr val="FFFFFF"/>
                </a:solidFill>
                <a:effectLst/>
                <a:uLnTx/>
                <a:uFillTx/>
                <a:latin typeface="Segoe UI"/>
                <a:ea typeface="+mn-ea"/>
                <a:cs typeface="Segoe UI"/>
              </a:rPr>
              <a:t>Nurture and Support</a:t>
            </a:r>
            <a:endParaRPr kumimoji="0" lang="en-CA" sz="12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2" name="Rectangle: Rounded Corners 31">
            <a:extLst>
              <a:ext uri="{FF2B5EF4-FFF2-40B4-BE49-F238E27FC236}">
                <a16:creationId xmlns:a16="http://schemas.microsoft.com/office/drawing/2014/main" id="{3F8AD105-B0E7-ED58-2AF9-67394A64A910}"/>
              </a:ext>
            </a:extLst>
          </p:cNvPr>
          <p:cNvSpPr/>
          <p:nvPr/>
        </p:nvSpPr>
        <p:spPr>
          <a:xfrm>
            <a:off x="10220458" y="3086124"/>
            <a:ext cx="1602841" cy="2219739"/>
          </a:xfrm>
          <a:prstGeom prst="roundRect">
            <a:avLst/>
          </a:prstGeom>
          <a:ln>
            <a:solidFill>
              <a:srgbClr val="7030A0"/>
            </a:solidFill>
          </a:ln>
        </p:spPr>
        <p:style>
          <a:lnRef idx="2">
            <a:schemeClr val="accent2"/>
          </a:lnRef>
          <a:fillRef idx="1">
            <a:schemeClr val="lt1"/>
          </a:fillRef>
          <a:effectRef idx="0">
            <a:schemeClr val="accent2"/>
          </a:effectRef>
          <a:fontRef idx="minor">
            <a:schemeClr val="dk1"/>
          </a:fontRef>
        </p:style>
        <p:txBody>
          <a:bodyPr lIns="91440" tIns="45720" rIns="91440" bIns="45720"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hlinkClick r:id="rId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mn-cs"/>
              </a:rPr>
              <a:t>Agent Starter Ki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300" b="0" i="0" u="none" strike="noStrike" kern="1200" cap="none" spc="0" normalizeH="0" baseline="0" noProof="0">
                <a:ln>
                  <a:noFill/>
                </a:ln>
                <a:solidFill>
                  <a:srgbClr val="000000"/>
                </a:solidFill>
                <a:effectLst/>
                <a:uLnTx/>
                <a:uFillTx/>
                <a:latin typeface="Segoe UI"/>
                <a:ea typeface="+mn-ea"/>
                <a:cs typeface="Segoe UI"/>
              </a:rPr>
              <a:t>Agent Hackath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300" b="0" i="0" u="none" strike="noStrike" kern="1200" cap="none" spc="0" normalizeH="0" baseline="0" noProof="0">
              <a:ln>
                <a:noFill/>
              </a:ln>
              <a:solidFill>
                <a:srgbClr val="000000"/>
              </a:solidFill>
              <a:effectLst/>
              <a:uLnTx/>
              <a:uFillTx/>
              <a:latin typeface="Segoe UI"/>
              <a:ea typeface="+mn-ea"/>
              <a:cs typeface="Segoe UI"/>
            </a:endParaRPr>
          </a:p>
        </p:txBody>
      </p:sp>
      <p:sp>
        <p:nvSpPr>
          <p:cNvPr id="33" name="TextBox 32">
            <a:extLst>
              <a:ext uri="{FF2B5EF4-FFF2-40B4-BE49-F238E27FC236}">
                <a16:creationId xmlns:a16="http://schemas.microsoft.com/office/drawing/2014/main" id="{229A1DFD-E993-5497-5C11-545E89B6077A}"/>
              </a:ext>
            </a:extLst>
          </p:cNvPr>
          <p:cNvSpPr txBox="1"/>
          <p:nvPr/>
        </p:nvSpPr>
        <p:spPr>
          <a:xfrm>
            <a:off x="6803035" y="2056999"/>
            <a:ext cx="661547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Guidance for  AI Leads, Architects, Automation/ Innovation Lea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a:ln>
                  <a:noFill/>
                </a:ln>
                <a:solidFill>
                  <a:srgbClr val="000000"/>
                </a:solidFill>
                <a:effectLst/>
                <a:uLnTx/>
                <a:uFillTx/>
                <a:latin typeface="Segoe UI"/>
                <a:ea typeface="+mn-ea"/>
                <a:cs typeface="+mn-cs"/>
              </a:rPr>
              <a:t> Cloud Admin , IT Team </a:t>
            </a:r>
          </a:p>
        </p:txBody>
      </p:sp>
    </p:spTree>
    <p:extLst>
      <p:ext uri="{BB962C8B-B14F-4D97-AF65-F5344CB8AC3E}">
        <p14:creationId xmlns:p14="http://schemas.microsoft.com/office/powerpoint/2010/main" val="25761023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background">
            <a:extLst>
              <a:ext uri="{FF2B5EF4-FFF2-40B4-BE49-F238E27FC236}">
                <a16:creationId xmlns:a16="http://schemas.microsoft.com/office/drawing/2014/main" id="{D7A3EB8C-C95B-94B4-503B-B4C497C0BC26}"/>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sp>
          <p:nvSpPr>
            <p:cNvPr id="15" name="Rectangle 14" descr="Light Pattern: Square dots">
              <a:extLst>
                <a:ext uri="{FF2B5EF4-FFF2-40B4-BE49-F238E27FC236}">
                  <a16:creationId xmlns:a16="http://schemas.microsoft.com/office/drawing/2014/main" id="{7785EEEB-1258-C83A-87FF-924E1DE372DE}"/>
                </a:ext>
              </a:extLst>
            </p:cNvPr>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 name="Rectangle: Rounded Corners 24" descr="Light: small container">
              <a:extLst>
                <a:ext uri="{FF2B5EF4-FFF2-40B4-BE49-F238E27FC236}">
                  <a16:creationId xmlns:a16="http://schemas.microsoft.com/office/drawing/2014/main" id="{3D756178-700A-D4DE-8986-56F24A10E899}"/>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7" name="Title 1">
            <a:extLst>
              <a:ext uri="{FF2B5EF4-FFF2-40B4-BE49-F238E27FC236}">
                <a16:creationId xmlns:a16="http://schemas.microsoft.com/office/drawing/2014/main" id="{46EBA25F-286F-2AE8-252A-23550D63E15B}"/>
              </a:ext>
            </a:extLst>
          </p:cNvPr>
          <p:cNvSpPr txBox="1">
            <a:spLocks/>
          </p:cNvSpPr>
          <p:nvPr/>
        </p:nvSpPr>
        <p:spPr>
          <a:xfrm>
            <a:off x="567055" y="2425653"/>
            <a:ext cx="4824095"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8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rgbClr val="000000"/>
                </a:solidFill>
                <a:effectLst/>
                <a:uLnTx/>
                <a:uFillTx/>
                <a:latin typeface="Segoe UI Semibold"/>
                <a:ea typeface="+mn-ea"/>
                <a:cs typeface="Segoe UI"/>
              </a:rPr>
              <a:t>Call to Action</a:t>
            </a:r>
          </a:p>
        </p:txBody>
      </p:sp>
      <p:pic>
        <p:nvPicPr>
          <p:cNvPr id="18" name="MS logo gray - EMF" descr="The Microsoft 365 logo: a square divided into four colorful quarters, red, blue, yellow, and green, with gray text on the right which reads Microsoft 365">
            <a:extLst>
              <a:ext uri="{FF2B5EF4-FFF2-40B4-BE49-F238E27FC236}">
                <a16:creationId xmlns:a16="http://schemas.microsoft.com/office/drawing/2014/main" id="{F5CC97FF-0CC4-EEA0-38C9-607C8C59E3F3}"/>
              </a:ext>
            </a:extLst>
          </p:cNvPr>
          <p:cNvPicPr>
            <a:picLocks noChangeAspect="1"/>
          </p:cNvPicPr>
          <p:nvPr/>
        </p:nvPicPr>
        <p:blipFill rotWithShape="1">
          <a:blip r:embed="rId5"/>
          <a:srcRect l="11451" t="32475" r="10216" b="33708"/>
          <a:stretch/>
        </p:blipFill>
        <p:spPr bwMode="black">
          <a:xfrm>
            <a:off x="567055" y="581977"/>
            <a:ext cx="1854200" cy="294217"/>
          </a:xfrm>
          <a:prstGeom prst="rect">
            <a:avLst/>
          </a:prstGeom>
        </p:spPr>
      </p:pic>
      <p:sp>
        <p:nvSpPr>
          <p:cNvPr id="6" name="Rectangle: Top Corners Rounded 5">
            <a:extLst>
              <a:ext uri="{FF2B5EF4-FFF2-40B4-BE49-F238E27FC236}">
                <a16:creationId xmlns:a16="http://schemas.microsoft.com/office/drawing/2014/main" id="{734CB9F7-F679-545D-F5E8-D9EB7D993A39}"/>
              </a:ext>
              <a:ext uri="{C183D7F6-B498-43B3-948B-1728B52AA6E4}">
                <adec:decorative xmlns:adec="http://schemas.microsoft.com/office/drawing/2017/decorative" val="1"/>
              </a:ext>
            </a:extLst>
          </p:cNvPr>
          <p:cNvSpPr/>
          <p:nvPr/>
        </p:nvSpPr>
        <p:spPr bwMode="auto">
          <a:xfrm rot="10800000">
            <a:off x="6689272" y="-1"/>
            <a:ext cx="5488214" cy="5893961"/>
          </a:xfrm>
          <a:prstGeom prst="round2SameRect">
            <a:avLst>
              <a:gd name="adj1" fmla="val 50000"/>
              <a:gd name="adj2" fmla="val 0"/>
            </a:avLst>
          </a:prstGeom>
          <a:gradFill flip="none" rotWithShape="1">
            <a:gsLst>
              <a:gs pos="0">
                <a:schemeClr val="bg1"/>
              </a:gs>
              <a:gs pos="100000">
                <a:schemeClr val="bg1">
                  <a:alpha val="0"/>
                </a:schemeClr>
              </a:gs>
            </a:gsLst>
            <a:lin ang="5400000" scaled="1"/>
            <a:tileRect/>
          </a:gradFill>
          <a:ln w="6350">
            <a:noFill/>
            <a:headEnd type="none" w="med" len="med"/>
            <a:tailEnd type="none" w="med" len="med"/>
          </a:ln>
          <a:effectLst>
            <a:outerShdw blurRad="508000" algn="ctr" rotWithShape="0">
              <a:schemeClr val="bg1">
                <a:lumMod val="85000"/>
                <a:alpha val="2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sp>
        <p:nvSpPr>
          <p:cNvPr id="19" name="Text Placeholder 2">
            <a:extLst>
              <a:ext uri="{FF2B5EF4-FFF2-40B4-BE49-F238E27FC236}">
                <a16:creationId xmlns:a16="http://schemas.microsoft.com/office/drawing/2014/main" id="{5260BAF1-5F49-8703-CEF9-493402A1D603}"/>
              </a:ext>
            </a:extLst>
          </p:cNvPr>
          <p:cNvSpPr txBox="1">
            <a:spLocks/>
          </p:cNvSpPr>
          <p:nvPr/>
        </p:nvSpPr>
        <p:spPr>
          <a:xfrm>
            <a:off x="567055" y="3537002"/>
            <a:ext cx="3886201" cy="861774"/>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0" i="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b="0" i="0" kern="1200" spc="0" baseline="0">
                <a:solidFill>
                  <a:schemeClr val="tx1"/>
                </a:solidFill>
                <a:latin typeface="+mn-lt"/>
                <a:ea typeface="+mn-ea"/>
                <a:cs typeface="Segoe UI" panose="020B0502040204020203" pitchFamily="34"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mn-lt"/>
                <a:ea typeface="+mn-ea"/>
                <a:cs typeface="Segoe UI" panose="020B0502040204020203" pitchFamily="34"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Modern Work</a:t>
            </a:r>
            <a:br>
              <a:rPr kumimoji="0" lang="en-US" sz="3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32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ustomer Hub</a:t>
            </a:r>
          </a:p>
        </p:txBody>
      </p:sp>
      <p:pic>
        <p:nvPicPr>
          <p:cNvPr id="4" name="Picture 3" descr="Two people are seated at a table in a meeting room, working on laptops.">
            <a:extLst>
              <a:ext uri="{FF2B5EF4-FFF2-40B4-BE49-F238E27FC236}">
                <a16:creationId xmlns:a16="http://schemas.microsoft.com/office/drawing/2014/main" id="{E72CA6D4-7DD5-81E4-CB6C-D788233AC62C}"/>
              </a:ext>
            </a:extLst>
          </p:cNvPr>
          <p:cNvPicPr>
            <a:picLocks/>
          </p:cNvPicPr>
          <p:nvPr/>
        </p:nvPicPr>
        <p:blipFill rotWithShape="1">
          <a:blip r:embed="rId6" cstate="screen">
            <a:extLst>
              <a:ext uri="{28A0092B-C50C-407E-A947-70E740481C1C}">
                <a14:useLocalDpi xmlns:a14="http://schemas.microsoft.com/office/drawing/2010/main"/>
              </a:ext>
            </a:extLst>
          </a:blip>
          <a:srcRect l="9087" t="13296" r="4903" b="13296"/>
          <a:stretch/>
        </p:blipFill>
        <p:spPr>
          <a:xfrm>
            <a:off x="5867402" y="762000"/>
            <a:ext cx="6324599" cy="5318762"/>
          </a:xfrm>
          <a:custGeom>
            <a:avLst/>
            <a:gdLst>
              <a:gd name="connsiteX0" fmla="*/ 257853 w 6324599"/>
              <a:gd name="connsiteY0" fmla="*/ 0 h 5318762"/>
              <a:gd name="connsiteX1" fmla="*/ 6324599 w 6324599"/>
              <a:gd name="connsiteY1" fmla="*/ 0 h 5318762"/>
              <a:gd name="connsiteX2" fmla="*/ 6324599 w 6324599"/>
              <a:gd name="connsiteY2" fmla="*/ 5318762 h 5318762"/>
              <a:gd name="connsiteX3" fmla="*/ 257853 w 6324599"/>
              <a:gd name="connsiteY3" fmla="*/ 5318762 h 5318762"/>
              <a:gd name="connsiteX4" fmla="*/ 0 w 6324599"/>
              <a:gd name="connsiteY4" fmla="*/ 5060908 h 5318762"/>
              <a:gd name="connsiteX5" fmla="*/ 0 w 6324599"/>
              <a:gd name="connsiteY5" fmla="*/ 257854 h 5318762"/>
              <a:gd name="connsiteX6" fmla="*/ 257853 w 6324599"/>
              <a:gd name="connsiteY6" fmla="*/ 0 h 531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4599" h="5318762">
                <a:moveTo>
                  <a:pt x="257853" y="0"/>
                </a:moveTo>
                <a:lnTo>
                  <a:pt x="6324599" y="0"/>
                </a:lnTo>
                <a:lnTo>
                  <a:pt x="6324599" y="5318762"/>
                </a:lnTo>
                <a:lnTo>
                  <a:pt x="257853" y="5318762"/>
                </a:lnTo>
                <a:cubicBezTo>
                  <a:pt x="115445" y="5318762"/>
                  <a:pt x="0" y="5203317"/>
                  <a:pt x="0" y="5060908"/>
                </a:cubicBezTo>
                <a:lnTo>
                  <a:pt x="0" y="257854"/>
                </a:lnTo>
                <a:cubicBezTo>
                  <a:pt x="0" y="115445"/>
                  <a:pt x="115445" y="0"/>
                  <a:pt x="257853" y="0"/>
                </a:cubicBezTo>
                <a:close/>
              </a:path>
            </a:pathLst>
          </a:custGeom>
        </p:spPr>
      </p:pic>
    </p:spTree>
    <p:extLst>
      <p:ext uri="{BB962C8B-B14F-4D97-AF65-F5344CB8AC3E}">
        <p14:creationId xmlns:p14="http://schemas.microsoft.com/office/powerpoint/2010/main" val="31010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500" fill="hold"/>
                                        <p:tgtEl>
                                          <p:spTgt spid="17"/>
                                        </p:tgtEl>
                                        <p:attrNameLst>
                                          <p:attrName>ppt_w</p:attrName>
                                        </p:attrNameLst>
                                      </p:cBhvr>
                                      <p:tavLst>
                                        <p:tav tm="0">
                                          <p:val>
                                            <p:fltVal val="0"/>
                                          </p:val>
                                        </p:tav>
                                        <p:tav tm="100000">
                                          <p:val>
                                            <p:strVal val="#ppt_w"/>
                                          </p:val>
                                        </p:tav>
                                      </p:tavLst>
                                    </p:anim>
                                    <p:anim calcmode="lin" valueType="num">
                                      <p:cBhvr>
                                        <p:cTn id="13" dur="500" fill="hold"/>
                                        <p:tgtEl>
                                          <p:spTgt spid="17"/>
                                        </p:tgtEl>
                                        <p:attrNameLst>
                                          <p:attrName>ppt_h</p:attrName>
                                        </p:attrNameLst>
                                      </p:cBhvr>
                                      <p:tavLst>
                                        <p:tav tm="0">
                                          <p:val>
                                            <p:fltVal val="0"/>
                                          </p:val>
                                        </p:tav>
                                        <p:tav tm="100000">
                                          <p:val>
                                            <p:strVal val="#ppt_h"/>
                                          </p:val>
                                        </p:tav>
                                      </p:tavLst>
                                    </p:anim>
                                    <p:animEffect transition="in" filter="fade">
                                      <p:cBhvr>
                                        <p:cTn id="14" dur="500"/>
                                        <p:tgtEl>
                                          <p:spTgt spid="1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p:cTn id="17" dur="500" fill="hold"/>
                                        <p:tgtEl>
                                          <p:spTgt spid="19"/>
                                        </p:tgtEl>
                                        <p:attrNameLst>
                                          <p:attrName>ppt_w</p:attrName>
                                        </p:attrNameLst>
                                      </p:cBhvr>
                                      <p:tavLst>
                                        <p:tav tm="0">
                                          <p:val>
                                            <p:fltVal val="0"/>
                                          </p:val>
                                        </p:tav>
                                        <p:tav tm="100000">
                                          <p:val>
                                            <p:strVal val="#ppt_w"/>
                                          </p:val>
                                        </p:tav>
                                      </p:tavLst>
                                    </p:anim>
                                    <p:anim calcmode="lin" valueType="num">
                                      <p:cBhvr>
                                        <p:cTn id="18" dur="500" fill="hold"/>
                                        <p:tgtEl>
                                          <p:spTgt spid="19"/>
                                        </p:tgtEl>
                                        <p:attrNameLst>
                                          <p:attrName>ppt_h</p:attrName>
                                        </p:attrNameLst>
                                      </p:cBhvr>
                                      <p:tavLst>
                                        <p:tav tm="0">
                                          <p:val>
                                            <p:fltVal val="0"/>
                                          </p:val>
                                        </p:tav>
                                        <p:tav tm="100000">
                                          <p:val>
                                            <p:strVal val="#ppt_h"/>
                                          </p:val>
                                        </p:tav>
                                      </p:tavLst>
                                    </p:anim>
                                    <p:animEffect transition="in" filter="fade">
                                      <p:cBhvr>
                                        <p:cTn id="19" dur="500"/>
                                        <p:tgtEl>
                                          <p:spTgt spid="19"/>
                                        </p:tgtEl>
                                      </p:cBhvr>
                                    </p:animEffect>
                                  </p:childTnLst>
                                </p:cTn>
                              </p:par>
                              <p:par>
                                <p:cTn id="20" presetID="22" presetClass="entr" presetSubtype="2"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right)">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1DB82297-B84B-3921-7E3A-5AADCDFFE9EC}"/>
              </a:ext>
              <a:ext uri="{C183D7F6-B498-43B3-948B-1728B52AA6E4}">
                <adec:decorative xmlns:adec="http://schemas.microsoft.com/office/drawing/2017/decorative" val="1"/>
              </a:ext>
            </a:extLst>
          </p:cNvPr>
          <p:cNvSpPr>
            <a:spLocks/>
          </p:cNvSpPr>
          <p:nvPr/>
        </p:nvSpPr>
        <p:spPr bwMode="auto">
          <a:xfrm>
            <a:off x="585787" y="1666723"/>
            <a:ext cx="4880948" cy="4597554"/>
          </a:xfrm>
          <a:prstGeom prst="roundRect">
            <a:avLst>
              <a:gd name="adj" fmla="val 5178"/>
            </a:avLst>
          </a:prstGeom>
          <a:noFill/>
          <a:ln w="12700">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 name="Rectangle: Rounded Corners 10">
            <a:extLst>
              <a:ext uri="{FF2B5EF4-FFF2-40B4-BE49-F238E27FC236}">
                <a16:creationId xmlns:a16="http://schemas.microsoft.com/office/drawing/2014/main" id="{5C8C6BC3-03F5-C8C5-435B-6CB8358B5A58}"/>
              </a:ext>
              <a:ext uri="{C183D7F6-B498-43B3-948B-1728B52AA6E4}">
                <adec:decorative xmlns:adec="http://schemas.microsoft.com/office/drawing/2017/decorative" val="1"/>
              </a:ext>
            </a:extLst>
          </p:cNvPr>
          <p:cNvSpPr/>
          <p:nvPr/>
        </p:nvSpPr>
        <p:spPr bwMode="auto">
          <a:xfrm>
            <a:off x="739344" y="1823725"/>
            <a:ext cx="4573834" cy="4283550"/>
          </a:xfrm>
          <a:prstGeom prst="roundRect">
            <a:avLst>
              <a:gd name="adj" fmla="val 3373"/>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74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w="3175">
                <a:noFill/>
              </a:ln>
              <a:gradFill flip="none" rotWithShape="1">
                <a:gsLst>
                  <a:gs pos="0">
                    <a:srgbClr val="FF5C39"/>
                  </a:gs>
                  <a:gs pos="25000">
                    <a:srgbClr val="F4364C"/>
                  </a:gs>
                  <a:gs pos="75000">
                    <a:srgbClr val="0078D4"/>
                  </a:gs>
                  <a:gs pos="50000">
                    <a:srgbClr val="C03BC4"/>
                  </a:gs>
                  <a:gs pos="100000">
                    <a:srgbClr val="14938C"/>
                  </a:gs>
                </a:gsLst>
                <a:lin ang="0" scaled="1"/>
                <a:tileRect/>
              </a:gra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3C731EEE-2D22-07F2-619E-143E50E121D7}"/>
              </a:ext>
            </a:extLst>
          </p:cNvPr>
          <p:cNvSpPr>
            <a:spLocks noGrp="1"/>
          </p:cNvSpPr>
          <p:nvPr>
            <p:ph type="title"/>
          </p:nvPr>
        </p:nvSpPr>
        <p:spPr>
          <a:xfrm>
            <a:off x="586740" y="457200"/>
            <a:ext cx="11018520" cy="492443"/>
          </a:xfrm>
        </p:spPr>
        <p:txBody>
          <a:bodyPr/>
          <a:lstStyle/>
          <a:p>
            <a:r>
              <a:rPr lang="en-US">
                <a:solidFill>
                  <a:schemeClr val="tx1"/>
                </a:solidFill>
              </a:rPr>
              <a:t>Your feedback is critical</a:t>
            </a:r>
          </a:p>
        </p:txBody>
      </p:sp>
      <p:sp>
        <p:nvSpPr>
          <p:cNvPr id="21" name="TextBox 20">
            <a:extLst>
              <a:ext uri="{FF2B5EF4-FFF2-40B4-BE49-F238E27FC236}">
                <a16:creationId xmlns:a16="http://schemas.microsoft.com/office/drawing/2014/main" id="{C1168CEF-C004-8EE5-BC13-AB8080F82BC4}"/>
              </a:ext>
            </a:extLst>
          </p:cNvPr>
          <p:cNvSpPr txBox="1"/>
          <p:nvPr/>
        </p:nvSpPr>
        <p:spPr>
          <a:xfrm>
            <a:off x="998743" y="3146093"/>
            <a:ext cx="4055037" cy="261610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We’re committed to making your </a:t>
            </a:r>
            <a:r>
              <a:rPr kumimoji="0" lang="en-US" sz="2000" b="0" i="0" u="none" strike="noStrike" kern="1200" cap="none" spc="0" normalizeH="0" baseline="0" noProof="0">
                <a:ln>
                  <a:noFill/>
                </a:ln>
                <a:solidFill>
                  <a:srgbClr val="000000"/>
                </a:solidFill>
                <a:effectLst/>
                <a:uLnTx/>
                <a:uFillTx/>
                <a:latin typeface="Segoe UI Semibold"/>
                <a:ea typeface="+mn-ea"/>
                <a:cs typeface="+mn-cs"/>
              </a:rPr>
              <a:t>Modern Work Customer Hub</a:t>
            </a:r>
            <a:r>
              <a:rPr kumimoji="0" lang="en-US" sz="2000" b="0" i="0" u="none" strike="noStrike" kern="1200" cap="none" spc="0" normalizeH="0" baseline="0" noProof="0">
                <a:ln>
                  <a:noFill/>
                </a:ln>
                <a:solidFill>
                  <a:srgbClr val="000000"/>
                </a:solidFill>
                <a:effectLst/>
                <a:uLnTx/>
                <a:uFillTx/>
                <a:latin typeface="Segoe UI"/>
                <a:ea typeface="+mn-ea"/>
                <a:cs typeface="+mn-cs"/>
              </a:rPr>
              <a:t> experience the best it can</a:t>
            </a:r>
            <a:br>
              <a:rPr kumimoji="0" lang="en-US" sz="2000" b="0" i="0" u="none" strike="noStrike" kern="1200" cap="none" spc="0" normalizeH="0" baseline="0" noProof="0">
                <a:ln>
                  <a:noFill/>
                </a:ln>
                <a:solidFill>
                  <a:srgbClr val="000000"/>
                </a:solidFill>
                <a:effectLst/>
                <a:uLnTx/>
                <a:uFillTx/>
                <a:latin typeface="Segoe UI"/>
                <a:ea typeface="+mn-ea"/>
                <a:cs typeface="+mn-cs"/>
              </a:rPr>
            </a:br>
            <a:r>
              <a:rPr kumimoji="0" lang="en-US" sz="2000" b="0" i="0" u="none" strike="noStrike" kern="1200" cap="none" spc="0" normalizeH="0" baseline="0" noProof="0">
                <a:ln>
                  <a:noFill/>
                </a:ln>
                <a:solidFill>
                  <a:srgbClr val="000000"/>
                </a:solidFill>
                <a:effectLst/>
                <a:uLnTx/>
                <a:uFillTx/>
                <a:latin typeface="Segoe UI"/>
                <a:ea typeface="+mn-ea"/>
                <a:cs typeface="+mn-cs"/>
              </a:rPr>
              <a:t>be – and your feedback is a critical component to that.</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Before you scoot, please take a moment to reply to provide some feedback.</a:t>
            </a:r>
          </a:p>
        </p:txBody>
      </p:sp>
      <p:sp>
        <p:nvSpPr>
          <p:cNvPr id="5" name="Rectangle: Rounded Corners 4">
            <a:extLst>
              <a:ext uri="{FF2B5EF4-FFF2-40B4-BE49-F238E27FC236}">
                <a16:creationId xmlns:a16="http://schemas.microsoft.com/office/drawing/2014/main" id="{BAEC1031-2188-9A3D-C701-4AD88BE88719}"/>
              </a:ext>
              <a:ext uri="{C183D7F6-B498-43B3-948B-1728B52AA6E4}">
                <adec:decorative xmlns:adec="http://schemas.microsoft.com/office/drawing/2017/decorative" val="1"/>
              </a:ext>
            </a:extLst>
          </p:cNvPr>
          <p:cNvSpPr>
            <a:spLocks/>
          </p:cNvSpPr>
          <p:nvPr/>
        </p:nvSpPr>
        <p:spPr bwMode="auto">
          <a:xfrm>
            <a:off x="5726134" y="1823725"/>
            <a:ext cx="5883254" cy="4283550"/>
          </a:xfrm>
          <a:prstGeom prst="roundRect">
            <a:avLst>
              <a:gd name="adj" fmla="val 5178"/>
            </a:avLst>
          </a:prstGeom>
          <a:gradFill flip="none" rotWithShape="1">
            <a:gsLst>
              <a:gs pos="75000">
                <a:srgbClr val="89BCE7">
                  <a:alpha val="50000"/>
                </a:srgbClr>
              </a:gs>
              <a:gs pos="50000">
                <a:srgbClr val="D095DA">
                  <a:alpha val="50000"/>
                </a:srgbClr>
              </a:gs>
              <a:gs pos="25000">
                <a:srgbClr val="D4A0B5">
                  <a:alpha val="50000"/>
                </a:srgbClr>
              </a:gs>
              <a:gs pos="0">
                <a:srgbClr val="D9C3B6">
                  <a:alpha val="50000"/>
                </a:srgbClr>
              </a:gs>
              <a:gs pos="100000">
                <a:srgbClr val="75AEDA">
                  <a:alpha val="50000"/>
                </a:srgb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E"/>
              </a:solidFill>
              <a:effectLst/>
              <a:uLnTx/>
              <a:uFillTx/>
              <a:latin typeface="Segoe Sans Text"/>
              <a:ea typeface="+mn-ea"/>
              <a:cs typeface="+mn-cs"/>
            </a:endParaRPr>
          </a:p>
        </p:txBody>
      </p:sp>
      <p:sp>
        <p:nvSpPr>
          <p:cNvPr id="15" name="TextBox 14">
            <a:extLst>
              <a:ext uri="{FF2B5EF4-FFF2-40B4-BE49-F238E27FC236}">
                <a16:creationId xmlns:a16="http://schemas.microsoft.com/office/drawing/2014/main" id="{643BE0E6-1B60-8736-8E23-7EC01E8E3318}"/>
              </a:ext>
              <a:ext uri="{C183D7F6-B498-43B3-948B-1728B52AA6E4}">
                <adec:decorative xmlns:adec="http://schemas.microsoft.com/office/drawing/2017/decorative" val="0"/>
              </a:ext>
            </a:extLst>
          </p:cNvPr>
          <p:cNvSpPr txBox="1"/>
          <p:nvPr/>
        </p:nvSpPr>
        <p:spPr>
          <a:xfrm>
            <a:off x="5951539" y="2467652"/>
            <a:ext cx="1554162" cy="830997"/>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can with your mobile device camera</a:t>
            </a:r>
          </a:p>
        </p:txBody>
      </p:sp>
      <p:sp>
        <p:nvSpPr>
          <p:cNvPr id="22" name="TextBox 21">
            <a:extLst>
              <a:ext uri="{FF2B5EF4-FFF2-40B4-BE49-F238E27FC236}">
                <a16:creationId xmlns:a16="http://schemas.microsoft.com/office/drawing/2014/main" id="{65687DFC-3589-0A0A-F62E-5D3296E7F563}"/>
              </a:ext>
            </a:extLst>
          </p:cNvPr>
          <p:cNvSpPr txBox="1"/>
          <p:nvPr/>
        </p:nvSpPr>
        <p:spPr>
          <a:xfrm>
            <a:off x="6728339" y="3601335"/>
            <a:ext cx="782265" cy="430887"/>
          </a:xfrm>
          <a:prstGeom prst="rect">
            <a:avLst/>
          </a:prstGeom>
          <a:noFill/>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78D4"/>
                </a:solidFill>
                <a:effectLst/>
                <a:uLnTx/>
                <a:uFillTx/>
                <a:latin typeface="Segoe UI Semibold"/>
                <a:ea typeface="+mn-ea"/>
                <a:cs typeface="+mn-cs"/>
              </a:rPr>
              <a:t>-OR-</a:t>
            </a:r>
          </a:p>
        </p:txBody>
      </p:sp>
      <p:sp>
        <p:nvSpPr>
          <p:cNvPr id="23" name="TextBox 22">
            <a:extLst>
              <a:ext uri="{FF2B5EF4-FFF2-40B4-BE49-F238E27FC236}">
                <a16:creationId xmlns:a16="http://schemas.microsoft.com/office/drawing/2014/main" id="{0A44D25F-BD76-DBFE-BB08-F8420C5CAB51}"/>
              </a:ext>
            </a:extLst>
          </p:cNvPr>
          <p:cNvSpPr txBox="1"/>
          <p:nvPr/>
        </p:nvSpPr>
        <p:spPr>
          <a:xfrm>
            <a:off x="6890241" y="4334909"/>
            <a:ext cx="458460" cy="276999"/>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Visit</a:t>
            </a:r>
          </a:p>
        </p:txBody>
      </p:sp>
      <p:pic>
        <p:nvPicPr>
          <p:cNvPr id="1026" name="Picture 2" descr="A QR code">
            <a:extLst>
              <a:ext uri="{FF2B5EF4-FFF2-40B4-BE49-F238E27FC236}">
                <a16:creationId xmlns:a16="http://schemas.microsoft.com/office/drawing/2014/main" id="{5F736AD1-77AA-7AAB-4B4F-CDA913AC4411}"/>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33043" y="1973586"/>
            <a:ext cx="3230720" cy="3230720"/>
          </a:xfrm>
          <a:prstGeom prst="roundRect">
            <a:avLst>
              <a:gd name="adj" fmla="val 3047"/>
            </a:avLst>
          </a:prstGeom>
          <a:noFill/>
          <a:extLst>
            <a:ext uri="{909E8E84-426E-40DD-AFC4-6F175D3DCCD1}">
              <a14:hiddenFill xmlns:a14="http://schemas.microsoft.com/office/drawing/2010/main">
                <a:solidFill>
                  <a:srgbClr val="FFFFFF"/>
                </a:solidFill>
              </a14:hiddenFill>
            </a:ext>
          </a:extLst>
        </p:spPr>
      </p:pic>
      <p:grpSp>
        <p:nvGrpSpPr>
          <p:cNvPr id="26" name="Group 25">
            <a:extLst>
              <a:ext uri="{FF2B5EF4-FFF2-40B4-BE49-F238E27FC236}">
                <a16:creationId xmlns:a16="http://schemas.microsoft.com/office/drawing/2014/main" id="{8596E739-00C9-A955-45A0-26F10819BC7E}"/>
              </a:ext>
            </a:extLst>
          </p:cNvPr>
          <p:cNvGrpSpPr/>
          <p:nvPr/>
        </p:nvGrpSpPr>
        <p:grpSpPr>
          <a:xfrm>
            <a:off x="5871759" y="5354167"/>
            <a:ext cx="5592004" cy="603247"/>
            <a:chOff x="5871759" y="5493046"/>
            <a:chExt cx="5592004" cy="603247"/>
          </a:xfrm>
        </p:grpSpPr>
        <p:sp>
          <p:nvSpPr>
            <p:cNvPr id="4" name="Rectangle: Rounded Corners 3">
              <a:extLst>
                <a:ext uri="{FF2B5EF4-FFF2-40B4-BE49-F238E27FC236}">
                  <a16:creationId xmlns:a16="http://schemas.microsoft.com/office/drawing/2014/main" id="{0606F272-74C9-E023-E269-C871B61B9E5C}"/>
                </a:ext>
                <a:ext uri="{C183D7F6-B498-43B3-948B-1728B52AA6E4}">
                  <adec:decorative xmlns:adec="http://schemas.microsoft.com/office/drawing/2017/decorative" val="1"/>
                </a:ext>
              </a:extLst>
            </p:cNvPr>
            <p:cNvSpPr/>
            <p:nvPr/>
          </p:nvSpPr>
          <p:spPr bwMode="auto">
            <a:xfrm rot="5400000">
              <a:off x="8366137" y="2998668"/>
              <a:ext cx="603247" cy="5592004"/>
            </a:xfrm>
            <a:prstGeom prst="roundRect">
              <a:avLst>
                <a:gd name="adj" fmla="val 50000"/>
              </a:avLst>
            </a:prstGeom>
            <a:solidFill>
              <a:schemeClr val="bg1"/>
            </a:solidFill>
            <a:ln>
              <a:solidFill>
                <a:schemeClr val="bg1"/>
              </a:solidFill>
              <a:headEnd type="none" w="med" len="med"/>
              <a:tailEnd type="none" w="med" len="med"/>
            </a:ln>
            <a:effectLst>
              <a:outerShdw blurRad="139700" dist="127000" dir="2700000" algn="tl" rotWithShape="0">
                <a:srgbClr val="E6E6E6">
                  <a:alpha val="4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34"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Sans Display Semibold"/>
                <a:ea typeface="+mn-ea"/>
                <a:cs typeface="Segoe UI" pitchFamily="34" charset="0"/>
              </a:endParaRPr>
            </a:p>
          </p:txBody>
        </p:sp>
        <p:cxnSp>
          <p:nvCxnSpPr>
            <p:cNvPr id="17" name="Straight Connector 16">
              <a:extLst>
                <a:ext uri="{FF2B5EF4-FFF2-40B4-BE49-F238E27FC236}">
                  <a16:creationId xmlns:a16="http://schemas.microsoft.com/office/drawing/2014/main" id="{3B1516FE-8BA0-FB11-14D5-71099E1F3E67}"/>
                </a:ext>
                <a:ext uri="{C183D7F6-B498-43B3-948B-1728B52AA6E4}">
                  <adec:decorative xmlns:adec="http://schemas.microsoft.com/office/drawing/2017/decorative" val="1"/>
                </a:ext>
              </a:extLst>
            </p:cNvPr>
            <p:cNvCxnSpPr>
              <a:cxnSpLocks/>
            </p:cNvCxnSpPr>
            <p:nvPr/>
          </p:nvCxnSpPr>
          <p:spPr>
            <a:xfrm>
              <a:off x="8342778" y="5625266"/>
              <a:ext cx="0" cy="338809"/>
            </a:xfrm>
            <a:prstGeom prst="line">
              <a:avLst/>
            </a:prstGeom>
            <a:ln>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898F9E0-7342-CE59-3DA1-9BFB13FD53B4}"/>
                </a:ext>
              </a:extLst>
            </p:cNvPr>
            <p:cNvSpPr txBox="1">
              <a:spLocks/>
            </p:cNvSpPr>
            <p:nvPr/>
          </p:nvSpPr>
          <p:spPr>
            <a:xfrm>
              <a:off x="6102077" y="5671560"/>
              <a:ext cx="2034788" cy="246221"/>
            </a:xfrm>
            <a:prstGeom prst="rect">
              <a:avLst/>
            </a:prstGeom>
            <a:noFill/>
          </p:spPr>
          <p:txBody>
            <a:bodyPr wrap="non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Segoe UI Semibold"/>
                  <a:ea typeface="+mn-ea"/>
                  <a:cs typeface="Segoe UI Semibold"/>
                  <a:hlinkClick r:id="rId4">
                    <a:extLst>
                      <a:ext uri="{A12FA001-AC4F-418D-AE19-62706E023703}">
                        <ahyp:hlinkClr xmlns:ahyp="http://schemas.microsoft.com/office/drawing/2018/hyperlinkcolor" val="tx"/>
                      </a:ext>
                    </a:extLst>
                  </a:hlinkClick>
                </a:rPr>
                <a:t>Customer Hub Survey</a:t>
              </a: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6" name="TextBox 5">
              <a:extLst>
                <a:ext uri="{FF2B5EF4-FFF2-40B4-BE49-F238E27FC236}">
                  <a16:creationId xmlns:a16="http://schemas.microsoft.com/office/drawing/2014/main" id="{617BF29B-5FA8-889C-DC4B-DD65C39F7127}"/>
                </a:ext>
              </a:extLst>
            </p:cNvPr>
            <p:cNvSpPr txBox="1">
              <a:spLocks/>
            </p:cNvSpPr>
            <p:nvPr/>
          </p:nvSpPr>
          <p:spPr>
            <a:xfrm>
              <a:off x="8548691" y="5671560"/>
              <a:ext cx="2700328" cy="246221"/>
            </a:xfrm>
            <a:prstGeom prst="rect">
              <a:avLst/>
            </a:prstGeom>
            <a:noFill/>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aka.ms/</a:t>
              </a:r>
              <a:r>
                <a:rPr kumimoji="0" lang="en-US" sz="1600" b="0" i="0" u="none" strike="noStrike" kern="1200" cap="none" spc="0" normalizeH="0" baseline="0" noProof="0" err="1">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CustomerHubSurvey</a:t>
              </a:r>
              <a:r>
                <a:rPr kumimoji="0" lang="en-US" sz="1600" b="0" i="0" u="none" strike="noStrike" kern="1200" cap="none" spc="0" normalizeH="0" baseline="0" noProof="0">
                  <a:ln>
                    <a:noFill/>
                  </a:ln>
                  <a:solidFill>
                    <a:srgbClr val="0078D4"/>
                  </a:solidFill>
                  <a:effectLst/>
                  <a:uLnTx/>
                  <a:uFillTx/>
                  <a:latin typeface="Segoe UI Semibold"/>
                  <a:ea typeface="+mn-ea"/>
                  <a:cs typeface="+mn-cs"/>
                  <a:hlinkClick r:id="rId4">
                    <a:extLst>
                      <a:ext uri="{A12FA001-AC4F-418D-AE19-62706E023703}">
                        <ahyp:hlinkClr xmlns:ahyp="http://schemas.microsoft.com/office/drawing/2018/hyperlinkcolor" val="tx"/>
                      </a:ext>
                    </a:extLst>
                  </a:hlinkClick>
                </a:rPr>
                <a:t> </a:t>
              </a:r>
              <a:endParaRPr kumimoji="0" lang="en-US" sz="1600" b="0" i="0" u="none" strike="noStrike" kern="1200" cap="none" spc="0" normalizeH="0" baseline="0" noProof="0">
                <a:ln>
                  <a:noFill/>
                </a:ln>
                <a:solidFill>
                  <a:srgbClr val="0078D4"/>
                </a:solidFill>
                <a:effectLst/>
                <a:uLnTx/>
                <a:uFillTx/>
                <a:latin typeface="Segoe UI Semibold"/>
                <a:ea typeface="+mn-ea"/>
                <a:cs typeface="+mn-cs"/>
              </a:endParaRPr>
            </a:p>
          </p:txBody>
        </p:sp>
      </p:grpSp>
      <p:sp>
        <p:nvSpPr>
          <p:cNvPr id="30" name="Freeform: Shape 29" descr="Icon of a handshake">
            <a:extLst>
              <a:ext uri="{FF2B5EF4-FFF2-40B4-BE49-F238E27FC236}">
                <a16:creationId xmlns:a16="http://schemas.microsoft.com/office/drawing/2014/main" id="{C21BC4EB-72ED-A6EA-D447-AF61EAA0EC7E}"/>
              </a:ext>
            </a:extLst>
          </p:cNvPr>
          <p:cNvSpPr/>
          <p:nvPr/>
        </p:nvSpPr>
        <p:spPr>
          <a:xfrm>
            <a:off x="998743" y="2219289"/>
            <a:ext cx="568190" cy="541056"/>
          </a:xfrm>
          <a:custGeom>
            <a:avLst/>
            <a:gdLst>
              <a:gd name="connsiteX0" fmla="*/ 104944 w 262032"/>
              <a:gd name="connsiteY0" fmla="*/ 192399 h 249517"/>
              <a:gd name="connsiteX1" fmla="*/ 122568 w 262032"/>
              <a:gd name="connsiteY1" fmla="*/ 192399 h 249517"/>
              <a:gd name="connsiteX2" fmla="*/ 122644 w 262032"/>
              <a:gd name="connsiteY2" fmla="*/ 209837 h 249517"/>
              <a:gd name="connsiteX3" fmla="*/ 122568 w 262032"/>
              <a:gd name="connsiteY3" fmla="*/ 209913 h 249517"/>
              <a:gd name="connsiteX4" fmla="*/ 109104 w 262032"/>
              <a:gd name="connsiteY4" fmla="*/ 223294 h 249517"/>
              <a:gd name="connsiteX5" fmla="*/ 91480 w 262032"/>
              <a:gd name="connsiteY5" fmla="*/ 223294 h 249517"/>
              <a:gd name="connsiteX6" fmla="*/ 89103 w 262032"/>
              <a:gd name="connsiteY6" fmla="*/ 209084 h 249517"/>
              <a:gd name="connsiteX7" fmla="*/ 89117 w 262032"/>
              <a:gd name="connsiteY7" fmla="*/ 209056 h 249517"/>
              <a:gd name="connsiteX8" fmla="*/ 91480 w 262032"/>
              <a:gd name="connsiteY8" fmla="*/ 205780 h 249517"/>
              <a:gd name="connsiteX9" fmla="*/ 93208 w 262032"/>
              <a:gd name="connsiteY9" fmla="*/ 163579 h 249517"/>
              <a:gd name="connsiteX10" fmla="*/ 95233 w 262032"/>
              <a:gd name="connsiteY10" fmla="*/ 165231 h 249517"/>
              <a:gd name="connsiteX11" fmla="*/ 95143 w 262032"/>
              <a:gd name="connsiteY11" fmla="*/ 182668 h 249517"/>
              <a:gd name="connsiteX12" fmla="*/ 81680 w 262032"/>
              <a:gd name="connsiteY12" fmla="*/ 196035 h 249517"/>
              <a:gd name="connsiteX13" fmla="*/ 64056 w 262032"/>
              <a:gd name="connsiteY13" fmla="*/ 196035 h 249517"/>
              <a:gd name="connsiteX14" fmla="*/ 63876 w 262032"/>
              <a:gd name="connsiteY14" fmla="*/ 178701 h 249517"/>
              <a:gd name="connsiteX15" fmla="*/ 64056 w 262032"/>
              <a:gd name="connsiteY15" fmla="*/ 178521 h 249517"/>
              <a:gd name="connsiteX16" fmla="*/ 77519 w 262032"/>
              <a:gd name="connsiteY16" fmla="*/ 165155 h 249517"/>
              <a:gd name="connsiteX17" fmla="*/ 77699 w 262032"/>
              <a:gd name="connsiteY17" fmla="*/ 164961 h 249517"/>
              <a:gd name="connsiteX18" fmla="*/ 93208 w 262032"/>
              <a:gd name="connsiteY18" fmla="*/ 163579 h 249517"/>
              <a:gd name="connsiteX19" fmla="*/ 50095 w 262032"/>
              <a:gd name="connsiteY19" fmla="*/ 137896 h 249517"/>
              <a:gd name="connsiteX20" fmla="*/ 67719 w 262032"/>
              <a:gd name="connsiteY20" fmla="*/ 137896 h 249517"/>
              <a:gd name="connsiteX21" fmla="*/ 67885 w 262032"/>
              <a:gd name="connsiteY21" fmla="*/ 155230 h 249517"/>
              <a:gd name="connsiteX22" fmla="*/ 67705 w 262032"/>
              <a:gd name="connsiteY22" fmla="*/ 155409 h 249517"/>
              <a:gd name="connsiteX23" fmla="*/ 54241 w 262032"/>
              <a:gd name="connsiteY23" fmla="*/ 168790 h 249517"/>
              <a:gd name="connsiteX24" fmla="*/ 54062 w 262032"/>
              <a:gd name="connsiteY24" fmla="*/ 168956 h 249517"/>
              <a:gd name="connsiteX25" fmla="*/ 36631 w 262032"/>
              <a:gd name="connsiteY25" fmla="*/ 168790 h 249517"/>
              <a:gd name="connsiteX26" fmla="*/ 36555 w 262032"/>
              <a:gd name="connsiteY26" fmla="*/ 151352 h 249517"/>
              <a:gd name="connsiteX27" fmla="*/ 36631 w 262032"/>
              <a:gd name="connsiteY27" fmla="*/ 151276 h 249517"/>
              <a:gd name="connsiteX28" fmla="*/ 17127 w 262032"/>
              <a:gd name="connsiteY28" fmla="*/ 116139 h 249517"/>
              <a:gd name="connsiteX29" fmla="*/ 34737 w 262032"/>
              <a:gd name="connsiteY29" fmla="*/ 116139 h 249517"/>
              <a:gd name="connsiteX30" fmla="*/ 34814 w 262032"/>
              <a:gd name="connsiteY30" fmla="*/ 133576 h 249517"/>
              <a:gd name="connsiteX31" fmla="*/ 34737 w 262032"/>
              <a:gd name="connsiteY31" fmla="*/ 133652 h 249517"/>
              <a:gd name="connsiteX32" fmla="*/ 21288 w 262032"/>
              <a:gd name="connsiteY32" fmla="*/ 147033 h 249517"/>
              <a:gd name="connsiteX33" fmla="*/ 3650 w 262032"/>
              <a:gd name="connsiteY33" fmla="*/ 147033 h 249517"/>
              <a:gd name="connsiteX34" fmla="*/ 3573 w 262032"/>
              <a:gd name="connsiteY34" fmla="*/ 129595 h 249517"/>
              <a:gd name="connsiteX35" fmla="*/ 3650 w 262032"/>
              <a:gd name="connsiteY35" fmla="*/ 129519 h 249517"/>
              <a:gd name="connsiteX36" fmla="*/ 103243 w 262032"/>
              <a:gd name="connsiteY36" fmla="*/ 1049 h 249517"/>
              <a:gd name="connsiteX37" fmla="*/ 69004 w 262032"/>
              <a:gd name="connsiteY37" fmla="*/ 27009 h 249517"/>
              <a:gd name="connsiteX38" fmla="*/ 62424 w 262032"/>
              <a:gd name="connsiteY38" fmla="*/ 74488 h 249517"/>
              <a:gd name="connsiteX39" fmla="*/ 62562 w 262032"/>
              <a:gd name="connsiteY39" fmla="*/ 74670 h 249517"/>
              <a:gd name="connsiteX40" fmla="*/ 110307 w 262032"/>
              <a:gd name="connsiteY40" fmla="*/ 81125 h 249517"/>
              <a:gd name="connsiteX41" fmla="*/ 133584 w 262032"/>
              <a:gd name="connsiteY41" fmla="*/ 63501 h 249517"/>
              <a:gd name="connsiteX42" fmla="*/ 191433 w 262032"/>
              <a:gd name="connsiteY42" fmla="*/ 63501 h 249517"/>
              <a:gd name="connsiteX43" fmla="*/ 239910 w 262032"/>
              <a:gd name="connsiteY43" fmla="*/ 111328 h 249517"/>
              <a:gd name="connsiteX44" fmla="*/ 240408 w 262032"/>
              <a:gd name="connsiteY44" fmla="*/ 111881 h 249517"/>
              <a:gd name="connsiteX45" fmla="*/ 256304 w 262032"/>
              <a:gd name="connsiteY45" fmla="*/ 127777 h 249517"/>
              <a:gd name="connsiteX46" fmla="*/ 256109 w 262032"/>
              <a:gd name="connsiteY46" fmla="*/ 155907 h 249517"/>
              <a:gd name="connsiteX47" fmla="*/ 229543 w 262032"/>
              <a:gd name="connsiteY47" fmla="*/ 157137 h 249517"/>
              <a:gd name="connsiteX48" fmla="*/ 228216 w 262032"/>
              <a:gd name="connsiteY48" fmla="*/ 155810 h 249517"/>
              <a:gd name="connsiteX49" fmla="*/ 227386 w 262032"/>
              <a:gd name="connsiteY49" fmla="*/ 155091 h 249517"/>
              <a:gd name="connsiteX50" fmla="*/ 212278 w 262032"/>
              <a:gd name="connsiteY50" fmla="*/ 139997 h 249517"/>
              <a:gd name="connsiteX51" fmla="*/ 202505 w 262032"/>
              <a:gd name="connsiteY51" fmla="*/ 139827 h 249517"/>
              <a:gd name="connsiteX52" fmla="*/ 202335 w 262032"/>
              <a:gd name="connsiteY52" fmla="*/ 149599 h 249517"/>
              <a:gd name="connsiteX53" fmla="*/ 202505 w 262032"/>
              <a:gd name="connsiteY53" fmla="*/ 149769 h 249517"/>
              <a:gd name="connsiteX54" fmla="*/ 218402 w 262032"/>
              <a:gd name="connsiteY54" fmla="*/ 165666 h 249517"/>
              <a:gd name="connsiteX55" fmla="*/ 220171 w 262032"/>
              <a:gd name="connsiteY55" fmla="*/ 167311 h 249517"/>
              <a:gd name="connsiteX56" fmla="*/ 220779 w 262032"/>
              <a:gd name="connsiteY56" fmla="*/ 167919 h 249517"/>
              <a:gd name="connsiteX57" fmla="*/ 219871 w 262032"/>
              <a:gd name="connsiteY57" fmla="*/ 187838 h 249517"/>
              <a:gd name="connsiteX58" fmla="*/ 200860 w 262032"/>
              <a:gd name="connsiteY58" fmla="*/ 187838 h 249517"/>
              <a:gd name="connsiteX59" fmla="*/ 198510 w 262032"/>
              <a:gd name="connsiteY59" fmla="*/ 185502 h 249517"/>
              <a:gd name="connsiteX60" fmla="*/ 188736 w 262032"/>
              <a:gd name="connsiteY60" fmla="*/ 185514 h 249517"/>
              <a:gd name="connsiteX61" fmla="*/ 186720 w 262032"/>
              <a:gd name="connsiteY61" fmla="*/ 190519 h 249517"/>
              <a:gd name="connsiteX62" fmla="*/ 188751 w 262032"/>
              <a:gd name="connsiteY62" fmla="*/ 195565 h 249517"/>
              <a:gd name="connsiteX63" fmla="*/ 191834 w 262032"/>
              <a:gd name="connsiteY63" fmla="*/ 198647 h 249517"/>
              <a:gd name="connsiteX64" fmla="*/ 192388 w 262032"/>
              <a:gd name="connsiteY64" fmla="*/ 217073 h 249517"/>
              <a:gd name="connsiteX65" fmla="*/ 173962 w 262032"/>
              <a:gd name="connsiteY65" fmla="*/ 217627 h 249517"/>
              <a:gd name="connsiteX66" fmla="*/ 173408 w 262032"/>
              <a:gd name="connsiteY66" fmla="*/ 217073 h 249517"/>
              <a:gd name="connsiteX67" fmla="*/ 173380 w 262032"/>
              <a:gd name="connsiteY67" fmla="*/ 217073 h 249517"/>
              <a:gd name="connsiteX68" fmla="*/ 173228 w 262032"/>
              <a:gd name="connsiteY68" fmla="*/ 216893 h 249517"/>
              <a:gd name="connsiteX69" fmla="*/ 170326 w 262032"/>
              <a:gd name="connsiteY69" fmla="*/ 213991 h 249517"/>
              <a:gd name="connsiteX70" fmla="*/ 160553 w 262032"/>
              <a:gd name="connsiteY70" fmla="*/ 213821 h 249517"/>
              <a:gd name="connsiteX71" fmla="*/ 160383 w 262032"/>
              <a:gd name="connsiteY71" fmla="*/ 223593 h 249517"/>
              <a:gd name="connsiteX72" fmla="*/ 160553 w 262032"/>
              <a:gd name="connsiteY72" fmla="*/ 223763 h 249517"/>
              <a:gd name="connsiteX73" fmla="*/ 163566 w 262032"/>
              <a:gd name="connsiteY73" fmla="*/ 226791 h 249517"/>
              <a:gd name="connsiteX74" fmla="*/ 163684 w 262032"/>
              <a:gd name="connsiteY74" fmla="*/ 245569 h 249517"/>
              <a:gd name="connsiteX75" fmla="*/ 144905 w 262032"/>
              <a:gd name="connsiteY75" fmla="*/ 245686 h 249517"/>
              <a:gd name="connsiteX76" fmla="*/ 125125 w 262032"/>
              <a:gd name="connsiteY76" fmla="*/ 226887 h 249517"/>
              <a:gd name="connsiteX77" fmla="*/ 132368 w 262032"/>
              <a:gd name="connsiteY77" fmla="*/ 219672 h 249517"/>
              <a:gd name="connsiteX78" fmla="*/ 132528 w 262032"/>
              <a:gd name="connsiteY78" fmla="*/ 182842 h 249517"/>
              <a:gd name="connsiteX79" fmla="*/ 132368 w 262032"/>
              <a:gd name="connsiteY79" fmla="*/ 182682 h 249517"/>
              <a:gd name="connsiteX80" fmla="*/ 112629 w 262032"/>
              <a:gd name="connsiteY80" fmla="*/ 175038 h 249517"/>
              <a:gd name="connsiteX81" fmla="*/ 104943 w 262032"/>
              <a:gd name="connsiteY81" fmla="*/ 155409 h 249517"/>
              <a:gd name="connsiteX82" fmla="*/ 85204 w 262032"/>
              <a:gd name="connsiteY82" fmla="*/ 147779 h 249517"/>
              <a:gd name="connsiteX83" fmla="*/ 77519 w 262032"/>
              <a:gd name="connsiteY83" fmla="*/ 128164 h 249517"/>
              <a:gd name="connsiteX84" fmla="*/ 52029 w 262032"/>
              <a:gd name="connsiteY84" fmla="*/ 121391 h 249517"/>
              <a:gd name="connsiteX85" fmla="*/ 44551 w 262032"/>
              <a:gd name="connsiteY85" fmla="*/ 106407 h 249517"/>
              <a:gd name="connsiteX86" fmla="*/ 9801 w 262032"/>
              <a:gd name="connsiteY86" fmla="*/ 104223 h 249517"/>
              <a:gd name="connsiteX87" fmla="*/ 32581 w 262032"/>
              <a:gd name="connsiteY87" fmla="*/ 25239 h 249517"/>
              <a:gd name="connsiteX88" fmla="*/ 32581 w 262032"/>
              <a:gd name="connsiteY88" fmla="*/ 25225 h 249517"/>
              <a:gd name="connsiteX89" fmla="*/ 103243 w 262032"/>
              <a:gd name="connsiteY89" fmla="*/ 1049 h 249517"/>
              <a:gd name="connsiteX90" fmla="*/ 174058 w 262032"/>
              <a:gd name="connsiteY90" fmla="*/ 96 h 249517"/>
              <a:gd name="connsiteX91" fmla="*/ 181592 w 262032"/>
              <a:gd name="connsiteY91" fmla="*/ 96 h 249517"/>
              <a:gd name="connsiteX92" fmla="*/ 182117 w 262032"/>
              <a:gd name="connsiteY92" fmla="*/ 96 h 249517"/>
              <a:gd name="connsiteX93" fmla="*/ 204869 w 262032"/>
              <a:gd name="connsiteY93" fmla="*/ 5196 h 249517"/>
              <a:gd name="connsiteX94" fmla="*/ 237215 w 262032"/>
              <a:gd name="connsiteY94" fmla="*/ 30382 h 249517"/>
              <a:gd name="connsiteX95" fmla="*/ 248328 w 262032"/>
              <a:gd name="connsiteY95" fmla="*/ 90483 h 249517"/>
              <a:gd name="connsiteX96" fmla="*/ 202976 w 262032"/>
              <a:gd name="connsiteY96" fmla="*/ 45739 h 249517"/>
              <a:gd name="connsiteX97" fmla="*/ 195691 w 262032"/>
              <a:gd name="connsiteY97" fmla="*/ 42753 h 249517"/>
              <a:gd name="connsiteX98" fmla="*/ 130101 w 262032"/>
              <a:gd name="connsiteY98" fmla="*/ 42753 h 249517"/>
              <a:gd name="connsiteX99" fmla="*/ 123840 w 262032"/>
              <a:gd name="connsiteY99" fmla="*/ 44854 h 249517"/>
              <a:gd name="connsiteX100" fmla="*/ 97797 w 262032"/>
              <a:gd name="connsiteY100" fmla="*/ 64593 h 249517"/>
              <a:gd name="connsiteX101" fmla="*/ 79043 w 262032"/>
              <a:gd name="connsiteY101" fmla="*/ 62072 h 249517"/>
              <a:gd name="connsiteX102" fmla="*/ 79026 w 262032"/>
              <a:gd name="connsiteY102" fmla="*/ 62050 h 249517"/>
              <a:gd name="connsiteX103" fmla="*/ 81437 w 262032"/>
              <a:gd name="connsiteY103" fmla="*/ 43596 h 249517"/>
              <a:gd name="connsiteX104" fmla="*/ 81528 w 262032"/>
              <a:gd name="connsiteY104" fmla="*/ 43527 h 249517"/>
              <a:gd name="connsiteX105" fmla="*/ 136128 w 262032"/>
              <a:gd name="connsiteY105" fmla="*/ 2155 h 249517"/>
              <a:gd name="connsiteX106" fmla="*/ 138160 w 262032"/>
              <a:gd name="connsiteY106" fmla="*/ 109 h 249517"/>
              <a:gd name="connsiteX107" fmla="*/ 173574 w 262032"/>
              <a:gd name="connsiteY107" fmla="*/ 109 h 2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62032" h="249517">
                <a:moveTo>
                  <a:pt x="104944" y="192399"/>
                </a:moveTo>
                <a:cubicBezTo>
                  <a:pt x="109825" y="187566"/>
                  <a:pt x="117687" y="187566"/>
                  <a:pt x="122568" y="192399"/>
                </a:cubicBezTo>
                <a:cubicBezTo>
                  <a:pt x="127405" y="197193"/>
                  <a:pt x="127439" y="205000"/>
                  <a:pt x="122644" y="209837"/>
                </a:cubicBezTo>
                <a:cubicBezTo>
                  <a:pt x="122619" y="209862"/>
                  <a:pt x="122594" y="209888"/>
                  <a:pt x="122568" y="209913"/>
                </a:cubicBezTo>
                <a:lnTo>
                  <a:pt x="109104" y="223294"/>
                </a:lnTo>
                <a:cubicBezTo>
                  <a:pt x="104236" y="228156"/>
                  <a:pt x="96348" y="228156"/>
                  <a:pt x="91480" y="223294"/>
                </a:cubicBezTo>
                <a:cubicBezTo>
                  <a:pt x="87715" y="219561"/>
                  <a:pt x="86758" y="213839"/>
                  <a:pt x="89103" y="209084"/>
                </a:cubicBezTo>
                <a:lnTo>
                  <a:pt x="89117" y="209056"/>
                </a:lnTo>
                <a:cubicBezTo>
                  <a:pt x="89719" y="207842"/>
                  <a:pt x="90518" y="206735"/>
                  <a:pt x="91480" y="205780"/>
                </a:cubicBezTo>
                <a:close/>
                <a:moveTo>
                  <a:pt x="93208" y="163579"/>
                </a:moveTo>
                <a:cubicBezTo>
                  <a:pt x="93940" y="164056"/>
                  <a:pt x="94619" y="164610"/>
                  <a:pt x="95233" y="165231"/>
                </a:cubicBezTo>
                <a:cubicBezTo>
                  <a:pt x="100024" y="170071"/>
                  <a:pt x="99983" y="177879"/>
                  <a:pt x="95143" y="182668"/>
                </a:cubicBezTo>
                <a:lnTo>
                  <a:pt x="81680" y="196035"/>
                </a:lnTo>
                <a:cubicBezTo>
                  <a:pt x="76800" y="200873"/>
                  <a:pt x="68921" y="200873"/>
                  <a:pt x="64056" y="196035"/>
                </a:cubicBezTo>
                <a:cubicBezTo>
                  <a:pt x="59259" y="191281"/>
                  <a:pt x="59179" y="183553"/>
                  <a:pt x="63876" y="178701"/>
                </a:cubicBezTo>
                <a:lnTo>
                  <a:pt x="64056" y="178521"/>
                </a:lnTo>
                <a:lnTo>
                  <a:pt x="77519" y="165155"/>
                </a:lnTo>
                <a:lnTo>
                  <a:pt x="77699" y="164961"/>
                </a:lnTo>
                <a:cubicBezTo>
                  <a:pt x="81919" y="160952"/>
                  <a:pt x="88345" y="160379"/>
                  <a:pt x="93208" y="163579"/>
                </a:cubicBezTo>
                <a:close/>
                <a:moveTo>
                  <a:pt x="50095" y="137896"/>
                </a:moveTo>
                <a:cubicBezTo>
                  <a:pt x="54975" y="133062"/>
                  <a:pt x="62838" y="133062"/>
                  <a:pt x="67719" y="137896"/>
                </a:cubicBezTo>
                <a:cubicBezTo>
                  <a:pt x="72512" y="142654"/>
                  <a:pt x="72586" y="150381"/>
                  <a:pt x="67885" y="155230"/>
                </a:cubicBezTo>
                <a:lnTo>
                  <a:pt x="67705" y="155409"/>
                </a:lnTo>
                <a:lnTo>
                  <a:pt x="54241" y="168790"/>
                </a:lnTo>
                <a:lnTo>
                  <a:pt x="54062" y="168956"/>
                </a:lnTo>
                <a:cubicBezTo>
                  <a:pt x="49160" y="173617"/>
                  <a:pt x="41443" y="173544"/>
                  <a:pt x="36631" y="168790"/>
                </a:cubicBezTo>
                <a:cubicBezTo>
                  <a:pt x="31795" y="163996"/>
                  <a:pt x="31761" y="156189"/>
                  <a:pt x="36555" y="151352"/>
                </a:cubicBezTo>
                <a:cubicBezTo>
                  <a:pt x="36580" y="151328"/>
                  <a:pt x="36605" y="151301"/>
                  <a:pt x="36631" y="151276"/>
                </a:cubicBezTo>
                <a:close/>
                <a:moveTo>
                  <a:pt x="17127" y="116139"/>
                </a:moveTo>
                <a:lnTo>
                  <a:pt x="34737" y="116139"/>
                </a:lnTo>
                <a:cubicBezTo>
                  <a:pt x="39574" y="120932"/>
                  <a:pt x="39608" y="128740"/>
                  <a:pt x="34814" y="133576"/>
                </a:cubicBezTo>
                <a:cubicBezTo>
                  <a:pt x="34788" y="133601"/>
                  <a:pt x="34763" y="133627"/>
                  <a:pt x="34737" y="133652"/>
                </a:cubicBezTo>
                <a:lnTo>
                  <a:pt x="21288" y="147033"/>
                </a:lnTo>
                <a:cubicBezTo>
                  <a:pt x="16405" y="151875"/>
                  <a:pt x="8532" y="151875"/>
                  <a:pt x="3650" y="147033"/>
                </a:cubicBezTo>
                <a:cubicBezTo>
                  <a:pt x="-1187" y="142239"/>
                  <a:pt x="-1221" y="134432"/>
                  <a:pt x="3573" y="129595"/>
                </a:cubicBezTo>
                <a:cubicBezTo>
                  <a:pt x="3599" y="129570"/>
                  <a:pt x="3624" y="129544"/>
                  <a:pt x="3650" y="129519"/>
                </a:cubicBezTo>
                <a:close/>
                <a:moveTo>
                  <a:pt x="103243" y="1049"/>
                </a:moveTo>
                <a:lnTo>
                  <a:pt x="69004" y="27009"/>
                </a:lnTo>
                <a:cubicBezTo>
                  <a:pt x="54076" y="38302"/>
                  <a:pt x="51130" y="59560"/>
                  <a:pt x="62424" y="74488"/>
                </a:cubicBezTo>
                <a:cubicBezTo>
                  <a:pt x="62470" y="74548"/>
                  <a:pt x="62516" y="74609"/>
                  <a:pt x="62562" y="74670"/>
                </a:cubicBezTo>
                <a:cubicBezTo>
                  <a:pt x="73999" y="89577"/>
                  <a:pt x="95322" y="92460"/>
                  <a:pt x="110307" y="81125"/>
                </a:cubicBezTo>
                <a:lnTo>
                  <a:pt x="133584" y="63501"/>
                </a:lnTo>
                <a:lnTo>
                  <a:pt x="191433" y="63501"/>
                </a:lnTo>
                <a:lnTo>
                  <a:pt x="239910" y="111328"/>
                </a:lnTo>
                <a:cubicBezTo>
                  <a:pt x="240066" y="111520"/>
                  <a:pt x="240232" y="111705"/>
                  <a:pt x="240408" y="111881"/>
                </a:cubicBezTo>
                <a:lnTo>
                  <a:pt x="256304" y="127777"/>
                </a:lnTo>
                <a:cubicBezTo>
                  <a:pt x="264018" y="135598"/>
                  <a:pt x="263931" y="148192"/>
                  <a:pt x="256109" y="155907"/>
                </a:cubicBezTo>
                <a:cubicBezTo>
                  <a:pt x="248870" y="163046"/>
                  <a:pt x="237411" y="163577"/>
                  <a:pt x="229543" y="157137"/>
                </a:cubicBezTo>
                <a:lnTo>
                  <a:pt x="228216" y="155810"/>
                </a:lnTo>
                <a:cubicBezTo>
                  <a:pt x="227959" y="155549"/>
                  <a:pt x="227681" y="155308"/>
                  <a:pt x="227386" y="155091"/>
                </a:cubicBezTo>
                <a:lnTo>
                  <a:pt x="212278" y="139997"/>
                </a:lnTo>
                <a:cubicBezTo>
                  <a:pt x="209627" y="137251"/>
                  <a:pt x="205250" y="137175"/>
                  <a:pt x="202505" y="139827"/>
                </a:cubicBezTo>
                <a:cubicBezTo>
                  <a:pt x="199760" y="142479"/>
                  <a:pt x="199684" y="146854"/>
                  <a:pt x="202335" y="149599"/>
                </a:cubicBezTo>
                <a:cubicBezTo>
                  <a:pt x="202391" y="149658"/>
                  <a:pt x="202447" y="149714"/>
                  <a:pt x="202505" y="149769"/>
                </a:cubicBezTo>
                <a:lnTo>
                  <a:pt x="218402" y="165666"/>
                </a:lnTo>
                <a:cubicBezTo>
                  <a:pt x="218982" y="166233"/>
                  <a:pt x="219563" y="166785"/>
                  <a:pt x="220171" y="167311"/>
                </a:cubicBezTo>
                <a:lnTo>
                  <a:pt x="220779" y="167919"/>
                </a:lnTo>
                <a:cubicBezTo>
                  <a:pt x="226029" y="173671"/>
                  <a:pt x="225621" y="182588"/>
                  <a:pt x="219871" y="187838"/>
                </a:cubicBezTo>
                <a:cubicBezTo>
                  <a:pt x="214487" y="192752"/>
                  <a:pt x="206244" y="192752"/>
                  <a:pt x="200860" y="187838"/>
                </a:cubicBezTo>
                <a:lnTo>
                  <a:pt x="198510" y="185502"/>
                </a:lnTo>
                <a:cubicBezTo>
                  <a:pt x="195808" y="182806"/>
                  <a:pt x="191432" y="182812"/>
                  <a:pt x="188736" y="185514"/>
                </a:cubicBezTo>
                <a:cubicBezTo>
                  <a:pt x="187413" y="186841"/>
                  <a:pt x="186686" y="188646"/>
                  <a:pt x="186720" y="190519"/>
                </a:cubicBezTo>
                <a:cubicBezTo>
                  <a:pt x="186677" y="192409"/>
                  <a:pt x="187412" y="194232"/>
                  <a:pt x="188751" y="195565"/>
                </a:cubicBezTo>
                <a:lnTo>
                  <a:pt x="191834" y="198647"/>
                </a:lnTo>
                <a:cubicBezTo>
                  <a:pt x="197076" y="203582"/>
                  <a:pt x="197323" y="211831"/>
                  <a:pt x="192388" y="217073"/>
                </a:cubicBezTo>
                <a:cubicBezTo>
                  <a:pt x="187454" y="222315"/>
                  <a:pt x="179204" y="222562"/>
                  <a:pt x="173962" y="217627"/>
                </a:cubicBezTo>
                <a:cubicBezTo>
                  <a:pt x="173772" y="217448"/>
                  <a:pt x="173588" y="217264"/>
                  <a:pt x="173408" y="217073"/>
                </a:cubicBezTo>
                <a:lnTo>
                  <a:pt x="173380" y="217073"/>
                </a:lnTo>
                <a:lnTo>
                  <a:pt x="173228" y="216893"/>
                </a:lnTo>
                <a:lnTo>
                  <a:pt x="170326" y="213991"/>
                </a:lnTo>
                <a:cubicBezTo>
                  <a:pt x="167674" y="211245"/>
                  <a:pt x="163298" y="211169"/>
                  <a:pt x="160553" y="213821"/>
                </a:cubicBezTo>
                <a:cubicBezTo>
                  <a:pt x="157808" y="216472"/>
                  <a:pt x="157732" y="220848"/>
                  <a:pt x="160383" y="223593"/>
                </a:cubicBezTo>
                <a:cubicBezTo>
                  <a:pt x="160438" y="223651"/>
                  <a:pt x="160495" y="223708"/>
                  <a:pt x="160553" y="223763"/>
                </a:cubicBezTo>
                <a:lnTo>
                  <a:pt x="163566" y="226791"/>
                </a:lnTo>
                <a:cubicBezTo>
                  <a:pt x="168784" y="231944"/>
                  <a:pt x="168837" y="240351"/>
                  <a:pt x="163684" y="245569"/>
                </a:cubicBezTo>
                <a:cubicBezTo>
                  <a:pt x="158531" y="250787"/>
                  <a:pt x="150123" y="250840"/>
                  <a:pt x="144905" y="245686"/>
                </a:cubicBezTo>
                <a:lnTo>
                  <a:pt x="125125" y="226887"/>
                </a:lnTo>
                <a:lnTo>
                  <a:pt x="132368" y="219672"/>
                </a:lnTo>
                <a:cubicBezTo>
                  <a:pt x="142583" y="209547"/>
                  <a:pt x="142655" y="193057"/>
                  <a:pt x="132528" y="182842"/>
                </a:cubicBezTo>
                <a:cubicBezTo>
                  <a:pt x="132476" y="182788"/>
                  <a:pt x="132422" y="182736"/>
                  <a:pt x="132368" y="182682"/>
                </a:cubicBezTo>
                <a:cubicBezTo>
                  <a:pt x="127146" y="177486"/>
                  <a:pt x="119988" y="174714"/>
                  <a:pt x="112629" y="175038"/>
                </a:cubicBezTo>
                <a:cubicBezTo>
                  <a:pt x="112955" y="167703"/>
                  <a:pt x="110163" y="160572"/>
                  <a:pt x="104943" y="155409"/>
                </a:cubicBezTo>
                <a:cubicBezTo>
                  <a:pt x="99720" y="150219"/>
                  <a:pt x="92561" y="147451"/>
                  <a:pt x="85204" y="147779"/>
                </a:cubicBezTo>
                <a:cubicBezTo>
                  <a:pt x="85525" y="140449"/>
                  <a:pt x="82733" y="133326"/>
                  <a:pt x="77519" y="128164"/>
                </a:cubicBezTo>
                <a:cubicBezTo>
                  <a:pt x="70836" y="121525"/>
                  <a:pt x="61126" y="118946"/>
                  <a:pt x="52029" y="121391"/>
                </a:cubicBezTo>
                <a:cubicBezTo>
                  <a:pt x="51258" y="115709"/>
                  <a:pt x="48629" y="110439"/>
                  <a:pt x="44551" y="106407"/>
                </a:cubicBezTo>
                <a:cubicBezTo>
                  <a:pt x="35146" y="97085"/>
                  <a:pt x="20298" y="96152"/>
                  <a:pt x="9801" y="104223"/>
                </a:cubicBezTo>
                <a:cubicBezTo>
                  <a:pt x="3166" y="75726"/>
                  <a:pt x="11789" y="45827"/>
                  <a:pt x="32581" y="25239"/>
                </a:cubicBezTo>
                <a:lnTo>
                  <a:pt x="32581" y="25225"/>
                </a:lnTo>
                <a:cubicBezTo>
                  <a:pt x="51177" y="6750"/>
                  <a:pt x="77227" y="-2163"/>
                  <a:pt x="103243" y="1049"/>
                </a:cubicBezTo>
                <a:close/>
                <a:moveTo>
                  <a:pt x="174058" y="96"/>
                </a:moveTo>
                <a:cubicBezTo>
                  <a:pt x="176568" y="-32"/>
                  <a:pt x="179083" y="-32"/>
                  <a:pt x="181592" y="96"/>
                </a:cubicBezTo>
                <a:lnTo>
                  <a:pt x="182117" y="96"/>
                </a:lnTo>
                <a:cubicBezTo>
                  <a:pt x="189986" y="78"/>
                  <a:pt x="197760" y="1821"/>
                  <a:pt x="204869" y="5196"/>
                </a:cubicBezTo>
                <a:cubicBezTo>
                  <a:pt x="217859" y="10290"/>
                  <a:pt x="229092" y="19037"/>
                  <a:pt x="237215" y="30382"/>
                </a:cubicBezTo>
                <a:cubicBezTo>
                  <a:pt x="249662" y="47770"/>
                  <a:pt x="253735" y="69793"/>
                  <a:pt x="248328" y="90483"/>
                </a:cubicBezTo>
                <a:lnTo>
                  <a:pt x="202976" y="45739"/>
                </a:lnTo>
                <a:cubicBezTo>
                  <a:pt x="201035" y="43824"/>
                  <a:pt x="198417" y="42752"/>
                  <a:pt x="195691" y="42753"/>
                </a:cubicBezTo>
                <a:lnTo>
                  <a:pt x="130101" y="42753"/>
                </a:lnTo>
                <a:cubicBezTo>
                  <a:pt x="127843" y="42764"/>
                  <a:pt x="125648" y="43501"/>
                  <a:pt x="123840" y="44854"/>
                </a:cubicBezTo>
                <a:lnTo>
                  <a:pt x="97797" y="64593"/>
                </a:lnTo>
                <a:cubicBezTo>
                  <a:pt x="91922" y="69076"/>
                  <a:pt x="83526" y="67947"/>
                  <a:pt x="79043" y="62072"/>
                </a:cubicBezTo>
                <a:cubicBezTo>
                  <a:pt x="79037" y="62065"/>
                  <a:pt x="79031" y="62057"/>
                  <a:pt x="79026" y="62050"/>
                </a:cubicBezTo>
                <a:cubicBezTo>
                  <a:pt x="74596" y="56288"/>
                  <a:pt x="75675" y="48026"/>
                  <a:pt x="81437" y="43596"/>
                </a:cubicBezTo>
                <a:cubicBezTo>
                  <a:pt x="81467" y="43573"/>
                  <a:pt x="81497" y="43550"/>
                  <a:pt x="81528" y="43527"/>
                </a:cubicBezTo>
                <a:lnTo>
                  <a:pt x="136128" y="2155"/>
                </a:lnTo>
                <a:cubicBezTo>
                  <a:pt x="136898" y="1572"/>
                  <a:pt x="137582" y="883"/>
                  <a:pt x="138160" y="109"/>
                </a:cubicBezTo>
                <a:lnTo>
                  <a:pt x="173574" y="109"/>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nvGrpSpPr>
          <p:cNvPr id="7" name="Group 6">
            <a:extLst>
              <a:ext uri="{FF2B5EF4-FFF2-40B4-BE49-F238E27FC236}">
                <a16:creationId xmlns:a16="http://schemas.microsoft.com/office/drawing/2014/main" id="{4007AFD4-7153-0E08-C5D4-D4A12D2B1DD0}"/>
              </a:ext>
            </a:extLst>
          </p:cNvPr>
          <p:cNvGrpSpPr/>
          <p:nvPr/>
        </p:nvGrpSpPr>
        <p:grpSpPr>
          <a:xfrm>
            <a:off x="7701978" y="2715756"/>
            <a:ext cx="334788" cy="334788"/>
            <a:chOff x="8667760" y="1206445"/>
            <a:chExt cx="600050" cy="600050"/>
          </a:xfrm>
        </p:grpSpPr>
        <p:sp>
          <p:nvSpPr>
            <p:cNvPr id="8" name="Freeform: Shape 115">
              <a:extLst>
                <a:ext uri="{FF2B5EF4-FFF2-40B4-BE49-F238E27FC236}">
                  <a16:creationId xmlns:a16="http://schemas.microsoft.com/office/drawing/2014/main" id="{3463C362-F9D3-D70E-C0DE-C651B47F9E5C}"/>
                </a:ext>
                <a:ext uri="{C183D7F6-B498-43B3-948B-1728B52AA6E4}">
                  <adec:decorative xmlns:adec="http://schemas.microsoft.com/office/drawing/2017/decorative" val="1"/>
                </a:ext>
              </a:extLst>
            </p:cNvPr>
            <p:cNvSpPr>
              <a:spLocks/>
            </p:cNvSpPr>
            <p:nvPr/>
          </p:nvSpPr>
          <p:spPr bwMode="auto">
            <a:xfrm>
              <a:off x="8667760" y="1206445"/>
              <a:ext cx="600050" cy="60005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 name="Graphic 16">
              <a:extLst>
                <a:ext uri="{FF2B5EF4-FFF2-40B4-BE49-F238E27FC236}">
                  <a16:creationId xmlns:a16="http://schemas.microsoft.com/office/drawing/2014/main" id="{D91C34BE-5991-D6A6-510E-D16E34DD1473}"/>
                </a:ext>
              </a:extLst>
            </p:cNvPr>
            <p:cNvSpPr>
              <a:spLocks/>
            </p:cNvSpPr>
            <p:nvPr/>
          </p:nvSpPr>
          <p:spPr>
            <a:xfrm flipH="1">
              <a:off x="8667760" y="1206445"/>
              <a:ext cx="600050" cy="60005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grpSp>
        <p:nvGrpSpPr>
          <p:cNvPr id="13" name="Group 12">
            <a:extLst>
              <a:ext uri="{FF2B5EF4-FFF2-40B4-BE49-F238E27FC236}">
                <a16:creationId xmlns:a16="http://schemas.microsoft.com/office/drawing/2014/main" id="{949E3096-956A-99DB-2CF7-957D31DC8778}"/>
              </a:ext>
            </a:extLst>
          </p:cNvPr>
          <p:cNvGrpSpPr/>
          <p:nvPr/>
        </p:nvGrpSpPr>
        <p:grpSpPr>
          <a:xfrm rot="5400000">
            <a:off x="6952077" y="4815644"/>
            <a:ext cx="334788" cy="334788"/>
            <a:chOff x="8667760" y="1206445"/>
            <a:chExt cx="600050" cy="600050"/>
          </a:xfrm>
        </p:grpSpPr>
        <p:sp>
          <p:nvSpPr>
            <p:cNvPr id="18" name="Freeform: Shape 115">
              <a:extLst>
                <a:ext uri="{FF2B5EF4-FFF2-40B4-BE49-F238E27FC236}">
                  <a16:creationId xmlns:a16="http://schemas.microsoft.com/office/drawing/2014/main" id="{FE9B7B92-1A46-D951-5785-210346DF50BC}"/>
                </a:ext>
                <a:ext uri="{C183D7F6-B498-43B3-948B-1728B52AA6E4}">
                  <adec:decorative xmlns:adec="http://schemas.microsoft.com/office/drawing/2017/decorative" val="1"/>
                </a:ext>
              </a:extLst>
            </p:cNvPr>
            <p:cNvSpPr>
              <a:spLocks/>
            </p:cNvSpPr>
            <p:nvPr/>
          </p:nvSpPr>
          <p:spPr bwMode="auto">
            <a:xfrm>
              <a:off x="8667760" y="1206445"/>
              <a:ext cx="600050" cy="60005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Graphic 16">
              <a:extLst>
                <a:ext uri="{FF2B5EF4-FFF2-40B4-BE49-F238E27FC236}">
                  <a16:creationId xmlns:a16="http://schemas.microsoft.com/office/drawing/2014/main" id="{1EE1DE19-8AD5-4B23-EEA3-9FF51D1F1EF1}"/>
                </a:ext>
              </a:extLst>
            </p:cNvPr>
            <p:cNvSpPr>
              <a:spLocks/>
            </p:cNvSpPr>
            <p:nvPr/>
          </p:nvSpPr>
          <p:spPr>
            <a:xfrm flipH="1">
              <a:off x="8667760" y="1206445"/>
              <a:ext cx="600050" cy="600050"/>
            </a:xfrm>
            <a:custGeom>
              <a:avLst/>
              <a:gdLst>
                <a:gd name="connsiteX0" fmla="*/ 95250 w 190500"/>
                <a:gd name="connsiteY0" fmla="*/ 0 h 190500"/>
                <a:gd name="connsiteX1" fmla="*/ 0 w 190500"/>
                <a:gd name="connsiteY1" fmla="*/ 95250 h 190500"/>
                <a:gd name="connsiteX2" fmla="*/ 95250 w 190500"/>
                <a:gd name="connsiteY2" fmla="*/ 190500 h 190500"/>
                <a:gd name="connsiteX3" fmla="*/ 190500 w 190500"/>
                <a:gd name="connsiteY3" fmla="*/ 95250 h 190500"/>
                <a:gd name="connsiteX4" fmla="*/ 95250 w 190500"/>
                <a:gd name="connsiteY4" fmla="*/ 0 h 190500"/>
                <a:gd name="connsiteX5" fmla="*/ 97918 w 190500"/>
                <a:gd name="connsiteY5" fmla="*/ 138405 h 190500"/>
                <a:gd name="connsiteX6" fmla="*/ 88617 w 190500"/>
                <a:gd name="connsiteY6" fmla="*/ 139096 h 190500"/>
                <a:gd name="connsiteX7" fmla="*/ 87816 w 190500"/>
                <a:gd name="connsiteY7" fmla="*/ 138405 h 190500"/>
                <a:gd name="connsiteX8" fmla="*/ 49707 w 190500"/>
                <a:gd name="connsiteY8" fmla="*/ 100297 h 190500"/>
                <a:gd name="connsiteX9" fmla="*/ 49017 w 190500"/>
                <a:gd name="connsiteY9" fmla="*/ 90994 h 190500"/>
                <a:gd name="connsiteX10" fmla="*/ 49708 w 190500"/>
                <a:gd name="connsiteY10" fmla="*/ 90193 h 190500"/>
                <a:gd name="connsiteX11" fmla="*/ 87823 w 190500"/>
                <a:gd name="connsiteY11" fmla="*/ 52093 h 190500"/>
                <a:gd name="connsiteX12" fmla="*/ 97926 w 190500"/>
                <a:gd name="connsiteY12" fmla="*/ 52095 h 190500"/>
                <a:gd name="connsiteX13" fmla="*/ 98616 w 190500"/>
                <a:gd name="connsiteY13" fmla="*/ 61397 h 190500"/>
                <a:gd name="connsiteX14" fmla="*/ 97924 w 190500"/>
                <a:gd name="connsiteY14" fmla="*/ 62198 h 190500"/>
                <a:gd name="connsiteX15" fmla="*/ 71997 w 190500"/>
                <a:gd name="connsiteY15" fmla="*/ 88113 h 190500"/>
                <a:gd name="connsiteX16" fmla="*/ 135736 w 190500"/>
                <a:gd name="connsiteY16" fmla="*/ 88110 h 190500"/>
                <a:gd name="connsiteX17" fmla="*/ 142814 w 190500"/>
                <a:gd name="connsiteY17" fmla="*/ 94284 h 190500"/>
                <a:gd name="connsiteX18" fmla="*/ 142880 w 190500"/>
                <a:gd name="connsiteY18" fmla="*/ 95254 h 190500"/>
                <a:gd name="connsiteX19" fmla="*/ 136706 w 190500"/>
                <a:gd name="connsiteY19" fmla="*/ 102332 h 190500"/>
                <a:gd name="connsiteX20" fmla="*/ 135736 w 190500"/>
                <a:gd name="connsiteY20" fmla="*/ 102398 h 190500"/>
                <a:gd name="connsiteX21" fmla="*/ 72016 w 190500"/>
                <a:gd name="connsiteY21" fmla="*/ 102400 h 190500"/>
                <a:gd name="connsiteX22" fmla="*/ 97918 w 190500"/>
                <a:gd name="connsiteY22" fmla="*/ 128302 h 190500"/>
                <a:gd name="connsiteX23" fmla="*/ 98609 w 190500"/>
                <a:gd name="connsiteY23" fmla="*/ 137604 h 190500"/>
                <a:gd name="connsiteX24" fmla="*/ 97918 w 190500"/>
                <a:gd name="connsiteY24" fmla="*/ 13840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0" h="190500">
                  <a:moveTo>
                    <a:pt x="95250" y="0"/>
                  </a:moveTo>
                  <a:cubicBezTo>
                    <a:pt x="42645" y="0"/>
                    <a:pt x="0" y="42645"/>
                    <a:pt x="0" y="95250"/>
                  </a:cubicBezTo>
                  <a:cubicBezTo>
                    <a:pt x="0" y="147855"/>
                    <a:pt x="42645" y="190500"/>
                    <a:pt x="95250" y="190500"/>
                  </a:cubicBezTo>
                  <a:cubicBezTo>
                    <a:pt x="147855" y="190500"/>
                    <a:pt x="190500" y="147855"/>
                    <a:pt x="190500" y="95250"/>
                  </a:cubicBezTo>
                  <a:cubicBezTo>
                    <a:pt x="190500" y="42645"/>
                    <a:pt x="147855" y="0"/>
                    <a:pt x="95250" y="0"/>
                  </a:cubicBezTo>
                  <a:close/>
                  <a:moveTo>
                    <a:pt x="97918" y="138405"/>
                  </a:moveTo>
                  <a:cubicBezTo>
                    <a:pt x="95381" y="140941"/>
                    <a:pt x="91413" y="141172"/>
                    <a:pt x="88617" y="139096"/>
                  </a:cubicBezTo>
                  <a:lnTo>
                    <a:pt x="87816" y="138405"/>
                  </a:lnTo>
                  <a:lnTo>
                    <a:pt x="49707" y="100297"/>
                  </a:lnTo>
                  <a:cubicBezTo>
                    <a:pt x="47171" y="97761"/>
                    <a:pt x="46941" y="93791"/>
                    <a:pt x="49017" y="90994"/>
                  </a:cubicBezTo>
                  <a:lnTo>
                    <a:pt x="49708" y="90193"/>
                  </a:lnTo>
                  <a:lnTo>
                    <a:pt x="87823" y="52093"/>
                  </a:lnTo>
                  <a:cubicBezTo>
                    <a:pt x="90613" y="49304"/>
                    <a:pt x="95137" y="49305"/>
                    <a:pt x="97926" y="52095"/>
                  </a:cubicBezTo>
                  <a:cubicBezTo>
                    <a:pt x="100461" y="54632"/>
                    <a:pt x="100692" y="58601"/>
                    <a:pt x="98616" y="61397"/>
                  </a:cubicBezTo>
                  <a:lnTo>
                    <a:pt x="97924" y="62198"/>
                  </a:lnTo>
                  <a:lnTo>
                    <a:pt x="71997" y="88113"/>
                  </a:lnTo>
                  <a:lnTo>
                    <a:pt x="135736" y="88110"/>
                  </a:lnTo>
                  <a:cubicBezTo>
                    <a:pt x="139353" y="88110"/>
                    <a:pt x="142342" y="90797"/>
                    <a:pt x="142814" y="94284"/>
                  </a:cubicBezTo>
                  <a:lnTo>
                    <a:pt x="142880" y="95254"/>
                  </a:lnTo>
                  <a:cubicBezTo>
                    <a:pt x="142880" y="98870"/>
                    <a:pt x="140192" y="101859"/>
                    <a:pt x="136706" y="102332"/>
                  </a:cubicBezTo>
                  <a:lnTo>
                    <a:pt x="135736" y="102398"/>
                  </a:lnTo>
                  <a:lnTo>
                    <a:pt x="72016" y="102400"/>
                  </a:lnTo>
                  <a:lnTo>
                    <a:pt x="97918" y="128302"/>
                  </a:lnTo>
                  <a:cubicBezTo>
                    <a:pt x="100454" y="130838"/>
                    <a:pt x="100685" y="134807"/>
                    <a:pt x="98609" y="137604"/>
                  </a:cubicBezTo>
                  <a:lnTo>
                    <a:pt x="97918" y="138405"/>
                  </a:ln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1" i="0" u="none" strike="noStrike" kern="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grpSp>
      <p:sp>
        <p:nvSpPr>
          <p:cNvPr id="10" name="Rectangle: Top Corners Rounded 9">
            <a:extLst>
              <a:ext uri="{FF2B5EF4-FFF2-40B4-BE49-F238E27FC236}">
                <a16:creationId xmlns:a16="http://schemas.microsoft.com/office/drawing/2014/main" id="{84634FD0-9733-F525-F35B-6CEFDD3CC12D}"/>
              </a:ext>
              <a:ext uri="{C183D7F6-B498-43B3-948B-1728B52AA6E4}">
                <adec:decorative xmlns:adec="http://schemas.microsoft.com/office/drawing/2017/decorative" val="1"/>
              </a:ext>
            </a:extLst>
          </p:cNvPr>
          <p:cNvSpPr/>
          <p:nvPr/>
        </p:nvSpPr>
        <p:spPr bwMode="auto">
          <a:xfrm>
            <a:off x="998743" y="2950537"/>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64731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50000" fill="hold" grpId="1" nodeType="withEffect">
                                  <p:stCondLst>
                                    <p:cond delay="300"/>
                                  </p:stCondLst>
                                  <p:childTnLst>
                                    <p:animMotion origin="layout" path="M -0.01836 3.33333E-6 L -2.08333E-7 3.33333E-6 " pathEditMode="relative" rAng="0" ptsTypes="AA">
                                      <p:cBhvr>
                                        <p:cTn id="9" dur="500" fill="hold"/>
                                        <p:tgtEl>
                                          <p:spTgt spid="11"/>
                                        </p:tgtEl>
                                        <p:attrNameLst>
                                          <p:attrName>ppt_x</p:attrName>
                                          <p:attrName>ppt_y</p:attrName>
                                        </p:attrNameLst>
                                      </p:cBhvr>
                                      <p:rCtr x="911" y="0"/>
                                    </p:animMotion>
                                  </p:childTnLst>
                                </p:cTn>
                              </p:par>
                              <p:par>
                                <p:cTn id="10" presetID="10" presetClass="entr" presetSubtype="0" fill="hold" grpId="0" nodeType="withEffect">
                                  <p:stCondLst>
                                    <p:cond delay="3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50000" fill="hold" grpId="1" nodeType="withEffect">
                                  <p:stCondLst>
                                    <p:cond delay="300"/>
                                  </p:stCondLst>
                                  <p:childTnLst>
                                    <p:animMotion origin="layout" path="M -0.01836 3.33333E-6 L -2.08333E-7 3.33333E-6 " pathEditMode="relative" rAng="0" ptsTypes="AA">
                                      <p:cBhvr>
                                        <p:cTn id="14" dur="500" fill="hold"/>
                                        <p:tgtEl>
                                          <p:spTgt spid="30"/>
                                        </p:tgtEl>
                                        <p:attrNameLst>
                                          <p:attrName>ppt_x</p:attrName>
                                          <p:attrName>ppt_y</p:attrName>
                                        </p:attrNameLst>
                                      </p:cBhvr>
                                      <p:rCtr x="911" y="0"/>
                                    </p:animMotion>
                                  </p:childTnLst>
                                </p:cTn>
                              </p:par>
                              <p:par>
                                <p:cTn id="15" presetID="10" presetClass="entr" presetSubtype="0" fill="hold" grpId="0" nodeType="withEffect">
                                  <p:stCondLst>
                                    <p:cond delay="3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50000" fill="hold" grpId="1" nodeType="withEffect">
                                  <p:stCondLst>
                                    <p:cond delay="300"/>
                                  </p:stCondLst>
                                  <p:childTnLst>
                                    <p:animMotion origin="layout" path="M -0.01836 3.33333E-6 L -2.08333E-7 3.33333E-6 " pathEditMode="relative" rAng="0" ptsTypes="AA">
                                      <p:cBhvr>
                                        <p:cTn id="19" dur="500" fill="hold"/>
                                        <p:tgtEl>
                                          <p:spTgt spid="10"/>
                                        </p:tgtEl>
                                        <p:attrNameLst>
                                          <p:attrName>ppt_x</p:attrName>
                                          <p:attrName>ppt_y</p:attrName>
                                        </p:attrNameLst>
                                      </p:cBhvr>
                                      <p:rCtr x="911" y="0"/>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50000" fill="hold" grpId="1" nodeType="withEffect">
                                  <p:stCondLst>
                                    <p:cond delay="300"/>
                                  </p:stCondLst>
                                  <p:childTnLst>
                                    <p:animMotion origin="layout" path="M -0.01836 3.33333E-6 L -2.08333E-7 3.33333E-6 " pathEditMode="relative" rAng="0" ptsTypes="AA">
                                      <p:cBhvr>
                                        <p:cTn id="24" dur="500" fill="hold"/>
                                        <p:tgtEl>
                                          <p:spTgt spid="21"/>
                                        </p:tgtEl>
                                        <p:attrNameLst>
                                          <p:attrName>ppt_x</p:attrName>
                                          <p:attrName>ppt_y</p:attrName>
                                        </p:attrNameLst>
                                      </p:cBhvr>
                                      <p:rCtr x="911" y="0"/>
                                    </p:animMotion>
                                  </p:childTnLst>
                                </p:cTn>
                              </p:par>
                              <p:par>
                                <p:cTn id="25" presetID="10" presetClass="entr" presetSubtype="0" fill="hold" grpId="0" nodeType="withEffect">
                                  <p:stCondLst>
                                    <p:cond delay="30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50000" fill="hold" grpId="1" nodeType="withEffect">
                                  <p:stCondLst>
                                    <p:cond delay="300"/>
                                  </p:stCondLst>
                                  <p:childTnLst>
                                    <p:animMotion origin="layout" path="M -0.01836 3.33333E-6 L -2.08333E-7 3.33333E-6 " pathEditMode="relative" rAng="0" ptsTypes="AA">
                                      <p:cBhvr>
                                        <p:cTn id="29" dur="500" fill="hold"/>
                                        <p:tgtEl>
                                          <p:spTgt spid="9"/>
                                        </p:tgtEl>
                                        <p:attrNameLst>
                                          <p:attrName>ppt_x</p:attrName>
                                          <p:attrName>ppt_y</p:attrName>
                                        </p:attrNameLst>
                                      </p:cBhvr>
                                      <p:rCtr x="911" y="0"/>
                                    </p:animMotion>
                                  </p:childTnLst>
                                </p:cTn>
                              </p:par>
                            </p:childTnLst>
                          </p:cTn>
                        </p:par>
                        <p:par>
                          <p:cTn id="30" fill="hold">
                            <p:stCondLst>
                              <p:cond delay="800"/>
                            </p:stCondLst>
                            <p:childTnLst>
                              <p:par>
                                <p:cTn id="31" presetID="10" presetClass="entr" presetSubtype="0"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500"/>
                                        <p:tgtEl>
                                          <p:spTgt spid="5"/>
                                        </p:tgtEl>
                                      </p:cBhvr>
                                    </p:animEffect>
                                  </p:childTnLst>
                                </p:cTn>
                              </p:par>
                              <p:par>
                                <p:cTn id="34" presetID="42" presetClass="path" presetSubtype="0" decel="50000" fill="hold" grpId="1" nodeType="withEffect">
                                  <p:stCondLst>
                                    <p:cond delay="0"/>
                                  </p:stCondLst>
                                  <p:childTnLst>
                                    <p:animMotion origin="layout" path="M -0.01836 3.33333E-6 L -2.08333E-7 3.33333E-6 " pathEditMode="relative" rAng="0" ptsTypes="AA">
                                      <p:cBhvr>
                                        <p:cTn id="35" dur="500" fill="hold"/>
                                        <p:tgtEl>
                                          <p:spTgt spid="5"/>
                                        </p:tgtEl>
                                        <p:attrNameLst>
                                          <p:attrName>ppt_x</p:attrName>
                                          <p:attrName>ppt_y</p:attrName>
                                        </p:attrNameLst>
                                      </p:cBhvr>
                                      <p:rCtr x="911" y="0"/>
                                    </p:animMotion>
                                  </p:childTnLst>
                                </p:cTn>
                              </p:par>
                            </p:childTnLst>
                          </p:cTn>
                        </p:par>
                        <p:par>
                          <p:cTn id="36" fill="hold">
                            <p:stCondLst>
                              <p:cond delay="13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42" presetClass="path" presetSubtype="0" decel="50000" fill="hold" grpId="1" nodeType="withEffect">
                                  <p:stCondLst>
                                    <p:cond delay="0"/>
                                  </p:stCondLst>
                                  <p:childTnLst>
                                    <p:animMotion origin="layout" path="M -0.01836 3.33333E-6 L -2.08333E-7 3.33333E-6 " pathEditMode="relative" rAng="0" ptsTypes="AA">
                                      <p:cBhvr>
                                        <p:cTn id="41" dur="500" fill="hold"/>
                                        <p:tgtEl>
                                          <p:spTgt spid="15"/>
                                        </p:tgtEl>
                                        <p:attrNameLst>
                                          <p:attrName>ppt_x</p:attrName>
                                          <p:attrName>ppt_y</p:attrName>
                                        </p:attrNameLst>
                                      </p:cBhvr>
                                      <p:rCtr x="911" y="0"/>
                                    </p:animMotion>
                                  </p:childTnLst>
                                </p:cTn>
                              </p:par>
                            </p:childTnLst>
                          </p:cTn>
                        </p:par>
                        <p:par>
                          <p:cTn id="42" fill="hold">
                            <p:stCondLst>
                              <p:cond delay="1800"/>
                            </p:stCondLst>
                            <p:childTnLst>
                              <p:par>
                                <p:cTn id="43" presetID="10" presetClass="entr" presetSubtype="0" fill="hold" nodeType="after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par>
                                <p:cTn id="46" presetID="42" presetClass="path" presetSubtype="0" decel="50000" fill="hold" nodeType="withEffect">
                                  <p:stCondLst>
                                    <p:cond delay="0"/>
                                  </p:stCondLst>
                                  <p:childTnLst>
                                    <p:animMotion origin="layout" path="M -0.01836 3.33333E-6 L -2.08333E-7 3.33333E-6 " pathEditMode="relative" rAng="0" ptsTypes="AA">
                                      <p:cBhvr>
                                        <p:cTn id="47" dur="500" fill="hold"/>
                                        <p:tgtEl>
                                          <p:spTgt spid="7"/>
                                        </p:tgtEl>
                                        <p:attrNameLst>
                                          <p:attrName>ppt_x</p:attrName>
                                          <p:attrName>ppt_y</p:attrName>
                                        </p:attrNameLst>
                                      </p:cBhvr>
                                      <p:rCtr x="911" y="0"/>
                                    </p:animMotion>
                                  </p:childTnLst>
                                </p:cTn>
                              </p:par>
                            </p:childTnLst>
                          </p:cTn>
                        </p:par>
                        <p:par>
                          <p:cTn id="48" fill="hold">
                            <p:stCondLst>
                              <p:cond delay="2300"/>
                            </p:stCondLst>
                            <p:childTnLst>
                              <p:par>
                                <p:cTn id="49" presetID="10" presetClass="entr" presetSubtype="0" fill="hold" nodeType="afterEffect">
                                  <p:stCondLst>
                                    <p:cond delay="0"/>
                                  </p:stCondLst>
                                  <p:childTnLst>
                                    <p:set>
                                      <p:cBhvr>
                                        <p:cTn id="50" dur="1" fill="hold">
                                          <p:stCondLst>
                                            <p:cond delay="0"/>
                                          </p:stCondLst>
                                        </p:cTn>
                                        <p:tgtEl>
                                          <p:spTgt spid="1026"/>
                                        </p:tgtEl>
                                        <p:attrNameLst>
                                          <p:attrName>style.visibility</p:attrName>
                                        </p:attrNameLst>
                                      </p:cBhvr>
                                      <p:to>
                                        <p:strVal val="visible"/>
                                      </p:to>
                                    </p:set>
                                    <p:animEffect transition="in" filter="fade">
                                      <p:cBhvr>
                                        <p:cTn id="51" dur="500"/>
                                        <p:tgtEl>
                                          <p:spTgt spid="1026"/>
                                        </p:tgtEl>
                                      </p:cBhvr>
                                    </p:animEffect>
                                  </p:childTnLst>
                                </p:cTn>
                              </p:par>
                              <p:par>
                                <p:cTn id="52" presetID="42" presetClass="path" presetSubtype="0" decel="50000" fill="hold" nodeType="withEffect">
                                  <p:stCondLst>
                                    <p:cond delay="0"/>
                                  </p:stCondLst>
                                  <p:childTnLst>
                                    <p:animMotion origin="layout" path="M -0.01836 3.33333E-6 L -2.08333E-7 3.33333E-6 " pathEditMode="relative" rAng="0" ptsTypes="AA">
                                      <p:cBhvr>
                                        <p:cTn id="53" dur="500" fill="hold"/>
                                        <p:tgtEl>
                                          <p:spTgt spid="1026"/>
                                        </p:tgtEl>
                                        <p:attrNameLst>
                                          <p:attrName>ppt_x</p:attrName>
                                          <p:attrName>ppt_y</p:attrName>
                                        </p:attrNameLst>
                                      </p:cBhvr>
                                      <p:rCtr x="911" y="0"/>
                                    </p:animMotion>
                                  </p:childTnLst>
                                </p:cTn>
                              </p:par>
                            </p:childTnLst>
                          </p:cTn>
                        </p:par>
                        <p:par>
                          <p:cTn id="54" fill="hold">
                            <p:stCondLst>
                              <p:cond delay="28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par>
                                <p:cTn id="58" presetID="42" presetClass="path" presetSubtype="0" decel="50000" fill="hold" grpId="1" nodeType="withEffect">
                                  <p:stCondLst>
                                    <p:cond delay="0"/>
                                  </p:stCondLst>
                                  <p:childTnLst>
                                    <p:animMotion origin="layout" path="M -0.01836 3.33333E-6 L -2.08333E-7 3.33333E-6 " pathEditMode="relative" rAng="0" ptsTypes="AA">
                                      <p:cBhvr>
                                        <p:cTn id="59" dur="500" fill="hold"/>
                                        <p:tgtEl>
                                          <p:spTgt spid="22"/>
                                        </p:tgtEl>
                                        <p:attrNameLst>
                                          <p:attrName>ppt_x</p:attrName>
                                          <p:attrName>ppt_y</p:attrName>
                                        </p:attrNameLst>
                                      </p:cBhvr>
                                      <p:rCtr x="911" y="0"/>
                                    </p:animMotion>
                                  </p:childTnLst>
                                </p:cTn>
                              </p:par>
                            </p:childTnLst>
                          </p:cTn>
                        </p:par>
                        <p:par>
                          <p:cTn id="60" fill="hold">
                            <p:stCondLst>
                              <p:cond delay="3300"/>
                            </p:stCondLst>
                            <p:childTnLst>
                              <p:par>
                                <p:cTn id="61" presetID="10" presetClass="entr" presetSubtype="0" fill="hold" grpId="0"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par>
                                <p:cTn id="64" presetID="42" presetClass="path" presetSubtype="0" decel="50000" fill="hold" grpId="1" nodeType="withEffect">
                                  <p:stCondLst>
                                    <p:cond delay="0"/>
                                  </p:stCondLst>
                                  <p:childTnLst>
                                    <p:animMotion origin="layout" path="M -0.01836 3.33333E-6 L -2.08333E-7 3.33333E-6 " pathEditMode="relative" rAng="0" ptsTypes="AA">
                                      <p:cBhvr>
                                        <p:cTn id="65" dur="500" fill="hold"/>
                                        <p:tgtEl>
                                          <p:spTgt spid="23"/>
                                        </p:tgtEl>
                                        <p:attrNameLst>
                                          <p:attrName>ppt_x</p:attrName>
                                          <p:attrName>ppt_y</p:attrName>
                                        </p:attrNameLst>
                                      </p:cBhvr>
                                      <p:rCtr x="911" y="0"/>
                                    </p:animMotion>
                                  </p:childTnLst>
                                </p:cTn>
                              </p:par>
                            </p:childTnLst>
                          </p:cTn>
                        </p:par>
                        <p:par>
                          <p:cTn id="66" fill="hold">
                            <p:stCondLst>
                              <p:cond delay="3800"/>
                            </p:stCondLst>
                            <p:childTnLst>
                              <p:par>
                                <p:cTn id="67" presetID="10" presetClass="entr" presetSubtype="0" fill="hold" nodeType="after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par>
                                <p:cTn id="70" presetID="64" presetClass="path" presetSubtype="0" accel="50000" decel="50000" fill="hold" nodeType="withEffect">
                                  <p:stCondLst>
                                    <p:cond delay="0"/>
                                  </p:stCondLst>
                                  <p:childTnLst>
                                    <p:animMotion origin="layout" path="M -4.16667E-6 -0.03611 L -4.16667E-6 1.11111E-6 " pathEditMode="relative" rAng="0" ptsTypes="AA">
                                      <p:cBhvr>
                                        <p:cTn id="71" dur="500" fill="hold"/>
                                        <p:tgtEl>
                                          <p:spTgt spid="13"/>
                                        </p:tgtEl>
                                        <p:attrNameLst>
                                          <p:attrName>ppt_x</p:attrName>
                                          <p:attrName>ppt_y</p:attrName>
                                        </p:attrNameLst>
                                      </p:cBhvr>
                                      <p:rCtr x="0" y="1806"/>
                                    </p:animMotion>
                                  </p:childTnLst>
                                </p:cTn>
                              </p:par>
                            </p:childTnLst>
                          </p:cTn>
                        </p:par>
                        <p:par>
                          <p:cTn id="72" fill="hold">
                            <p:stCondLst>
                              <p:cond delay="4300"/>
                            </p:stCondLst>
                            <p:childTnLst>
                              <p:par>
                                <p:cTn id="73" presetID="10" presetClass="entr" presetSubtype="0" fill="hold"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par>
                                <p:cTn id="76" presetID="42" presetClass="path" presetSubtype="0" decel="50000" fill="hold" nodeType="withEffect">
                                  <p:stCondLst>
                                    <p:cond delay="0"/>
                                  </p:stCondLst>
                                  <p:childTnLst>
                                    <p:animMotion origin="layout" path="M -0.01836 3.33333E-6 L -2.08333E-7 3.33333E-6 " pathEditMode="relative" rAng="0" ptsTypes="AA">
                                      <p:cBhvr>
                                        <p:cTn id="77" dur="500" fill="hold"/>
                                        <p:tgtEl>
                                          <p:spTgt spid="26"/>
                                        </p:tgtEl>
                                        <p:attrNameLst>
                                          <p:attrName>ppt_x</p:attrName>
                                          <p:attrName>ppt_y</p:attrName>
                                        </p:attrNameLst>
                                      </p:cBhvr>
                                      <p:rCtr x="91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1" grpId="0" animBg="1"/>
      <p:bldP spid="11" grpId="1" animBg="1"/>
      <p:bldP spid="21" grpId="0"/>
      <p:bldP spid="21" grpId="1"/>
      <p:bldP spid="5" grpId="0" animBg="1"/>
      <p:bldP spid="5" grpId="1" animBg="1"/>
      <p:bldP spid="15" grpId="0"/>
      <p:bldP spid="15" grpId="1"/>
      <p:bldP spid="22" grpId="0"/>
      <p:bldP spid="22" grpId="1"/>
      <p:bldP spid="23" grpId="0"/>
      <p:bldP spid="23" grpId="1"/>
      <p:bldP spid="30" grpId="0" animBg="1"/>
      <p:bldP spid="30" grpId="1" animBg="1"/>
      <p:bldP spid="10" grpId="0" animBg="1"/>
      <p:bldP spid="10"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A55E2F-7CEB-B585-6BE6-336A586ACC1A}"/>
              </a:ext>
              <a:ext uri="{C183D7F6-B498-43B3-948B-1728B52AA6E4}">
                <adec:decorative xmlns:adec="http://schemas.microsoft.com/office/drawing/2017/decorative" val="1"/>
              </a:ext>
            </a:extLst>
          </p:cNvPr>
          <p:cNvPicPr>
            <a:picLocks/>
          </p:cNvPicPr>
          <p:nvPr/>
        </p:nvPicPr>
        <p:blipFill rotWithShape="1">
          <a:blip r:embed="rId3">
            <a:alphaModFix amt="45000"/>
          </a:blip>
          <a:srcRect l="7533" t="35613" r="65955" b="15124"/>
          <a:stretch/>
        </p:blipFill>
        <p:spPr>
          <a:xfrm>
            <a:off x="323727" y="1605736"/>
            <a:ext cx="11556250" cy="4618038"/>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3" name="Title 2">
            <a:extLst>
              <a:ext uri="{FF2B5EF4-FFF2-40B4-BE49-F238E27FC236}">
                <a16:creationId xmlns:a16="http://schemas.microsoft.com/office/drawing/2014/main" id="{BA826672-CC29-3E57-B8B1-31940920077A}"/>
              </a:ext>
            </a:extLst>
          </p:cNvPr>
          <p:cNvSpPr>
            <a:spLocks noGrp="1"/>
          </p:cNvSpPr>
          <p:nvPr>
            <p:ph type="title"/>
          </p:nvPr>
        </p:nvSpPr>
        <p:spPr>
          <a:xfrm>
            <a:off x="323727" y="448860"/>
            <a:ext cx="11556250" cy="492443"/>
          </a:xfrm>
        </p:spPr>
        <p:txBody>
          <a:bodyPr/>
          <a:lstStyle/>
          <a:p>
            <a:pPr algn="ctr"/>
            <a:r>
              <a:rPr lang="en-US" sz="3200">
                <a:solidFill>
                  <a:schemeClr val="tx1"/>
                </a:solidFill>
              </a:rPr>
              <a:t>What are Agents</a:t>
            </a:r>
            <a:endParaRPr lang="en-AU" sz="3200">
              <a:solidFill>
                <a:schemeClr val="tx1"/>
              </a:solidFill>
            </a:endParaRPr>
          </a:p>
        </p:txBody>
      </p:sp>
      <p:sp>
        <p:nvSpPr>
          <p:cNvPr id="4" name="Text Placeholder 3">
            <a:extLst>
              <a:ext uri="{FF2B5EF4-FFF2-40B4-BE49-F238E27FC236}">
                <a16:creationId xmlns:a16="http://schemas.microsoft.com/office/drawing/2014/main" id="{32D1DB38-CB43-A08A-200A-177F4E3B6CBF}"/>
              </a:ext>
            </a:extLst>
          </p:cNvPr>
          <p:cNvSpPr>
            <a:spLocks noGrp="1"/>
          </p:cNvSpPr>
          <p:nvPr>
            <p:ph type="body" sz="quarter" idx="4294967295"/>
          </p:nvPr>
        </p:nvSpPr>
        <p:spPr>
          <a:xfrm>
            <a:off x="418643" y="1946970"/>
            <a:ext cx="6337300" cy="4618037"/>
          </a:xfrm>
          <a:prstGeom prst="roundRect">
            <a:avLst>
              <a:gd name="adj" fmla="val 4496"/>
            </a:avLst>
          </a:prstGeom>
          <a:ln>
            <a:noFill/>
          </a:ln>
        </p:spPr>
        <p:txBody>
          <a:bodyPr wrap="square" anchor="t" anchorCtr="0">
            <a:noAutofit/>
          </a:bodyPr>
          <a:lstStyle/>
          <a:p>
            <a:pPr marL="0" indent="0">
              <a:buNone/>
            </a:pPr>
            <a:r>
              <a:rPr lang="en-US" sz="2400">
                <a:latin typeface="Segoe UI Semibold" panose="020B0702040204020203" pitchFamily="34" charset="0"/>
                <a:cs typeface="Segoe UI Semibold" panose="020B0702040204020203" pitchFamily="34" charset="0"/>
              </a:rPr>
              <a:t> Agents offer a tailored Copilot experience</a:t>
            </a:r>
          </a:p>
          <a:p>
            <a:pPr lvl="1"/>
            <a:endParaRPr lang="en-US" sz="2000">
              <a:latin typeface="Segoe UI" panose="020B0502040204020203" pitchFamily="34" charset="0"/>
              <a:cs typeface="Segoe UI" panose="020B0502040204020203" pitchFamily="34" charset="0"/>
            </a:endParaRPr>
          </a:p>
          <a:p>
            <a:pPr lvl="1"/>
            <a:r>
              <a:rPr lang="en-US" sz="1800">
                <a:latin typeface="Segoe UI" panose="020B0502040204020203" pitchFamily="34" charset="0"/>
                <a:cs typeface="Segoe UI" panose="020B0502040204020203" pitchFamily="34" charset="0"/>
              </a:rPr>
              <a:t>Agents look and function like Copilot, but: </a:t>
            </a:r>
          </a:p>
          <a:p>
            <a:pPr lvl="1"/>
            <a:endParaRPr lang="en-US" sz="1800">
              <a:latin typeface="Segoe UI" panose="020B0502040204020203" pitchFamily="34" charset="0"/>
              <a:cs typeface="Segoe UI" panose="020B0502040204020203" pitchFamily="34" charset="0"/>
            </a:endParaRPr>
          </a:p>
          <a:p>
            <a:pPr marL="742950" lvl="1" indent="-285750">
              <a:buFont typeface="Arial" panose="020B0604020202020204" pitchFamily="34" charset="0"/>
              <a:buChar char="•"/>
            </a:pPr>
            <a:r>
              <a:rPr lang="en-US" sz="1800">
                <a:latin typeface="Segoe UI" panose="020B0502040204020203" pitchFamily="34" charset="0"/>
                <a:cs typeface="Segoe UI" panose="020B0502040204020203" pitchFamily="34" charset="0"/>
              </a:rPr>
              <a:t>Tailor the experience to a specific use case</a:t>
            </a:r>
          </a:p>
          <a:p>
            <a:pPr lvl="1"/>
            <a:endParaRPr lang="en-US" sz="1800">
              <a:latin typeface="Segoe UI" panose="020B0502040204020203" pitchFamily="34" charset="0"/>
              <a:cs typeface="Segoe UI" panose="020B0502040204020203" pitchFamily="34" charset="0"/>
            </a:endParaRPr>
          </a:p>
          <a:p>
            <a:pPr marL="742950" lvl="1" indent="-285750">
              <a:buFont typeface="Arial" panose="020B0604020202020204" pitchFamily="34" charset="0"/>
              <a:buChar char="•"/>
            </a:pPr>
            <a:r>
              <a:rPr lang="en-US" sz="1800">
                <a:latin typeface="Segoe UI" panose="020B0502040204020203" pitchFamily="34" charset="0"/>
                <a:cs typeface="Segoe UI" panose="020B0502040204020203" pitchFamily="34" charset="0"/>
              </a:rPr>
              <a:t>Focus on the data (inside or outside of M365) that’s applicable for your specific business needs</a:t>
            </a:r>
          </a:p>
          <a:p>
            <a:pPr marL="742950" lvl="1" indent="-285750">
              <a:buFont typeface="Arial" panose="020B0604020202020204" pitchFamily="34" charset="0"/>
              <a:buChar char="•"/>
            </a:pPr>
            <a:endParaRPr lang="en-US" sz="1800">
              <a:latin typeface="Segoe UI" panose="020B0502040204020203" pitchFamily="34" charset="0"/>
              <a:cs typeface="Segoe UI" panose="020B0502040204020203" pitchFamily="34" charset="0"/>
            </a:endParaRPr>
          </a:p>
          <a:p>
            <a:pPr marL="742950" lvl="1" indent="-285750">
              <a:buFont typeface="Arial" panose="020B0604020202020204" pitchFamily="34" charset="0"/>
              <a:buChar char="•"/>
            </a:pPr>
            <a:r>
              <a:rPr lang="en-US" sz="1800">
                <a:latin typeface="Segoe UI" panose="020B0502040204020203" pitchFamily="34" charset="0"/>
                <a:cs typeface="Segoe UI" panose="020B0502040204020203" pitchFamily="34" charset="0"/>
              </a:rPr>
              <a:t>Can be equipped with skills, such as sending emails, updating records, or creating support tickets</a:t>
            </a:r>
          </a:p>
          <a:p>
            <a:pPr lvl="1"/>
            <a:endParaRPr lang="en-US"/>
          </a:p>
          <a:p>
            <a:pPr lvl="1"/>
            <a:r>
              <a:rPr lang="en-US"/>
              <a:t>	</a:t>
            </a:r>
          </a:p>
          <a:p>
            <a:endParaRPr lang="en-AU"/>
          </a:p>
        </p:txBody>
      </p:sp>
      <p:grpSp>
        <p:nvGrpSpPr>
          <p:cNvPr id="16" name="Group 15">
            <a:extLst>
              <a:ext uri="{FF2B5EF4-FFF2-40B4-BE49-F238E27FC236}">
                <a16:creationId xmlns:a16="http://schemas.microsoft.com/office/drawing/2014/main" id="{44DD9E31-9623-CB35-F0B7-3FDDB24E88C9}"/>
              </a:ext>
            </a:extLst>
          </p:cNvPr>
          <p:cNvGrpSpPr/>
          <p:nvPr/>
        </p:nvGrpSpPr>
        <p:grpSpPr>
          <a:xfrm>
            <a:off x="10358234" y="3670469"/>
            <a:ext cx="1308876" cy="1249348"/>
            <a:chOff x="3005966" y="2061869"/>
            <a:chExt cx="1867272" cy="1894362"/>
          </a:xfrm>
        </p:grpSpPr>
        <p:sp>
          <p:nvSpPr>
            <p:cNvPr id="17" name="Graphic 14">
              <a:extLst>
                <a:ext uri="{FF2B5EF4-FFF2-40B4-BE49-F238E27FC236}">
                  <a16:creationId xmlns:a16="http://schemas.microsoft.com/office/drawing/2014/main" id="{F84E1D6A-4DF8-1E38-2E59-C7554AA36865}"/>
                </a:ext>
              </a:extLst>
            </p:cNvPr>
            <p:cNvSpPr/>
            <p:nvPr/>
          </p:nvSpPr>
          <p:spPr>
            <a:xfrm>
              <a:off x="3005966" y="2088969"/>
              <a:ext cx="1867272" cy="1867262"/>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gradFill flip="none" rotWithShape="1">
              <a:gsLst>
                <a:gs pos="0">
                  <a:srgbClr val="8DE971"/>
                </a:gs>
                <a:gs pos="80000">
                  <a:srgbClr val="0078D4"/>
                </a:gs>
              </a:gsLst>
              <a:path path="circle">
                <a:fillToRect l="100000" t="100000"/>
              </a:path>
              <a:tileRect r="-100000" b="-100000"/>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FD388B06-528F-BF8B-D469-1858A717E3FD}"/>
                </a:ext>
              </a:extLst>
            </p:cNvPr>
            <p:cNvSpPr txBox="1"/>
            <p:nvPr/>
          </p:nvSpPr>
          <p:spPr>
            <a:xfrm>
              <a:off x="3085248" y="2832652"/>
              <a:ext cx="1454707" cy="653346"/>
            </a:xfrm>
            <a:prstGeom prst="rect">
              <a:avLst/>
            </a:prstGeom>
            <a:noFill/>
          </p:spPr>
          <p:txBody>
            <a:bodyPr vert="horz" wrap="square" lIns="0" tIns="0" rIns="0" bIns="0" rtlCol="0" anchor="ctr">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IT</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agent</a:t>
              </a:r>
              <a:endParaRPr kumimoji="0" lang="en-US" sz="12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endParaRPr>
            </a:p>
          </p:txBody>
        </p:sp>
        <p:pic>
          <p:nvPicPr>
            <p:cNvPr id="19" name="Graphic 18" descr="Programmer male with solid fill">
              <a:extLst>
                <a:ext uri="{FF2B5EF4-FFF2-40B4-BE49-F238E27FC236}">
                  <a16:creationId xmlns:a16="http://schemas.microsoft.com/office/drawing/2014/main" id="{90198A34-A4BD-DC1B-2721-B4B724AB3CE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992885" y="2061869"/>
              <a:ext cx="614400" cy="614400"/>
            </a:xfrm>
            <a:prstGeom prst="rect">
              <a:avLst/>
            </a:prstGeom>
          </p:spPr>
        </p:pic>
      </p:grpSp>
      <p:grpSp>
        <p:nvGrpSpPr>
          <p:cNvPr id="20" name="Group 19">
            <a:extLst>
              <a:ext uri="{FF2B5EF4-FFF2-40B4-BE49-F238E27FC236}">
                <a16:creationId xmlns:a16="http://schemas.microsoft.com/office/drawing/2014/main" id="{4D2E42DB-1163-C02A-9BBE-1A7D3E31EEA1}"/>
              </a:ext>
            </a:extLst>
          </p:cNvPr>
          <p:cNvGrpSpPr/>
          <p:nvPr/>
        </p:nvGrpSpPr>
        <p:grpSpPr>
          <a:xfrm>
            <a:off x="7273805" y="3710539"/>
            <a:ext cx="1304905" cy="1247483"/>
            <a:chOff x="7534968" y="2101668"/>
            <a:chExt cx="1867272" cy="1867262"/>
          </a:xfrm>
        </p:grpSpPr>
        <p:sp>
          <p:nvSpPr>
            <p:cNvPr id="21" name="Graphic 14">
              <a:extLst>
                <a:ext uri="{FF2B5EF4-FFF2-40B4-BE49-F238E27FC236}">
                  <a16:creationId xmlns:a16="http://schemas.microsoft.com/office/drawing/2014/main" id="{6FE7F8AF-40D2-1946-6078-8248050C9472}"/>
                </a:ext>
              </a:extLst>
            </p:cNvPr>
            <p:cNvSpPr/>
            <p:nvPr/>
          </p:nvSpPr>
          <p:spPr>
            <a:xfrm>
              <a:off x="7534968" y="2101668"/>
              <a:ext cx="1867272" cy="1867262"/>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gradFill>
              <a:gsLst>
                <a:gs pos="100000">
                  <a:srgbClr val="2CC6C3"/>
                </a:gs>
                <a:gs pos="68000">
                  <a:srgbClr val="0078D4"/>
                </a:gs>
                <a:gs pos="32000">
                  <a:srgbClr val="C03BC4"/>
                </a:gs>
                <a:gs pos="0">
                  <a:srgbClr val="FF5C39"/>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spcAft>
                  <a:spcPts val="600"/>
                </a:spcAft>
              </a:pPr>
              <a:endParaRPr lang="en-US" sz="1600" kern="0">
                <a:solidFill>
                  <a:srgbClr val="FFFFFF"/>
                </a:solidFill>
                <a:latin typeface="Segoe UI Semibold"/>
              </a:endParaRPr>
            </a:p>
          </p:txBody>
        </p:sp>
        <p:sp>
          <p:nvSpPr>
            <p:cNvPr id="22" name="TextBox 21">
              <a:extLst>
                <a:ext uri="{FF2B5EF4-FFF2-40B4-BE49-F238E27FC236}">
                  <a16:creationId xmlns:a16="http://schemas.microsoft.com/office/drawing/2014/main" id="{8EF002EF-4F6D-F139-127B-E6397198C24D}"/>
                </a:ext>
              </a:extLst>
            </p:cNvPr>
            <p:cNvSpPr txBox="1"/>
            <p:nvPr/>
          </p:nvSpPr>
          <p:spPr>
            <a:xfrm>
              <a:off x="7614249" y="2760151"/>
              <a:ext cx="1454707" cy="823747"/>
            </a:xfrm>
            <a:prstGeom prst="rect">
              <a:avLst/>
            </a:prstGeom>
            <a:noFill/>
          </p:spPr>
          <p:txBody>
            <a:bodyPr vert="horz" wrap="square" lIns="0" tIns="0" rIns="0" bIns="0" rtlCol="0" anchor="ctr">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Legal</a:t>
              </a:r>
              <a:r>
                <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agent</a:t>
              </a:r>
              <a:endParaRPr kumimoji="0" lang="en-US" sz="2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endParaRPr>
            </a:p>
          </p:txBody>
        </p:sp>
        <p:pic>
          <p:nvPicPr>
            <p:cNvPr id="23" name="Graphic 22" descr="Court with solid fill">
              <a:extLst>
                <a:ext uri="{FF2B5EF4-FFF2-40B4-BE49-F238E27FC236}">
                  <a16:creationId xmlns:a16="http://schemas.microsoft.com/office/drawing/2014/main" id="{21A86E11-8A39-0779-00E1-AB0AB23D9BC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506703" y="2114973"/>
              <a:ext cx="614400" cy="614400"/>
            </a:xfrm>
            <a:prstGeom prst="roundRect">
              <a:avLst>
                <a:gd name="adj" fmla="val 4739"/>
              </a:avLst>
            </a:prstGeom>
            <a:effectLst/>
          </p:spPr>
        </p:pic>
      </p:grpSp>
      <p:grpSp>
        <p:nvGrpSpPr>
          <p:cNvPr id="24" name="Group 23">
            <a:extLst>
              <a:ext uri="{FF2B5EF4-FFF2-40B4-BE49-F238E27FC236}">
                <a16:creationId xmlns:a16="http://schemas.microsoft.com/office/drawing/2014/main" id="{603683D2-EBD0-682A-9932-1C205343B074}"/>
              </a:ext>
            </a:extLst>
          </p:cNvPr>
          <p:cNvGrpSpPr/>
          <p:nvPr/>
        </p:nvGrpSpPr>
        <p:grpSpPr>
          <a:xfrm>
            <a:off x="8814034" y="3710442"/>
            <a:ext cx="1308876" cy="1247483"/>
            <a:chOff x="807752" y="2088969"/>
            <a:chExt cx="1867272" cy="1867262"/>
          </a:xfrm>
        </p:grpSpPr>
        <p:sp>
          <p:nvSpPr>
            <p:cNvPr id="25" name="Graphic 14">
              <a:extLst>
                <a:ext uri="{FF2B5EF4-FFF2-40B4-BE49-F238E27FC236}">
                  <a16:creationId xmlns:a16="http://schemas.microsoft.com/office/drawing/2014/main" id="{F8F19678-071B-3575-AA2D-D03420152048}"/>
                </a:ext>
              </a:extLst>
            </p:cNvPr>
            <p:cNvSpPr/>
            <p:nvPr/>
          </p:nvSpPr>
          <p:spPr>
            <a:xfrm>
              <a:off x="807752" y="2088969"/>
              <a:ext cx="1867272" cy="1867262"/>
            </a:xfrm>
            <a:custGeom>
              <a:avLst/>
              <a:gdLst>
                <a:gd name="connsiteX0" fmla="*/ 124666 w 200025"/>
                <a:gd name="connsiteY0" fmla="*/ 61077 h 200025"/>
                <a:gd name="connsiteX1" fmla="*/ 122433 w 200025"/>
                <a:gd name="connsiteY1" fmla="*/ 58538 h 200025"/>
                <a:gd name="connsiteX2" fmla="*/ 111833 w 200025"/>
                <a:gd name="connsiteY2" fmla="*/ 51976 h 200025"/>
                <a:gd name="connsiteX3" fmla="*/ 98709 w 200025"/>
                <a:gd name="connsiteY3" fmla="*/ 47714 h 200025"/>
                <a:gd name="connsiteX4" fmla="*/ 96203 w 200025"/>
                <a:gd name="connsiteY4" fmla="*/ 45822 h 200025"/>
                <a:gd name="connsiteX5" fmla="*/ 95250 w 200025"/>
                <a:gd name="connsiteY5" fmla="*/ 42830 h 200025"/>
                <a:gd name="connsiteX6" fmla="*/ 96203 w 200025"/>
                <a:gd name="connsiteY6" fmla="*/ 39838 h 200025"/>
                <a:gd name="connsiteX7" fmla="*/ 98709 w 200025"/>
                <a:gd name="connsiteY7" fmla="*/ 37945 h 200025"/>
                <a:gd name="connsiteX8" fmla="*/ 111833 w 200025"/>
                <a:gd name="connsiteY8" fmla="*/ 33683 h 200025"/>
                <a:gd name="connsiteX9" fmla="*/ 122272 w 200025"/>
                <a:gd name="connsiteY9" fmla="*/ 27102 h 200025"/>
                <a:gd name="connsiteX10" fmla="*/ 128588 w 200025"/>
                <a:gd name="connsiteY10" fmla="*/ 16895 h 200025"/>
                <a:gd name="connsiteX11" fmla="*/ 128696 w 200025"/>
                <a:gd name="connsiteY11" fmla="*/ 16570 h 200025"/>
                <a:gd name="connsiteX12" fmla="*/ 132961 w 200025"/>
                <a:gd name="connsiteY12" fmla="*/ 3457 h 200025"/>
                <a:gd name="connsiteX13" fmla="*/ 134856 w 200025"/>
                <a:gd name="connsiteY13" fmla="*/ 952 h 200025"/>
                <a:gd name="connsiteX14" fmla="*/ 137850 w 200025"/>
                <a:gd name="connsiteY14" fmla="*/ 0 h 200025"/>
                <a:gd name="connsiteX15" fmla="*/ 140844 w 200025"/>
                <a:gd name="connsiteY15" fmla="*/ 952 h 200025"/>
                <a:gd name="connsiteX16" fmla="*/ 142739 w 200025"/>
                <a:gd name="connsiteY16" fmla="*/ 3457 h 200025"/>
                <a:gd name="connsiteX17" fmla="*/ 147004 w 200025"/>
                <a:gd name="connsiteY17" fmla="*/ 16570 h 200025"/>
                <a:gd name="connsiteX18" fmla="*/ 153541 w 200025"/>
                <a:gd name="connsiteY18" fmla="*/ 27150 h 200025"/>
                <a:gd name="connsiteX19" fmla="*/ 164130 w 200025"/>
                <a:gd name="connsiteY19" fmla="*/ 33683 h 200025"/>
                <a:gd name="connsiteX20" fmla="*/ 177254 w 200025"/>
                <a:gd name="connsiteY20" fmla="*/ 37945 h 200025"/>
                <a:gd name="connsiteX21" fmla="*/ 177516 w 200025"/>
                <a:gd name="connsiteY21" fmla="*/ 38011 h 200025"/>
                <a:gd name="connsiteX22" fmla="*/ 180023 w 200025"/>
                <a:gd name="connsiteY22" fmla="*/ 39903 h 200025"/>
                <a:gd name="connsiteX23" fmla="*/ 180975 w 200025"/>
                <a:gd name="connsiteY23" fmla="*/ 42895 h 200025"/>
                <a:gd name="connsiteX24" fmla="*/ 180023 w 200025"/>
                <a:gd name="connsiteY24" fmla="*/ 45887 h 200025"/>
                <a:gd name="connsiteX25" fmla="*/ 177516 w 200025"/>
                <a:gd name="connsiteY25" fmla="*/ 47780 h 200025"/>
                <a:gd name="connsiteX26" fmla="*/ 164392 w 200025"/>
                <a:gd name="connsiteY26" fmla="*/ 52042 h 200025"/>
                <a:gd name="connsiteX27" fmla="*/ 153804 w 200025"/>
                <a:gd name="connsiteY27" fmla="*/ 58575 h 200025"/>
                <a:gd name="connsiteX28" fmla="*/ 147266 w 200025"/>
                <a:gd name="connsiteY28" fmla="*/ 69155 h 200025"/>
                <a:gd name="connsiteX29" fmla="*/ 143001 w 200025"/>
                <a:gd name="connsiteY29" fmla="*/ 82268 h 200025"/>
                <a:gd name="connsiteX30" fmla="*/ 142875 w 200025"/>
                <a:gd name="connsiteY30" fmla="*/ 82591 h 200025"/>
                <a:gd name="connsiteX31" fmla="*/ 141107 w 200025"/>
                <a:gd name="connsiteY31" fmla="*/ 84773 h 200025"/>
                <a:gd name="connsiteX32" fmla="*/ 138113 w 200025"/>
                <a:gd name="connsiteY32" fmla="*/ 85725 h 200025"/>
                <a:gd name="connsiteX33" fmla="*/ 135118 w 200025"/>
                <a:gd name="connsiteY33" fmla="*/ 84773 h 200025"/>
                <a:gd name="connsiteX34" fmla="*/ 133224 w 200025"/>
                <a:gd name="connsiteY34" fmla="*/ 82268 h 200025"/>
                <a:gd name="connsiteX35" fmla="*/ 128959 w 200025"/>
                <a:gd name="connsiteY35" fmla="*/ 69155 h 200025"/>
                <a:gd name="connsiteX36" fmla="*/ 124666 w 200025"/>
                <a:gd name="connsiteY36" fmla="*/ 61077 h 200025"/>
                <a:gd name="connsiteX37" fmla="*/ 197957 w 200025"/>
                <a:gd name="connsiteY37" fmla="*/ 97281 h 200025"/>
                <a:gd name="connsiteX38" fmla="*/ 190667 w 200025"/>
                <a:gd name="connsiteY38" fmla="*/ 94913 h 200025"/>
                <a:gd name="connsiteX39" fmla="*/ 184784 w 200025"/>
                <a:gd name="connsiteY39" fmla="*/ 91283 h 200025"/>
                <a:gd name="connsiteX40" fmla="*/ 181152 w 200025"/>
                <a:gd name="connsiteY40" fmla="*/ 85406 h 200025"/>
                <a:gd name="connsiteX41" fmla="*/ 178782 w 200025"/>
                <a:gd name="connsiteY41" fmla="*/ 78120 h 200025"/>
                <a:gd name="connsiteX42" fmla="*/ 177730 w 200025"/>
                <a:gd name="connsiteY42" fmla="*/ 76729 h 200025"/>
                <a:gd name="connsiteX43" fmla="*/ 176067 w 200025"/>
                <a:gd name="connsiteY43" fmla="*/ 76200 h 200025"/>
                <a:gd name="connsiteX44" fmla="*/ 174403 w 200025"/>
                <a:gd name="connsiteY44" fmla="*/ 76729 h 200025"/>
                <a:gd name="connsiteX45" fmla="*/ 173351 w 200025"/>
                <a:gd name="connsiteY45" fmla="*/ 78120 h 200025"/>
                <a:gd name="connsiteX46" fmla="*/ 170981 w 200025"/>
                <a:gd name="connsiteY46" fmla="*/ 85406 h 200025"/>
                <a:gd name="connsiteX47" fmla="*/ 167412 w 200025"/>
                <a:gd name="connsiteY47" fmla="*/ 91257 h 200025"/>
                <a:gd name="connsiteX48" fmla="*/ 161613 w 200025"/>
                <a:gd name="connsiteY48" fmla="*/ 94913 h 200025"/>
                <a:gd name="connsiteX49" fmla="*/ 154322 w 200025"/>
                <a:gd name="connsiteY49" fmla="*/ 97281 h 200025"/>
                <a:gd name="connsiteX50" fmla="*/ 152929 w 200025"/>
                <a:gd name="connsiteY50" fmla="*/ 98332 h 200025"/>
                <a:gd name="connsiteX51" fmla="*/ 152400 w 200025"/>
                <a:gd name="connsiteY51" fmla="*/ 99994 h 200025"/>
                <a:gd name="connsiteX52" fmla="*/ 152929 w 200025"/>
                <a:gd name="connsiteY52" fmla="*/ 101657 h 200025"/>
                <a:gd name="connsiteX53" fmla="*/ 154322 w 200025"/>
                <a:gd name="connsiteY53" fmla="*/ 102708 h 200025"/>
                <a:gd name="connsiteX54" fmla="*/ 161613 w 200025"/>
                <a:gd name="connsiteY54" fmla="*/ 105076 h 200025"/>
                <a:gd name="connsiteX55" fmla="*/ 167502 w 200025"/>
                <a:gd name="connsiteY55" fmla="*/ 108721 h 200025"/>
                <a:gd name="connsiteX56" fmla="*/ 171127 w 200025"/>
                <a:gd name="connsiteY56" fmla="*/ 114619 h 200025"/>
                <a:gd name="connsiteX57" fmla="*/ 173497 w 200025"/>
                <a:gd name="connsiteY57" fmla="*/ 121905 h 200025"/>
                <a:gd name="connsiteX58" fmla="*/ 174549 w 200025"/>
                <a:gd name="connsiteY58" fmla="*/ 123296 h 200025"/>
                <a:gd name="connsiteX59" fmla="*/ 176213 w 200025"/>
                <a:gd name="connsiteY59" fmla="*/ 123825 h 200025"/>
                <a:gd name="connsiteX60" fmla="*/ 177876 w 200025"/>
                <a:gd name="connsiteY60" fmla="*/ 123296 h 200025"/>
                <a:gd name="connsiteX61" fmla="*/ 178928 w 200025"/>
                <a:gd name="connsiteY61" fmla="*/ 121905 h 200025"/>
                <a:gd name="connsiteX62" fmla="*/ 181298 w 200025"/>
                <a:gd name="connsiteY62" fmla="*/ 114619 h 200025"/>
                <a:gd name="connsiteX63" fmla="*/ 184930 w 200025"/>
                <a:gd name="connsiteY63" fmla="*/ 108741 h 200025"/>
                <a:gd name="connsiteX64" fmla="*/ 190812 w 200025"/>
                <a:gd name="connsiteY64" fmla="*/ 105112 h 200025"/>
                <a:gd name="connsiteX65" fmla="*/ 198103 w 200025"/>
                <a:gd name="connsiteY65" fmla="*/ 102744 h 200025"/>
                <a:gd name="connsiteX66" fmla="*/ 199496 w 200025"/>
                <a:gd name="connsiteY66" fmla="*/ 101693 h 200025"/>
                <a:gd name="connsiteX67" fmla="*/ 200025 w 200025"/>
                <a:gd name="connsiteY67" fmla="*/ 100031 h 200025"/>
                <a:gd name="connsiteX68" fmla="*/ 199496 w 200025"/>
                <a:gd name="connsiteY68" fmla="*/ 98368 h 200025"/>
                <a:gd name="connsiteX69" fmla="*/ 198103 w 200025"/>
                <a:gd name="connsiteY69" fmla="*/ 97317 h 200025"/>
                <a:gd name="connsiteX70" fmla="*/ 197957 w 200025"/>
                <a:gd name="connsiteY70" fmla="*/ 97281 h 200025"/>
                <a:gd name="connsiteX71" fmla="*/ 88392 w 200025"/>
                <a:gd name="connsiteY71" fmla="*/ 33995 h 200025"/>
                <a:gd name="connsiteX72" fmla="*/ 95701 w 200025"/>
                <a:gd name="connsiteY72" fmla="*/ 28575 h 200025"/>
                <a:gd name="connsiteX73" fmla="*/ 73819 w 200025"/>
                <a:gd name="connsiteY73" fmla="*/ 28575 h 200025"/>
                <a:gd name="connsiteX74" fmla="*/ 66675 w 200025"/>
                <a:gd name="connsiteY74" fmla="*/ 35719 h 200025"/>
                <a:gd name="connsiteX75" fmla="*/ 73819 w 200025"/>
                <a:gd name="connsiteY75" fmla="*/ 42863 h 200025"/>
                <a:gd name="connsiteX76" fmla="*/ 85729 w 200025"/>
                <a:gd name="connsiteY76" fmla="*/ 42863 h 200025"/>
                <a:gd name="connsiteX77" fmla="*/ 85725 w 200025"/>
                <a:gd name="connsiteY77" fmla="*/ 42568 h 200025"/>
                <a:gd name="connsiteX78" fmla="*/ 88392 w 200025"/>
                <a:gd name="connsiteY78" fmla="*/ 33995 h 200025"/>
                <a:gd name="connsiteX79" fmla="*/ 7144 w 200025"/>
                <a:gd name="connsiteY79" fmla="*/ 95250 h 200025"/>
                <a:gd name="connsiteX80" fmla="*/ 14288 w 200025"/>
                <a:gd name="connsiteY80" fmla="*/ 102394 h 200025"/>
                <a:gd name="connsiteX81" fmla="*/ 14288 w 200025"/>
                <a:gd name="connsiteY81" fmla="*/ 126206 h 200025"/>
                <a:gd name="connsiteX82" fmla="*/ 7144 w 200025"/>
                <a:gd name="connsiteY82" fmla="*/ 133350 h 200025"/>
                <a:gd name="connsiteX83" fmla="*/ 0 w 200025"/>
                <a:gd name="connsiteY83" fmla="*/ 126206 h 200025"/>
                <a:gd name="connsiteX84" fmla="*/ 0 w 200025"/>
                <a:gd name="connsiteY84" fmla="*/ 102394 h 200025"/>
                <a:gd name="connsiteX85" fmla="*/ 7144 w 200025"/>
                <a:gd name="connsiteY85" fmla="*/ 95250 h 200025"/>
                <a:gd name="connsiteX86" fmla="*/ 104775 w 200025"/>
                <a:gd name="connsiteY86" fmla="*/ 192881 h 200025"/>
                <a:gd name="connsiteX87" fmla="*/ 97631 w 200025"/>
                <a:gd name="connsiteY87" fmla="*/ 200025 h 200025"/>
                <a:gd name="connsiteX88" fmla="*/ 73819 w 200025"/>
                <a:gd name="connsiteY88" fmla="*/ 200025 h 200025"/>
                <a:gd name="connsiteX89" fmla="*/ 66675 w 200025"/>
                <a:gd name="connsiteY89" fmla="*/ 192881 h 200025"/>
                <a:gd name="connsiteX90" fmla="*/ 73819 w 200025"/>
                <a:gd name="connsiteY90" fmla="*/ 185738 h 200025"/>
                <a:gd name="connsiteX91" fmla="*/ 97631 w 200025"/>
                <a:gd name="connsiteY91" fmla="*/ 185738 h 200025"/>
                <a:gd name="connsiteX92" fmla="*/ 104775 w 200025"/>
                <a:gd name="connsiteY92" fmla="*/ 192881 h 200025"/>
                <a:gd name="connsiteX93" fmla="*/ 30956 w 200025"/>
                <a:gd name="connsiteY93" fmla="*/ 28575 h 200025"/>
                <a:gd name="connsiteX94" fmla="*/ 38100 w 200025"/>
                <a:gd name="connsiteY94" fmla="*/ 35719 h 200025"/>
                <a:gd name="connsiteX95" fmla="*/ 30956 w 200025"/>
                <a:gd name="connsiteY95" fmla="*/ 42863 h 200025"/>
                <a:gd name="connsiteX96" fmla="*/ 26194 w 200025"/>
                <a:gd name="connsiteY96" fmla="*/ 42863 h 200025"/>
                <a:gd name="connsiteX97" fmla="*/ 14288 w 200025"/>
                <a:gd name="connsiteY97" fmla="*/ 54769 h 200025"/>
                <a:gd name="connsiteX98" fmla="*/ 14288 w 200025"/>
                <a:gd name="connsiteY98" fmla="*/ 59531 h 200025"/>
                <a:gd name="connsiteX99" fmla="*/ 7144 w 200025"/>
                <a:gd name="connsiteY99" fmla="*/ 66675 h 200025"/>
                <a:gd name="connsiteX100" fmla="*/ 0 w 200025"/>
                <a:gd name="connsiteY100" fmla="*/ 59531 h 200025"/>
                <a:gd name="connsiteX101" fmla="*/ 0 w 200025"/>
                <a:gd name="connsiteY101" fmla="*/ 54769 h 200025"/>
                <a:gd name="connsiteX102" fmla="*/ 26194 w 200025"/>
                <a:gd name="connsiteY102" fmla="*/ 28575 h 200025"/>
                <a:gd name="connsiteX103" fmla="*/ 30956 w 200025"/>
                <a:gd name="connsiteY103" fmla="*/ 28575 h 200025"/>
                <a:gd name="connsiteX104" fmla="*/ 30956 w 200025"/>
                <a:gd name="connsiteY104" fmla="*/ 200025 h 200025"/>
                <a:gd name="connsiteX105" fmla="*/ 38100 w 200025"/>
                <a:gd name="connsiteY105" fmla="*/ 192881 h 200025"/>
                <a:gd name="connsiteX106" fmla="*/ 30956 w 200025"/>
                <a:gd name="connsiteY106" fmla="*/ 185738 h 200025"/>
                <a:gd name="connsiteX107" fmla="*/ 26194 w 200025"/>
                <a:gd name="connsiteY107" fmla="*/ 185738 h 200025"/>
                <a:gd name="connsiteX108" fmla="*/ 14288 w 200025"/>
                <a:gd name="connsiteY108" fmla="*/ 173831 h 200025"/>
                <a:gd name="connsiteX109" fmla="*/ 14288 w 200025"/>
                <a:gd name="connsiteY109" fmla="*/ 169069 h 200025"/>
                <a:gd name="connsiteX110" fmla="*/ 7144 w 200025"/>
                <a:gd name="connsiteY110" fmla="*/ 161925 h 200025"/>
                <a:gd name="connsiteX111" fmla="*/ 0 w 200025"/>
                <a:gd name="connsiteY111" fmla="*/ 169069 h 200025"/>
                <a:gd name="connsiteX112" fmla="*/ 0 w 200025"/>
                <a:gd name="connsiteY112" fmla="*/ 173831 h 200025"/>
                <a:gd name="connsiteX113" fmla="*/ 26194 w 200025"/>
                <a:gd name="connsiteY113" fmla="*/ 200025 h 200025"/>
                <a:gd name="connsiteX114" fmla="*/ 30956 w 200025"/>
                <a:gd name="connsiteY114" fmla="*/ 200025 h 200025"/>
                <a:gd name="connsiteX115" fmla="*/ 133350 w 200025"/>
                <a:gd name="connsiteY115" fmla="*/ 192881 h 200025"/>
                <a:gd name="connsiteX116" fmla="*/ 140494 w 200025"/>
                <a:gd name="connsiteY116" fmla="*/ 200025 h 200025"/>
                <a:gd name="connsiteX117" fmla="*/ 145256 w 200025"/>
                <a:gd name="connsiteY117" fmla="*/ 200025 h 200025"/>
                <a:gd name="connsiteX118" fmla="*/ 171450 w 200025"/>
                <a:gd name="connsiteY118" fmla="*/ 173831 h 200025"/>
                <a:gd name="connsiteX119" fmla="*/ 171450 w 200025"/>
                <a:gd name="connsiteY119" fmla="*/ 169069 h 200025"/>
                <a:gd name="connsiteX120" fmla="*/ 164306 w 200025"/>
                <a:gd name="connsiteY120" fmla="*/ 161925 h 200025"/>
                <a:gd name="connsiteX121" fmla="*/ 157163 w 200025"/>
                <a:gd name="connsiteY121" fmla="*/ 169069 h 200025"/>
                <a:gd name="connsiteX122" fmla="*/ 157163 w 200025"/>
                <a:gd name="connsiteY122" fmla="*/ 173831 h 200025"/>
                <a:gd name="connsiteX123" fmla="*/ 145256 w 200025"/>
                <a:gd name="connsiteY123" fmla="*/ 185738 h 200025"/>
                <a:gd name="connsiteX124" fmla="*/ 140494 w 200025"/>
                <a:gd name="connsiteY124" fmla="*/ 185738 h 200025"/>
                <a:gd name="connsiteX125" fmla="*/ 133350 w 200025"/>
                <a:gd name="connsiteY125" fmla="*/ 19288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00025" h="200025">
                  <a:moveTo>
                    <a:pt x="124666" y="61077"/>
                  </a:moveTo>
                  <a:cubicBezTo>
                    <a:pt x="123977" y="60187"/>
                    <a:pt x="123232" y="59339"/>
                    <a:pt x="122433" y="58538"/>
                  </a:cubicBezTo>
                  <a:cubicBezTo>
                    <a:pt x="119460" y="55555"/>
                    <a:pt x="115830" y="53308"/>
                    <a:pt x="111833" y="51976"/>
                  </a:cubicBezTo>
                  <a:lnTo>
                    <a:pt x="98709" y="47714"/>
                  </a:lnTo>
                  <a:cubicBezTo>
                    <a:pt x="97698" y="47358"/>
                    <a:pt x="96822" y="46697"/>
                    <a:pt x="96203" y="45822"/>
                  </a:cubicBezTo>
                  <a:cubicBezTo>
                    <a:pt x="95582" y="44947"/>
                    <a:pt x="95250" y="43901"/>
                    <a:pt x="95250" y="42830"/>
                  </a:cubicBezTo>
                  <a:cubicBezTo>
                    <a:pt x="95250" y="41758"/>
                    <a:pt x="95582" y="40713"/>
                    <a:pt x="96203" y="39838"/>
                  </a:cubicBezTo>
                  <a:cubicBezTo>
                    <a:pt x="96822" y="38963"/>
                    <a:pt x="97698" y="38302"/>
                    <a:pt x="98709" y="37945"/>
                  </a:cubicBezTo>
                  <a:lnTo>
                    <a:pt x="111833" y="33683"/>
                  </a:lnTo>
                  <a:cubicBezTo>
                    <a:pt x="115774" y="32323"/>
                    <a:pt x="119347" y="30071"/>
                    <a:pt x="122272" y="27102"/>
                  </a:cubicBezTo>
                  <a:cubicBezTo>
                    <a:pt x="125118" y="24215"/>
                    <a:pt x="127276" y="20726"/>
                    <a:pt x="128588" y="16895"/>
                  </a:cubicBezTo>
                  <a:lnTo>
                    <a:pt x="128696" y="16570"/>
                  </a:lnTo>
                  <a:lnTo>
                    <a:pt x="132961" y="3457"/>
                  </a:lnTo>
                  <a:cubicBezTo>
                    <a:pt x="133319" y="2446"/>
                    <a:pt x="133981" y="1571"/>
                    <a:pt x="134856" y="952"/>
                  </a:cubicBezTo>
                  <a:cubicBezTo>
                    <a:pt x="135731" y="332"/>
                    <a:pt x="136777" y="0"/>
                    <a:pt x="137850" y="0"/>
                  </a:cubicBezTo>
                  <a:cubicBezTo>
                    <a:pt x="138923" y="0"/>
                    <a:pt x="139969" y="332"/>
                    <a:pt x="140844" y="952"/>
                  </a:cubicBezTo>
                  <a:cubicBezTo>
                    <a:pt x="141720" y="1571"/>
                    <a:pt x="142382" y="2446"/>
                    <a:pt x="142739" y="3457"/>
                  </a:cubicBezTo>
                  <a:lnTo>
                    <a:pt x="147004" y="16570"/>
                  </a:lnTo>
                  <a:cubicBezTo>
                    <a:pt x="148330" y="20557"/>
                    <a:pt x="150568" y="24180"/>
                    <a:pt x="153541" y="27150"/>
                  </a:cubicBezTo>
                  <a:cubicBezTo>
                    <a:pt x="156515" y="30121"/>
                    <a:pt x="160140" y="32358"/>
                    <a:pt x="164130" y="33683"/>
                  </a:cubicBezTo>
                  <a:lnTo>
                    <a:pt x="177254" y="37945"/>
                  </a:lnTo>
                  <a:lnTo>
                    <a:pt x="177516" y="38011"/>
                  </a:lnTo>
                  <a:cubicBezTo>
                    <a:pt x="178527" y="38367"/>
                    <a:pt x="179403" y="39028"/>
                    <a:pt x="180023" y="39903"/>
                  </a:cubicBezTo>
                  <a:cubicBezTo>
                    <a:pt x="180643" y="40778"/>
                    <a:pt x="180975" y="41824"/>
                    <a:pt x="180975" y="42895"/>
                  </a:cubicBezTo>
                  <a:cubicBezTo>
                    <a:pt x="180975" y="43967"/>
                    <a:pt x="180643" y="45012"/>
                    <a:pt x="180023" y="45887"/>
                  </a:cubicBezTo>
                  <a:cubicBezTo>
                    <a:pt x="179403" y="46762"/>
                    <a:pt x="178527" y="47423"/>
                    <a:pt x="177516" y="47780"/>
                  </a:cubicBezTo>
                  <a:lnTo>
                    <a:pt x="164392" y="52042"/>
                  </a:lnTo>
                  <a:cubicBezTo>
                    <a:pt x="160403" y="53367"/>
                    <a:pt x="156777" y="55604"/>
                    <a:pt x="153804" y="58575"/>
                  </a:cubicBezTo>
                  <a:cubicBezTo>
                    <a:pt x="150831" y="61546"/>
                    <a:pt x="148593" y="65168"/>
                    <a:pt x="147266" y="69155"/>
                  </a:cubicBezTo>
                  <a:lnTo>
                    <a:pt x="143001" y="82268"/>
                  </a:lnTo>
                  <a:cubicBezTo>
                    <a:pt x="142963" y="82377"/>
                    <a:pt x="142921" y="82485"/>
                    <a:pt x="142875" y="82591"/>
                  </a:cubicBezTo>
                  <a:cubicBezTo>
                    <a:pt x="142499" y="83465"/>
                    <a:pt x="141888" y="84221"/>
                    <a:pt x="141107" y="84773"/>
                  </a:cubicBezTo>
                  <a:cubicBezTo>
                    <a:pt x="140231" y="85393"/>
                    <a:pt x="139185" y="85725"/>
                    <a:pt x="138113" y="85725"/>
                  </a:cubicBezTo>
                  <a:cubicBezTo>
                    <a:pt x="137040" y="85725"/>
                    <a:pt x="135994" y="85393"/>
                    <a:pt x="135118" y="84773"/>
                  </a:cubicBezTo>
                  <a:cubicBezTo>
                    <a:pt x="134243" y="84154"/>
                    <a:pt x="133581" y="83279"/>
                    <a:pt x="133224" y="82268"/>
                  </a:cubicBezTo>
                  <a:lnTo>
                    <a:pt x="128959" y="69155"/>
                  </a:lnTo>
                  <a:cubicBezTo>
                    <a:pt x="127995" y="66230"/>
                    <a:pt x="126541" y="63500"/>
                    <a:pt x="124666" y="61077"/>
                  </a:cubicBezTo>
                  <a:close/>
                  <a:moveTo>
                    <a:pt x="197957" y="97281"/>
                  </a:moveTo>
                  <a:lnTo>
                    <a:pt x="190667" y="94913"/>
                  </a:lnTo>
                  <a:cubicBezTo>
                    <a:pt x="188450" y="94177"/>
                    <a:pt x="186436" y="92934"/>
                    <a:pt x="184784" y="91283"/>
                  </a:cubicBezTo>
                  <a:cubicBezTo>
                    <a:pt x="183132" y="89633"/>
                    <a:pt x="181888" y="87620"/>
                    <a:pt x="181152" y="85406"/>
                  </a:cubicBezTo>
                  <a:lnTo>
                    <a:pt x="178782" y="78120"/>
                  </a:lnTo>
                  <a:cubicBezTo>
                    <a:pt x="178584" y="77559"/>
                    <a:pt x="178217" y="77073"/>
                    <a:pt x="177730" y="76729"/>
                  </a:cubicBezTo>
                  <a:cubicBezTo>
                    <a:pt x="177244" y="76385"/>
                    <a:pt x="176663" y="76200"/>
                    <a:pt x="176067" y="76200"/>
                  </a:cubicBezTo>
                  <a:cubicBezTo>
                    <a:pt x="175471" y="76200"/>
                    <a:pt x="174889" y="76385"/>
                    <a:pt x="174403" y="76729"/>
                  </a:cubicBezTo>
                  <a:cubicBezTo>
                    <a:pt x="173917" y="77073"/>
                    <a:pt x="173549" y="77559"/>
                    <a:pt x="173351" y="78120"/>
                  </a:cubicBezTo>
                  <a:lnTo>
                    <a:pt x="170981" y="85406"/>
                  </a:lnTo>
                  <a:cubicBezTo>
                    <a:pt x="170259" y="87605"/>
                    <a:pt x="169037" y="89607"/>
                    <a:pt x="167412" y="91257"/>
                  </a:cubicBezTo>
                  <a:cubicBezTo>
                    <a:pt x="165787" y="92906"/>
                    <a:pt x="163802" y="94157"/>
                    <a:pt x="161613" y="94913"/>
                  </a:cubicBezTo>
                  <a:lnTo>
                    <a:pt x="154322" y="97281"/>
                  </a:lnTo>
                  <a:cubicBezTo>
                    <a:pt x="153760" y="97479"/>
                    <a:pt x="153273" y="97846"/>
                    <a:pt x="152929" y="98332"/>
                  </a:cubicBezTo>
                  <a:cubicBezTo>
                    <a:pt x="152585" y="98818"/>
                    <a:pt x="152400" y="99399"/>
                    <a:pt x="152400" y="99994"/>
                  </a:cubicBezTo>
                  <a:cubicBezTo>
                    <a:pt x="152400" y="100590"/>
                    <a:pt x="152585" y="101171"/>
                    <a:pt x="152929" y="101657"/>
                  </a:cubicBezTo>
                  <a:cubicBezTo>
                    <a:pt x="153273" y="102142"/>
                    <a:pt x="153760" y="102510"/>
                    <a:pt x="154322" y="102708"/>
                  </a:cubicBezTo>
                  <a:lnTo>
                    <a:pt x="161613" y="105076"/>
                  </a:lnTo>
                  <a:cubicBezTo>
                    <a:pt x="163833" y="105816"/>
                    <a:pt x="165849" y="107064"/>
                    <a:pt x="167502" y="108721"/>
                  </a:cubicBezTo>
                  <a:cubicBezTo>
                    <a:pt x="169154" y="110378"/>
                    <a:pt x="170396" y="112398"/>
                    <a:pt x="171127" y="114619"/>
                  </a:cubicBezTo>
                  <a:lnTo>
                    <a:pt x="173497" y="121905"/>
                  </a:lnTo>
                  <a:cubicBezTo>
                    <a:pt x="173695" y="122466"/>
                    <a:pt x="174063" y="122953"/>
                    <a:pt x="174549" y="123296"/>
                  </a:cubicBezTo>
                  <a:cubicBezTo>
                    <a:pt x="175035" y="123640"/>
                    <a:pt x="175616" y="123825"/>
                    <a:pt x="176213" y="123825"/>
                  </a:cubicBezTo>
                  <a:cubicBezTo>
                    <a:pt x="176809" y="123825"/>
                    <a:pt x="177390" y="123640"/>
                    <a:pt x="177876" y="123296"/>
                  </a:cubicBezTo>
                  <a:cubicBezTo>
                    <a:pt x="178362" y="122953"/>
                    <a:pt x="178730" y="122466"/>
                    <a:pt x="178928" y="121905"/>
                  </a:cubicBezTo>
                  <a:lnTo>
                    <a:pt x="181298" y="114619"/>
                  </a:lnTo>
                  <a:cubicBezTo>
                    <a:pt x="182035" y="112405"/>
                    <a:pt x="183278" y="110392"/>
                    <a:pt x="184930" y="108741"/>
                  </a:cubicBezTo>
                  <a:cubicBezTo>
                    <a:pt x="186581" y="107091"/>
                    <a:pt x="188596" y="105848"/>
                    <a:pt x="190812" y="105112"/>
                  </a:cubicBezTo>
                  <a:lnTo>
                    <a:pt x="198103" y="102744"/>
                  </a:lnTo>
                  <a:cubicBezTo>
                    <a:pt x="198665" y="102546"/>
                    <a:pt x="199152" y="102179"/>
                    <a:pt x="199496" y="101693"/>
                  </a:cubicBezTo>
                  <a:cubicBezTo>
                    <a:pt x="199840" y="101207"/>
                    <a:pt x="200025" y="100626"/>
                    <a:pt x="200025" y="100031"/>
                  </a:cubicBezTo>
                  <a:cubicBezTo>
                    <a:pt x="200025" y="99435"/>
                    <a:pt x="199840" y="98854"/>
                    <a:pt x="199496" y="98368"/>
                  </a:cubicBezTo>
                  <a:cubicBezTo>
                    <a:pt x="199152" y="97883"/>
                    <a:pt x="198665" y="97515"/>
                    <a:pt x="198103" y="97317"/>
                  </a:cubicBezTo>
                  <a:lnTo>
                    <a:pt x="197957" y="97281"/>
                  </a:lnTo>
                  <a:close/>
                  <a:moveTo>
                    <a:pt x="88392" y="33995"/>
                  </a:moveTo>
                  <a:cubicBezTo>
                    <a:pt x="90241" y="31507"/>
                    <a:pt x="92783" y="29621"/>
                    <a:pt x="95701" y="28575"/>
                  </a:cubicBezTo>
                  <a:lnTo>
                    <a:pt x="73819" y="28575"/>
                  </a:lnTo>
                  <a:cubicBezTo>
                    <a:pt x="69874" y="28575"/>
                    <a:pt x="66675" y="31773"/>
                    <a:pt x="66675" y="35719"/>
                  </a:cubicBezTo>
                  <a:cubicBezTo>
                    <a:pt x="66675" y="39664"/>
                    <a:pt x="69874" y="42863"/>
                    <a:pt x="73819" y="42863"/>
                  </a:cubicBezTo>
                  <a:lnTo>
                    <a:pt x="85729" y="42863"/>
                  </a:lnTo>
                  <a:cubicBezTo>
                    <a:pt x="85727" y="42764"/>
                    <a:pt x="85725" y="42666"/>
                    <a:pt x="85725" y="42568"/>
                  </a:cubicBezTo>
                  <a:cubicBezTo>
                    <a:pt x="85733" y="39507"/>
                    <a:pt x="86662" y="36520"/>
                    <a:pt x="88392" y="33995"/>
                  </a:cubicBezTo>
                  <a:close/>
                  <a:moveTo>
                    <a:pt x="7144" y="95250"/>
                  </a:moveTo>
                  <a:cubicBezTo>
                    <a:pt x="11089" y="95250"/>
                    <a:pt x="14288" y="98449"/>
                    <a:pt x="14288" y="102394"/>
                  </a:cubicBezTo>
                  <a:lnTo>
                    <a:pt x="14288" y="126206"/>
                  </a:lnTo>
                  <a:cubicBezTo>
                    <a:pt x="14288" y="130152"/>
                    <a:pt x="11089" y="133350"/>
                    <a:pt x="7144" y="133350"/>
                  </a:cubicBezTo>
                  <a:cubicBezTo>
                    <a:pt x="3198" y="133350"/>
                    <a:pt x="0" y="130152"/>
                    <a:pt x="0" y="126206"/>
                  </a:cubicBezTo>
                  <a:lnTo>
                    <a:pt x="0" y="102394"/>
                  </a:lnTo>
                  <a:cubicBezTo>
                    <a:pt x="0" y="98449"/>
                    <a:pt x="3198" y="95250"/>
                    <a:pt x="7144" y="95250"/>
                  </a:cubicBezTo>
                  <a:close/>
                  <a:moveTo>
                    <a:pt x="104775" y="192881"/>
                  </a:moveTo>
                  <a:cubicBezTo>
                    <a:pt x="104775" y="196827"/>
                    <a:pt x="101577" y="200025"/>
                    <a:pt x="97631" y="200025"/>
                  </a:cubicBezTo>
                  <a:lnTo>
                    <a:pt x="73819" y="200025"/>
                  </a:lnTo>
                  <a:cubicBezTo>
                    <a:pt x="69874" y="200025"/>
                    <a:pt x="66675" y="196827"/>
                    <a:pt x="66675" y="192881"/>
                  </a:cubicBezTo>
                  <a:cubicBezTo>
                    <a:pt x="66675" y="188936"/>
                    <a:pt x="69874" y="185738"/>
                    <a:pt x="73819" y="185738"/>
                  </a:cubicBezTo>
                  <a:lnTo>
                    <a:pt x="97631" y="185738"/>
                  </a:lnTo>
                  <a:cubicBezTo>
                    <a:pt x="101577" y="185738"/>
                    <a:pt x="104775" y="188936"/>
                    <a:pt x="104775" y="192881"/>
                  </a:cubicBezTo>
                  <a:close/>
                  <a:moveTo>
                    <a:pt x="30956" y="28575"/>
                  </a:moveTo>
                  <a:cubicBezTo>
                    <a:pt x="34902" y="28575"/>
                    <a:pt x="38100" y="31773"/>
                    <a:pt x="38100" y="35719"/>
                  </a:cubicBezTo>
                  <a:cubicBezTo>
                    <a:pt x="38100" y="39664"/>
                    <a:pt x="34902" y="42863"/>
                    <a:pt x="30956" y="42863"/>
                  </a:cubicBezTo>
                  <a:lnTo>
                    <a:pt x="26194" y="42863"/>
                  </a:lnTo>
                  <a:cubicBezTo>
                    <a:pt x="19618" y="42863"/>
                    <a:pt x="14288" y="48193"/>
                    <a:pt x="14288" y="54769"/>
                  </a:cubicBezTo>
                  <a:lnTo>
                    <a:pt x="14288" y="59531"/>
                  </a:lnTo>
                  <a:cubicBezTo>
                    <a:pt x="14288" y="63477"/>
                    <a:pt x="11089" y="66675"/>
                    <a:pt x="7144" y="66675"/>
                  </a:cubicBezTo>
                  <a:cubicBezTo>
                    <a:pt x="3198" y="66675"/>
                    <a:pt x="0" y="63477"/>
                    <a:pt x="0" y="59531"/>
                  </a:cubicBezTo>
                  <a:lnTo>
                    <a:pt x="0" y="54769"/>
                  </a:lnTo>
                  <a:cubicBezTo>
                    <a:pt x="0" y="40302"/>
                    <a:pt x="11727" y="28575"/>
                    <a:pt x="26194" y="28575"/>
                  </a:cubicBezTo>
                  <a:lnTo>
                    <a:pt x="30956" y="28575"/>
                  </a:lnTo>
                  <a:close/>
                  <a:moveTo>
                    <a:pt x="30956" y="200025"/>
                  </a:moveTo>
                  <a:cubicBezTo>
                    <a:pt x="34902" y="200025"/>
                    <a:pt x="38100" y="196827"/>
                    <a:pt x="38100" y="192881"/>
                  </a:cubicBezTo>
                  <a:cubicBezTo>
                    <a:pt x="38100" y="188936"/>
                    <a:pt x="34902" y="185738"/>
                    <a:pt x="30956" y="185738"/>
                  </a:cubicBezTo>
                  <a:lnTo>
                    <a:pt x="26194" y="185738"/>
                  </a:lnTo>
                  <a:cubicBezTo>
                    <a:pt x="19618" y="185738"/>
                    <a:pt x="14288" y="180407"/>
                    <a:pt x="14288" y="173831"/>
                  </a:cubicBezTo>
                  <a:lnTo>
                    <a:pt x="14288" y="169069"/>
                  </a:lnTo>
                  <a:cubicBezTo>
                    <a:pt x="14288" y="165124"/>
                    <a:pt x="11089" y="161925"/>
                    <a:pt x="7144" y="161925"/>
                  </a:cubicBezTo>
                  <a:cubicBezTo>
                    <a:pt x="3198" y="161925"/>
                    <a:pt x="0" y="165124"/>
                    <a:pt x="0" y="169069"/>
                  </a:cubicBezTo>
                  <a:lnTo>
                    <a:pt x="0" y="173831"/>
                  </a:lnTo>
                  <a:cubicBezTo>
                    <a:pt x="0" y="188298"/>
                    <a:pt x="11727" y="200025"/>
                    <a:pt x="26194" y="200025"/>
                  </a:cubicBezTo>
                  <a:lnTo>
                    <a:pt x="30956" y="200025"/>
                  </a:lnTo>
                  <a:close/>
                  <a:moveTo>
                    <a:pt x="133350" y="192881"/>
                  </a:moveTo>
                  <a:cubicBezTo>
                    <a:pt x="133350" y="196827"/>
                    <a:pt x="136549" y="200025"/>
                    <a:pt x="140494" y="200025"/>
                  </a:cubicBezTo>
                  <a:lnTo>
                    <a:pt x="145256" y="200025"/>
                  </a:lnTo>
                  <a:cubicBezTo>
                    <a:pt x="159723" y="200025"/>
                    <a:pt x="171450" y="188298"/>
                    <a:pt x="171450" y="173831"/>
                  </a:cubicBezTo>
                  <a:lnTo>
                    <a:pt x="171450" y="169069"/>
                  </a:lnTo>
                  <a:cubicBezTo>
                    <a:pt x="171450" y="165124"/>
                    <a:pt x="168252" y="161925"/>
                    <a:pt x="164306" y="161925"/>
                  </a:cubicBezTo>
                  <a:cubicBezTo>
                    <a:pt x="160361" y="161925"/>
                    <a:pt x="157163" y="165124"/>
                    <a:pt x="157163" y="169069"/>
                  </a:cubicBezTo>
                  <a:lnTo>
                    <a:pt x="157163" y="173831"/>
                  </a:lnTo>
                  <a:cubicBezTo>
                    <a:pt x="157163" y="180407"/>
                    <a:pt x="151832" y="185738"/>
                    <a:pt x="145256" y="185738"/>
                  </a:cubicBezTo>
                  <a:lnTo>
                    <a:pt x="140494" y="185738"/>
                  </a:lnTo>
                  <a:cubicBezTo>
                    <a:pt x="136549" y="185738"/>
                    <a:pt x="133350" y="188936"/>
                    <a:pt x="133350" y="192881"/>
                  </a:cubicBezTo>
                  <a:close/>
                </a:path>
              </a:pathLst>
            </a:custGeom>
            <a:gradFill flip="none" rotWithShape="1">
              <a:gsLst>
                <a:gs pos="39000">
                  <a:srgbClr val="C03BC4"/>
                </a:gs>
                <a:gs pos="100000">
                  <a:srgbClr val="FFFF00"/>
                </a:gs>
                <a:gs pos="5000">
                  <a:schemeClr val="accent3">
                    <a:lumMod val="60000"/>
                    <a:lumOff val="40000"/>
                  </a:schemeClr>
                </a:gs>
                <a:gs pos="75000">
                  <a:srgbClr val="FFA38B"/>
                </a:gs>
              </a:gsLst>
              <a:lin ang="18900000" scaled="1"/>
              <a:tileRect/>
            </a:gradFill>
            <a:ln w="63897"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TextBox 25">
              <a:extLst>
                <a:ext uri="{FF2B5EF4-FFF2-40B4-BE49-F238E27FC236}">
                  <a16:creationId xmlns:a16="http://schemas.microsoft.com/office/drawing/2014/main" id="{8EA7F83D-344B-83FB-7B2E-CD13741AF5D2}"/>
                </a:ext>
              </a:extLst>
            </p:cNvPr>
            <p:cNvSpPr txBox="1"/>
            <p:nvPr/>
          </p:nvSpPr>
          <p:spPr>
            <a:xfrm>
              <a:off x="887034" y="2905557"/>
              <a:ext cx="1454707" cy="507534"/>
            </a:xfrm>
            <a:prstGeom prst="rect">
              <a:avLst/>
            </a:prstGeom>
            <a:noFill/>
          </p:spPr>
          <p:txBody>
            <a:bodyPr vert="horz" wrap="square" lIns="0" tIns="0" rIns="0" bIns="0" rtlCol="0" anchor="ctr">
              <a:spAutoFit/>
            </a:bodyPr>
            <a:lstStyle/>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HR </a:t>
              </a:r>
            </a:p>
            <a:p>
              <a:pPr marL="0" marR="0" lvl="0" indent="0" algn="ctr" defTabSz="85725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outerShdw blurRad="38100" dist="38100" dir="2700000" algn="tl">
                      <a:srgbClr val="000000">
                        <a:alpha val="43137"/>
                      </a:srgbClr>
                    </a:outerShdw>
                  </a:effectLst>
                  <a:uLnTx/>
                  <a:uFillTx/>
                  <a:latin typeface="Segoe UI Semibold"/>
                  <a:ea typeface="+mn-ea"/>
                  <a:cs typeface="Segoe UI Semilight" panose="020B0402040204020203" pitchFamily="34" charset="0"/>
                </a:rPr>
                <a:t>agent</a:t>
              </a:r>
            </a:p>
          </p:txBody>
        </p:sp>
        <p:pic>
          <p:nvPicPr>
            <p:cNvPr id="27" name="Graphic 26" descr="Employee badge with solid fill">
              <a:extLst>
                <a:ext uri="{FF2B5EF4-FFF2-40B4-BE49-F238E27FC236}">
                  <a16:creationId xmlns:a16="http://schemas.microsoft.com/office/drawing/2014/main" id="{8F003DCD-CD9B-36E8-753A-7CAEF7BBD5F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95620" y="2114974"/>
              <a:ext cx="614400" cy="614400"/>
            </a:xfrm>
            <a:prstGeom prst="rect">
              <a:avLst/>
            </a:prstGeom>
          </p:spPr>
        </p:pic>
      </p:grpSp>
      <p:sp>
        <p:nvSpPr>
          <p:cNvPr id="36" name="Left Brace 35">
            <a:extLst>
              <a:ext uri="{FF2B5EF4-FFF2-40B4-BE49-F238E27FC236}">
                <a16:creationId xmlns:a16="http://schemas.microsoft.com/office/drawing/2014/main" id="{ABD1CA06-1D2E-C598-91F5-26D36AAD99DF}"/>
              </a:ext>
            </a:extLst>
          </p:cNvPr>
          <p:cNvSpPr/>
          <p:nvPr/>
        </p:nvSpPr>
        <p:spPr>
          <a:xfrm rot="5400000">
            <a:off x="9239657" y="2176673"/>
            <a:ext cx="279586" cy="252255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AU"/>
          </a:p>
        </p:txBody>
      </p:sp>
      <p:sp>
        <p:nvSpPr>
          <p:cNvPr id="37" name="TextBox 36">
            <a:extLst>
              <a:ext uri="{FF2B5EF4-FFF2-40B4-BE49-F238E27FC236}">
                <a16:creationId xmlns:a16="http://schemas.microsoft.com/office/drawing/2014/main" id="{61A5B394-B799-5B29-DA55-7257F0267AE9}"/>
              </a:ext>
            </a:extLst>
          </p:cNvPr>
          <p:cNvSpPr txBox="1"/>
          <p:nvPr/>
        </p:nvSpPr>
        <p:spPr>
          <a:xfrm>
            <a:off x="8392100" y="2890801"/>
            <a:ext cx="2021707" cy="400110"/>
          </a:xfrm>
          <a:prstGeom prst="rect">
            <a:avLst/>
          </a:prstGeom>
          <a:noFill/>
        </p:spPr>
        <p:txBody>
          <a:bodyPr wrap="none" rtlCol="0">
            <a:spAutoFit/>
          </a:bodyPr>
          <a:lstStyle/>
          <a:p>
            <a:r>
              <a:rPr lang="en-US" sz="2000">
                <a:latin typeface="Segoe UI Semibold" panose="020B0702040204020203" pitchFamily="34" charset="0"/>
                <a:cs typeface="Segoe UI Semibold" panose="020B0702040204020203" pitchFamily="34" charset="0"/>
              </a:rPr>
              <a:t>Example</a:t>
            </a:r>
            <a:r>
              <a:rPr lang="en-US" sz="1600"/>
              <a:t> </a:t>
            </a:r>
            <a:r>
              <a:rPr lang="en-US" sz="2000">
                <a:latin typeface="Segoe UI Semibold" panose="020B0702040204020203" pitchFamily="34" charset="0"/>
                <a:cs typeface="Segoe UI Semibold" panose="020B0702040204020203" pitchFamily="34" charset="0"/>
              </a:rPr>
              <a:t>Agents</a:t>
            </a:r>
            <a:endParaRPr lang="en-AU" sz="2000">
              <a:latin typeface="Segoe UI Semibold" panose="020B0702040204020203" pitchFamily="34" charset="0"/>
              <a:cs typeface="Segoe UI Semibold" panose="020B0702040204020203" pitchFamily="34" charset="0"/>
            </a:endParaRPr>
          </a:p>
        </p:txBody>
      </p:sp>
      <p:sp>
        <p:nvSpPr>
          <p:cNvPr id="45" name="Rectangle: Rounded Corners 44">
            <a:extLst>
              <a:ext uri="{FF2B5EF4-FFF2-40B4-BE49-F238E27FC236}">
                <a16:creationId xmlns:a16="http://schemas.microsoft.com/office/drawing/2014/main" id="{CAAEC0AD-D66B-B1F8-D073-FF944932F664}"/>
              </a:ext>
            </a:extLst>
          </p:cNvPr>
          <p:cNvSpPr/>
          <p:nvPr/>
        </p:nvSpPr>
        <p:spPr>
          <a:xfrm>
            <a:off x="6952410" y="2004027"/>
            <a:ext cx="4757483" cy="3863737"/>
          </a:xfrm>
          <a:prstGeom prst="roundRect">
            <a:avLst>
              <a:gd name="adj" fmla="val 4961"/>
            </a:avLst>
          </a:prstGeom>
          <a:noFill/>
          <a:ln w="41275" cap="flat" cmpd="sng" algn="ctr">
            <a:gradFill flip="none" rotWithShape="1">
              <a:gsLst>
                <a:gs pos="0">
                  <a:srgbClr val="FF5C39"/>
                </a:gs>
                <a:gs pos="26000">
                  <a:srgbClr val="F4364C"/>
                </a:gs>
                <a:gs pos="50000">
                  <a:srgbClr val="C03BC4"/>
                </a:gs>
                <a:gs pos="100000">
                  <a:schemeClr val="accent6"/>
                </a:gs>
                <a:gs pos="77000">
                  <a:srgbClr val="0078D4"/>
                </a:gs>
              </a:gsLst>
              <a:path path="circle">
                <a:fillToRect r="100000" b="100000"/>
              </a:path>
              <a:tileRect l="-100000" t="-100000"/>
            </a:gradFill>
            <a:prstDash val="solid"/>
            <a:miter lim="800000"/>
          </a:ln>
          <a:effectLst/>
        </p:spPr>
        <p:txBody>
          <a:bodyPr lIns="288000" tIns="171450" bIns="171450" rtlCol="0" anchor="ctr"/>
          <a:lstStyle/>
          <a:p>
            <a:pPr defTabSz="857250"/>
            <a:endParaRPr lang="en-AU" sz="1000" kern="0">
              <a:solidFill>
                <a:schemeClr val="tx1"/>
              </a:solidFill>
              <a:latin typeface="Segoe UI Semibold"/>
            </a:endParaRPr>
          </a:p>
        </p:txBody>
      </p:sp>
    </p:spTree>
    <p:extLst>
      <p:ext uri="{BB962C8B-B14F-4D97-AF65-F5344CB8AC3E}">
        <p14:creationId xmlns:p14="http://schemas.microsoft.com/office/powerpoint/2010/main" val="385788292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7509B9C5-4751-6165-A52F-8FB6B200B5BF}"/>
              </a:ext>
              <a:ext uri="{C183D7F6-B498-43B3-948B-1728B52AA6E4}">
                <adec:decorative xmlns:adec="http://schemas.microsoft.com/office/drawing/2017/decorative" val="1"/>
              </a:ext>
            </a:extLst>
          </p:cNvPr>
          <p:cNvSpPr>
            <a:spLocks/>
          </p:cNvSpPr>
          <p:nvPr/>
        </p:nvSpPr>
        <p:spPr bwMode="auto">
          <a:xfrm rot="16200000" flipH="1">
            <a:off x="8653696" y="3319696"/>
            <a:ext cx="3428999" cy="3647612"/>
          </a:xfrm>
          <a:custGeom>
            <a:avLst/>
            <a:gdLst>
              <a:gd name="connsiteX0" fmla="*/ 0 w 2698980"/>
              <a:gd name="connsiteY0" fmla="*/ 2009890 h 2871051"/>
              <a:gd name="connsiteX1" fmla="*/ 157947 w 2698980"/>
              <a:gd name="connsiteY1" fmla="*/ 2792230 h 2871051"/>
              <a:gd name="connsiteX2" fmla="*/ 195917 w 2698980"/>
              <a:gd name="connsiteY2" fmla="*/ 2871051 h 2871051"/>
              <a:gd name="connsiteX3" fmla="*/ 2698980 w 2698980"/>
              <a:gd name="connsiteY3" fmla="*/ 2871051 h 2871051"/>
              <a:gd name="connsiteX4" fmla="*/ 2698980 w 2698980"/>
              <a:gd name="connsiteY4" fmla="*/ 123817 h 2871051"/>
              <a:gd name="connsiteX5" fmla="*/ 2607570 w 2698980"/>
              <a:gd name="connsiteY5" fmla="*/ 90361 h 2871051"/>
              <a:gd name="connsiteX6" fmla="*/ 2009890 w 2698980"/>
              <a:gd name="connsiteY6" fmla="*/ 0 h 2871051"/>
              <a:gd name="connsiteX7" fmla="*/ 0 w 2698980"/>
              <a:gd name="connsiteY7" fmla="*/ 2009890 h 287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8980" h="2871051">
                <a:moveTo>
                  <a:pt x="0" y="2009890"/>
                </a:moveTo>
                <a:cubicBezTo>
                  <a:pt x="0" y="2287398"/>
                  <a:pt x="56241" y="2551770"/>
                  <a:pt x="157947" y="2792230"/>
                </a:cubicBezTo>
                <a:lnTo>
                  <a:pt x="195917" y="2871051"/>
                </a:lnTo>
                <a:lnTo>
                  <a:pt x="2698980" y="2871051"/>
                </a:lnTo>
                <a:lnTo>
                  <a:pt x="2698980" y="123817"/>
                </a:lnTo>
                <a:lnTo>
                  <a:pt x="2607570" y="90361"/>
                </a:lnTo>
                <a:cubicBezTo>
                  <a:pt x="2418763" y="31636"/>
                  <a:pt x="2218021" y="0"/>
                  <a:pt x="2009890" y="0"/>
                </a:cubicBezTo>
                <a:cubicBezTo>
                  <a:pt x="899858" y="0"/>
                  <a:pt x="0" y="899858"/>
                  <a:pt x="0" y="2009890"/>
                </a:cubicBezTo>
                <a:close/>
              </a:path>
            </a:pathLst>
          </a:custGeom>
          <a:solidFill>
            <a:schemeClr val="bg1">
              <a:lumMod val="9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000000"/>
              </a:solidFill>
              <a:effectLst/>
              <a:uLnTx/>
              <a:uFillTx/>
              <a:latin typeface="Segoe UI"/>
              <a:ea typeface="+mn-ea"/>
              <a:cs typeface="Segoe UI Semibold" panose="020B0502040204020203" pitchFamily="34" charset="0"/>
            </a:endParaRPr>
          </a:p>
        </p:txBody>
      </p:sp>
      <p:sp>
        <p:nvSpPr>
          <p:cNvPr id="5" name="Rectangle: Top Corners Rounded 4">
            <a:extLst>
              <a:ext uri="{FF2B5EF4-FFF2-40B4-BE49-F238E27FC236}">
                <a16:creationId xmlns:a16="http://schemas.microsoft.com/office/drawing/2014/main" id="{74C82F83-B3AE-2F62-6985-5CB83E0A56E3}"/>
              </a:ext>
              <a:ext uri="{C183D7F6-B498-43B3-948B-1728B52AA6E4}">
                <adec:decorative xmlns:adec="http://schemas.microsoft.com/office/drawing/2017/decorative" val="1"/>
              </a:ext>
            </a:extLst>
          </p:cNvPr>
          <p:cNvSpPr>
            <a:spLocks/>
          </p:cNvSpPr>
          <p:nvPr/>
        </p:nvSpPr>
        <p:spPr bwMode="auto">
          <a:xfrm rot="10800000">
            <a:off x="595086" y="-1"/>
            <a:ext cx="4423002" cy="6269038"/>
          </a:xfrm>
          <a:prstGeom prst="round2SameRect">
            <a:avLst>
              <a:gd name="adj1" fmla="val 7320"/>
              <a:gd name="adj2" fmla="val 0"/>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7" name="Rectangle: Rounded Corners 6">
            <a:extLst>
              <a:ext uri="{FF2B5EF4-FFF2-40B4-BE49-F238E27FC236}">
                <a16:creationId xmlns:a16="http://schemas.microsoft.com/office/drawing/2014/main" id="{5F4C3E17-CEAF-2D6D-A182-EAE439FB14D3}"/>
              </a:ext>
              <a:ext uri="{C183D7F6-B498-43B3-948B-1728B52AA6E4}">
                <adec:decorative xmlns:adec="http://schemas.microsoft.com/office/drawing/2017/decorative" val="1"/>
              </a:ext>
            </a:extLst>
          </p:cNvPr>
          <p:cNvSpPr>
            <a:spLocks/>
          </p:cNvSpPr>
          <p:nvPr/>
        </p:nvSpPr>
        <p:spPr bwMode="auto">
          <a:xfrm>
            <a:off x="5847218" y="730527"/>
            <a:ext cx="4816021" cy="5276574"/>
          </a:xfrm>
          <a:prstGeom prst="roundRect">
            <a:avLst>
              <a:gd name="adj" fmla="val 5178"/>
            </a:avLst>
          </a:prstGeom>
          <a:gradFill flip="none" rotWithShape="1">
            <a:gsLst>
              <a:gs pos="75000">
                <a:srgbClr val="89BCE7">
                  <a:alpha val="50000"/>
                </a:srgbClr>
              </a:gs>
              <a:gs pos="50000">
                <a:srgbClr val="D095DA">
                  <a:alpha val="50000"/>
                </a:srgbClr>
              </a:gs>
              <a:gs pos="25000">
                <a:srgbClr val="D4A0B5">
                  <a:alpha val="50000"/>
                </a:srgbClr>
              </a:gs>
              <a:gs pos="0">
                <a:srgbClr val="D9C3B6">
                  <a:alpha val="50000"/>
                </a:srgbClr>
              </a:gs>
              <a:gs pos="100000">
                <a:srgbClr val="75AEDA">
                  <a:alpha val="50000"/>
                </a:srgb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EFFFE"/>
              </a:solidFill>
              <a:effectLst/>
              <a:uLnTx/>
              <a:uFillTx/>
              <a:latin typeface="Segoe Sans Text"/>
              <a:ea typeface="+mn-ea"/>
              <a:cs typeface="+mn-cs"/>
            </a:endParaRPr>
          </a:p>
        </p:txBody>
      </p:sp>
      <p:sp>
        <p:nvSpPr>
          <p:cNvPr id="21" name="Title 1">
            <a:extLst>
              <a:ext uri="{FF2B5EF4-FFF2-40B4-BE49-F238E27FC236}">
                <a16:creationId xmlns:a16="http://schemas.microsoft.com/office/drawing/2014/main" id="{6B9EEB03-0B00-30E2-AF18-2B9BDBB70195}"/>
              </a:ext>
            </a:extLst>
          </p:cNvPr>
          <p:cNvSpPr>
            <a:spLocks noGrp="1"/>
          </p:cNvSpPr>
          <p:nvPr>
            <p:ph type="title"/>
          </p:nvPr>
        </p:nvSpPr>
        <p:spPr>
          <a:xfrm>
            <a:off x="1051005" y="2457410"/>
            <a:ext cx="3511164" cy="1477328"/>
          </a:xfrm>
        </p:spPr>
        <p:txBody>
          <a:bodyPr/>
          <a:lstStyle/>
          <a:p>
            <a:pPr algn="ctr"/>
            <a:r>
              <a:rPr lang="en-US" sz="4800" spc="0">
                <a:latin typeface="+mj-lt"/>
              </a:rPr>
              <a:t>How can we help you?</a:t>
            </a:r>
          </a:p>
        </p:txBody>
      </p:sp>
      <p:pic>
        <p:nvPicPr>
          <p:cNvPr id="6" name="Picture 5" descr="A QR Code">
            <a:extLst>
              <a:ext uri="{FF2B5EF4-FFF2-40B4-BE49-F238E27FC236}">
                <a16:creationId xmlns:a16="http://schemas.microsoft.com/office/drawing/2014/main" id="{FC7386D5-D1AC-A111-7E8F-A61EADF9C524}"/>
              </a:ext>
            </a:extLst>
          </p:cNvPr>
          <p:cNvPicPr>
            <a:picLocks/>
          </p:cNvPicPr>
          <p:nvPr/>
        </p:nvPicPr>
        <p:blipFill rotWithShape="1">
          <a:blip r:embed="rId3" cstate="screen">
            <a:extLst>
              <a:ext uri="{28A0092B-C50C-407E-A947-70E740481C1C}">
                <a14:useLocalDpi xmlns:a14="http://schemas.microsoft.com/office/drawing/2010/main"/>
              </a:ext>
            </a:extLst>
          </a:blip>
          <a:srcRect l="-4308" t="-2111" r="-4308" b="-2111"/>
          <a:stretch/>
        </p:blipFill>
        <p:spPr>
          <a:xfrm>
            <a:off x="5998732" y="885441"/>
            <a:ext cx="4512992" cy="4226569"/>
          </a:xfrm>
          <a:prstGeom prst="roundRect">
            <a:avLst>
              <a:gd name="adj" fmla="val 4407"/>
            </a:avLst>
          </a:prstGeom>
          <a:solidFill>
            <a:schemeClr val="bg1"/>
          </a:solidFill>
        </p:spPr>
      </p:pic>
      <p:sp>
        <p:nvSpPr>
          <p:cNvPr id="2" name="Oval 1091_1">
            <a:hlinkClick r:id="rId4"/>
            <a:extLst>
              <a:ext uri="{FF2B5EF4-FFF2-40B4-BE49-F238E27FC236}">
                <a16:creationId xmlns:a16="http://schemas.microsoft.com/office/drawing/2014/main" id="{D42CD9AA-E534-1CAC-3624-77E2C1A3E68C}"/>
              </a:ext>
              <a:ext uri="{C183D7F6-B498-43B3-948B-1728B52AA6E4}">
                <adec:decorative xmlns:adec="http://schemas.microsoft.com/office/drawing/2017/decorative" val="0"/>
              </a:ext>
            </a:extLst>
          </p:cNvPr>
          <p:cNvSpPr>
            <a:spLocks/>
          </p:cNvSpPr>
          <p:nvPr/>
        </p:nvSpPr>
        <p:spPr bwMode="auto">
          <a:xfrm>
            <a:off x="6344448" y="5300000"/>
            <a:ext cx="3821560" cy="519112"/>
          </a:xfrm>
          <a:prstGeom prst="roundRect">
            <a:avLst>
              <a:gd name="adj" fmla="val 50000"/>
            </a:avLst>
          </a:prstGeom>
          <a:solidFill>
            <a:schemeClr val="bg1">
              <a:lumMod val="95000"/>
              <a:alpha val="99000"/>
            </a:schemeClr>
          </a:solidFill>
          <a:ln w="6350" cap="flat" cmpd="sng" algn="ctr">
            <a:noFill/>
            <a:prstDash val="solid"/>
            <a:miter lim="800000"/>
            <a:headEnd type="none" w="med" len="med"/>
            <a:tailEnd type="none" w="med" len="med"/>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rgbClr val="0078D4"/>
                </a:solidFill>
                <a:effectLst/>
                <a:uLnTx/>
                <a:uFillTx/>
                <a:latin typeface="Segoe UI Semibold"/>
                <a:ea typeface="+mn-ea"/>
                <a:cs typeface="+mn-cs"/>
                <a:hlinkClick r:id="rId5">
                  <a:extLst>
                    <a:ext uri="{A12FA001-AC4F-418D-AE19-62706E023703}">
                      <ahyp:hlinkClr xmlns:ahyp="http://schemas.microsoft.com/office/drawing/2018/hyperlinkcolor" val="tx"/>
                    </a:ext>
                  </a:extLst>
                </a:hlinkClick>
              </a:rPr>
              <a:t>MSCopilotHelp</a:t>
            </a:r>
            <a:endParaRPr kumimoji="0" lang="en-US" sz="2000" b="0" i="0" u="none" strike="noStrike" kern="1200" cap="none" spc="0" normalizeH="0" baseline="0" noProof="0">
              <a:ln>
                <a:noFill/>
              </a:ln>
              <a:solidFill>
                <a:srgbClr val="0078D4"/>
              </a:solidFill>
              <a:effectLst/>
              <a:uLnTx/>
              <a:uFillTx/>
              <a:latin typeface="Segoe UI Semibold"/>
              <a:ea typeface="+mn-ea"/>
              <a:cs typeface="+mn-cs"/>
            </a:endParaRPr>
          </a:p>
        </p:txBody>
      </p:sp>
      <p:grpSp>
        <p:nvGrpSpPr>
          <p:cNvPr id="8" name="Group 7">
            <a:extLst>
              <a:ext uri="{FF2B5EF4-FFF2-40B4-BE49-F238E27FC236}">
                <a16:creationId xmlns:a16="http://schemas.microsoft.com/office/drawing/2014/main" id="{36A91E4B-1331-8CDA-5F8F-5DB1C89BA015}"/>
              </a:ext>
              <a:ext uri="{C183D7F6-B498-43B3-948B-1728B52AA6E4}">
                <adec:decorative xmlns:adec="http://schemas.microsoft.com/office/drawing/2017/decorative" val="1"/>
              </a:ext>
            </a:extLst>
          </p:cNvPr>
          <p:cNvGrpSpPr/>
          <p:nvPr/>
        </p:nvGrpSpPr>
        <p:grpSpPr>
          <a:xfrm>
            <a:off x="6423565" y="5361437"/>
            <a:ext cx="396238" cy="396238"/>
            <a:chOff x="632462" y="5834381"/>
            <a:chExt cx="396238" cy="396238"/>
          </a:xfrm>
        </p:grpSpPr>
        <p:sp>
          <p:nvSpPr>
            <p:cNvPr id="9" name="Freeform: Shape 115">
              <a:extLst>
                <a:ext uri="{FF2B5EF4-FFF2-40B4-BE49-F238E27FC236}">
                  <a16:creationId xmlns:a16="http://schemas.microsoft.com/office/drawing/2014/main" id="{7F028BF7-3A6A-B247-3DA5-51CAF0A7C378}"/>
                </a:ext>
                <a:ext uri="{C183D7F6-B498-43B3-948B-1728B52AA6E4}">
                  <adec:decorative xmlns:adec="http://schemas.microsoft.com/office/drawing/2017/decorative" val="1"/>
                </a:ext>
              </a:extLst>
            </p:cNvPr>
            <p:cNvSpPr/>
            <p:nvPr/>
          </p:nvSpPr>
          <p:spPr bwMode="auto">
            <a:xfrm>
              <a:off x="632462" y="5834381"/>
              <a:ext cx="396238" cy="396238"/>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Graphic 255" descr="Icon of a finger tapping on a screen">
              <a:extLst>
                <a:ext uri="{FF2B5EF4-FFF2-40B4-BE49-F238E27FC236}">
                  <a16:creationId xmlns:a16="http://schemas.microsoft.com/office/drawing/2014/main" id="{F8C9D774-29E2-C730-CEF0-231B1A2EABA8}"/>
                </a:ext>
              </a:extLst>
            </p:cNvPr>
            <p:cNvSpPr/>
            <p:nvPr/>
          </p:nvSpPr>
          <p:spPr>
            <a:xfrm>
              <a:off x="737803" y="5909469"/>
              <a:ext cx="185556" cy="246062"/>
            </a:xfrm>
            <a:custGeom>
              <a:avLst/>
              <a:gdLst>
                <a:gd name="connsiteX0" fmla="*/ 93411 w 193276"/>
                <a:gd name="connsiteY0" fmla="*/ 48380 h 256300"/>
                <a:gd name="connsiteX1" fmla="*/ 121057 w 193276"/>
                <a:gd name="connsiteY1" fmla="*/ 80532 h 256300"/>
                <a:gd name="connsiteX2" fmla="*/ 121099 w 193276"/>
                <a:gd name="connsiteY2" fmla="*/ 83145 h 256300"/>
                <a:gd name="connsiteX3" fmla="*/ 121099 w 193276"/>
                <a:gd name="connsiteY3" fmla="*/ 117494 h 256300"/>
                <a:gd name="connsiteX4" fmla="*/ 160784 w 193276"/>
                <a:gd name="connsiteY4" fmla="*/ 123328 h 256300"/>
                <a:gd name="connsiteX5" fmla="*/ 192868 w 193276"/>
                <a:gd name="connsiteY5" fmla="*/ 166462 h 256300"/>
                <a:gd name="connsiteX6" fmla="*/ 192466 w 193276"/>
                <a:gd name="connsiteY6" fmla="*/ 168722 h 256300"/>
                <a:gd name="connsiteX7" fmla="*/ 191913 w 193276"/>
                <a:gd name="connsiteY7" fmla="*/ 171072 h 256300"/>
                <a:gd name="connsiteX8" fmla="*/ 174939 w 193276"/>
                <a:gd name="connsiteY8" fmla="*/ 232473 h 256300"/>
                <a:gd name="connsiteX9" fmla="*/ 157079 w 193276"/>
                <a:gd name="connsiteY9" fmla="*/ 249600 h 256300"/>
                <a:gd name="connsiteX10" fmla="*/ 155061 w 193276"/>
                <a:gd name="connsiteY10" fmla="*/ 249973 h 256300"/>
                <a:gd name="connsiteX11" fmla="*/ 112750 w 193276"/>
                <a:gd name="connsiteY11" fmla="*/ 256055 h 256300"/>
                <a:gd name="connsiteX12" fmla="*/ 87523 w 193276"/>
                <a:gd name="connsiteY12" fmla="*/ 242605 h 256300"/>
                <a:gd name="connsiteX13" fmla="*/ 86693 w 193276"/>
                <a:gd name="connsiteY13" fmla="*/ 240670 h 256300"/>
                <a:gd name="connsiteX14" fmla="*/ 83694 w 193276"/>
                <a:gd name="connsiteY14" fmla="*/ 232763 h 256300"/>
                <a:gd name="connsiteX15" fmla="*/ 67438 w 193276"/>
                <a:gd name="connsiteY15" fmla="*/ 209624 h 256300"/>
                <a:gd name="connsiteX16" fmla="*/ 64632 w 193276"/>
                <a:gd name="connsiteY16" fmla="*/ 207371 h 256300"/>
                <a:gd name="connsiteX17" fmla="*/ 42571 w 193276"/>
                <a:gd name="connsiteY17" fmla="*/ 190783 h 256300"/>
                <a:gd name="connsiteX18" fmla="*/ 38894 w 193276"/>
                <a:gd name="connsiteY18" fmla="*/ 188489 h 256300"/>
                <a:gd name="connsiteX19" fmla="*/ 36917 w 193276"/>
                <a:gd name="connsiteY19" fmla="*/ 187604 h 256300"/>
                <a:gd name="connsiteX20" fmla="*/ 6576 w 193276"/>
                <a:gd name="connsiteY20" fmla="*/ 175606 h 256300"/>
                <a:gd name="connsiteX21" fmla="*/ 24 w 193276"/>
                <a:gd name="connsiteY21" fmla="*/ 166483 h 256300"/>
                <a:gd name="connsiteX22" fmla="*/ 19680 w 193276"/>
                <a:gd name="connsiteY22" fmla="*/ 142818 h 256300"/>
                <a:gd name="connsiteX23" fmla="*/ 62061 w 193276"/>
                <a:gd name="connsiteY23" fmla="*/ 143412 h 256300"/>
                <a:gd name="connsiteX24" fmla="*/ 65821 w 193276"/>
                <a:gd name="connsiteY24" fmla="*/ 144518 h 256300"/>
                <a:gd name="connsiteX25" fmla="*/ 65821 w 193276"/>
                <a:gd name="connsiteY25" fmla="*/ 83006 h 256300"/>
                <a:gd name="connsiteX26" fmla="*/ 93411 w 193276"/>
                <a:gd name="connsiteY26" fmla="*/ 48366 h 256300"/>
                <a:gd name="connsiteX27" fmla="*/ 93411 w 193276"/>
                <a:gd name="connsiteY27" fmla="*/ 0 h 256300"/>
                <a:gd name="connsiteX28" fmla="*/ 172934 w 193276"/>
                <a:gd name="connsiteY28" fmla="*/ 79440 h 256300"/>
                <a:gd name="connsiteX29" fmla="*/ 166673 w 193276"/>
                <a:gd name="connsiteY29" fmla="*/ 110403 h 256300"/>
                <a:gd name="connsiteX30" fmla="*/ 169064 w 193276"/>
                <a:gd name="connsiteY30" fmla="*/ 110984 h 256300"/>
                <a:gd name="connsiteX31" fmla="*/ 162802 w 193276"/>
                <a:gd name="connsiteY31" fmla="*/ 109671 h 256300"/>
                <a:gd name="connsiteX32" fmla="*/ 145289 w 193276"/>
                <a:gd name="connsiteY32" fmla="*/ 107100 h 256300"/>
                <a:gd name="connsiteX33" fmla="*/ 121021 w 193276"/>
                <a:gd name="connsiteY33" fmla="*/ 27642 h 256300"/>
                <a:gd name="connsiteX34" fmla="*/ 41563 w 193276"/>
                <a:gd name="connsiteY34" fmla="*/ 51909 h 256300"/>
                <a:gd name="connsiteX35" fmla="*/ 52012 w 193276"/>
                <a:gd name="connsiteY35" fmla="*/ 121171 h 256300"/>
                <a:gd name="connsiteX36" fmla="*/ 51998 w 193276"/>
                <a:gd name="connsiteY36" fmla="*/ 126908 h 256300"/>
                <a:gd name="connsiteX37" fmla="*/ 28886 w 193276"/>
                <a:gd name="connsiteY37" fmla="*/ 125913 h 256300"/>
                <a:gd name="connsiteX38" fmla="*/ 46965 w 193276"/>
                <a:gd name="connsiteY38" fmla="*/ 14972 h 256300"/>
                <a:gd name="connsiteX39" fmla="*/ 93425 w 193276"/>
                <a:gd name="connsiteY39" fmla="*/ 0 h 25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3276" h="256300">
                  <a:moveTo>
                    <a:pt x="93411" y="48380"/>
                  </a:moveTo>
                  <a:cubicBezTo>
                    <a:pt x="112183" y="48380"/>
                    <a:pt x="120394" y="60793"/>
                    <a:pt x="121057" y="80532"/>
                  </a:cubicBezTo>
                  <a:lnTo>
                    <a:pt x="121099" y="83145"/>
                  </a:lnTo>
                  <a:lnTo>
                    <a:pt x="121099" y="117494"/>
                  </a:lnTo>
                  <a:lnTo>
                    <a:pt x="160784" y="123328"/>
                  </a:lnTo>
                  <a:cubicBezTo>
                    <a:pt x="181556" y="126380"/>
                    <a:pt x="195919" y="145692"/>
                    <a:pt x="192868" y="166462"/>
                  </a:cubicBezTo>
                  <a:cubicBezTo>
                    <a:pt x="192756" y="167219"/>
                    <a:pt x="192622" y="167973"/>
                    <a:pt x="192466" y="168722"/>
                  </a:cubicBezTo>
                  <a:lnTo>
                    <a:pt x="191913" y="171072"/>
                  </a:lnTo>
                  <a:lnTo>
                    <a:pt x="174939" y="232473"/>
                  </a:lnTo>
                  <a:cubicBezTo>
                    <a:pt x="172576" y="241025"/>
                    <a:pt x="165723" y="247598"/>
                    <a:pt x="157079" y="249600"/>
                  </a:cubicBezTo>
                  <a:lnTo>
                    <a:pt x="155061" y="249973"/>
                  </a:lnTo>
                  <a:lnTo>
                    <a:pt x="112750" y="256055"/>
                  </a:lnTo>
                  <a:cubicBezTo>
                    <a:pt x="102308" y="257552"/>
                    <a:pt x="92100" y="252110"/>
                    <a:pt x="87523" y="242605"/>
                  </a:cubicBezTo>
                  <a:lnTo>
                    <a:pt x="86693" y="240670"/>
                  </a:lnTo>
                  <a:lnTo>
                    <a:pt x="83694" y="232763"/>
                  </a:lnTo>
                  <a:cubicBezTo>
                    <a:pt x="80302" y="223809"/>
                    <a:pt x="74712" y="215851"/>
                    <a:pt x="67438" y="209624"/>
                  </a:cubicBezTo>
                  <a:lnTo>
                    <a:pt x="64632" y="207371"/>
                  </a:lnTo>
                  <a:lnTo>
                    <a:pt x="42571" y="190783"/>
                  </a:lnTo>
                  <a:cubicBezTo>
                    <a:pt x="41416" y="189910"/>
                    <a:pt x="40186" y="189143"/>
                    <a:pt x="38894" y="188489"/>
                  </a:cubicBezTo>
                  <a:lnTo>
                    <a:pt x="36917" y="187604"/>
                  </a:lnTo>
                  <a:lnTo>
                    <a:pt x="6576" y="175606"/>
                  </a:lnTo>
                  <a:cubicBezTo>
                    <a:pt x="2791" y="174114"/>
                    <a:pt x="229" y="170545"/>
                    <a:pt x="24" y="166483"/>
                  </a:cubicBezTo>
                  <a:cubicBezTo>
                    <a:pt x="-474" y="156503"/>
                    <a:pt x="6797" y="149259"/>
                    <a:pt x="19680" y="142818"/>
                  </a:cubicBezTo>
                  <a:cubicBezTo>
                    <a:pt x="29619" y="137842"/>
                    <a:pt x="43552" y="138256"/>
                    <a:pt x="62061" y="143412"/>
                  </a:cubicBezTo>
                  <a:lnTo>
                    <a:pt x="65821" y="144518"/>
                  </a:lnTo>
                  <a:lnTo>
                    <a:pt x="65821" y="83006"/>
                  </a:lnTo>
                  <a:cubicBezTo>
                    <a:pt x="65821" y="61747"/>
                    <a:pt x="73810" y="48366"/>
                    <a:pt x="93411" y="48366"/>
                  </a:cubicBezTo>
                  <a:close/>
                  <a:moveTo>
                    <a:pt x="93411" y="0"/>
                  </a:moveTo>
                  <a:cubicBezTo>
                    <a:pt x="137307" y="-23"/>
                    <a:pt x="172911" y="35544"/>
                    <a:pt x="172934" y="79440"/>
                  </a:cubicBezTo>
                  <a:cubicBezTo>
                    <a:pt x="172940" y="90076"/>
                    <a:pt x="170810" y="100605"/>
                    <a:pt x="166673" y="110403"/>
                  </a:cubicBezTo>
                  <a:lnTo>
                    <a:pt x="169064" y="110984"/>
                  </a:lnTo>
                  <a:cubicBezTo>
                    <a:pt x="167006" y="110419"/>
                    <a:pt x="164914" y="109979"/>
                    <a:pt x="162802" y="109671"/>
                  </a:cubicBezTo>
                  <a:lnTo>
                    <a:pt x="145289" y="107100"/>
                  </a:lnTo>
                  <a:cubicBezTo>
                    <a:pt x="160528" y="78457"/>
                    <a:pt x="149664" y="42882"/>
                    <a:pt x="121021" y="27642"/>
                  </a:cubicBezTo>
                  <a:cubicBezTo>
                    <a:pt x="92377" y="12401"/>
                    <a:pt x="56803" y="23267"/>
                    <a:pt x="41563" y="51909"/>
                  </a:cubicBezTo>
                  <a:cubicBezTo>
                    <a:pt x="29396" y="74776"/>
                    <a:pt x="33641" y="102912"/>
                    <a:pt x="52012" y="121171"/>
                  </a:cubicBezTo>
                  <a:lnTo>
                    <a:pt x="51998" y="126908"/>
                  </a:lnTo>
                  <a:cubicBezTo>
                    <a:pt x="43511" y="125401"/>
                    <a:pt x="35853" y="125028"/>
                    <a:pt x="28886" y="125913"/>
                  </a:cubicBezTo>
                  <a:cubicBezTo>
                    <a:pt x="3243" y="90285"/>
                    <a:pt x="11337" y="40615"/>
                    <a:pt x="46965" y="14972"/>
                  </a:cubicBezTo>
                  <a:cubicBezTo>
                    <a:pt x="60498" y="5232"/>
                    <a:pt x="76751" y="-6"/>
                    <a:pt x="93425" y="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15" name="Graphic 71" descr="Icon of a chat bubble">
            <a:extLst>
              <a:ext uri="{FF2B5EF4-FFF2-40B4-BE49-F238E27FC236}">
                <a16:creationId xmlns:a16="http://schemas.microsoft.com/office/drawing/2014/main" id="{3A5BE175-ACA6-E62F-51E3-71AE1AC7DAFA}"/>
              </a:ext>
            </a:extLst>
          </p:cNvPr>
          <p:cNvSpPr>
            <a:spLocks/>
          </p:cNvSpPr>
          <p:nvPr/>
        </p:nvSpPr>
        <p:spPr>
          <a:xfrm>
            <a:off x="2372658" y="1276252"/>
            <a:ext cx="867858" cy="778784"/>
          </a:xfrm>
          <a:custGeom>
            <a:avLst/>
            <a:gdLst>
              <a:gd name="connsiteX0" fmla="*/ 71458 w 191141"/>
              <a:gd name="connsiteY0" fmla="*/ 0 h 171485"/>
              <a:gd name="connsiteX1" fmla="*/ 0 w 191141"/>
              <a:gd name="connsiteY1" fmla="*/ 71417 h 171485"/>
              <a:gd name="connsiteX2" fmla="*/ 6717 w 191141"/>
              <a:gd name="connsiteY2" fmla="*/ 101679 h 171485"/>
              <a:gd name="connsiteX3" fmla="*/ 230 w 191141"/>
              <a:gd name="connsiteY3" fmla="*/ 131607 h 171485"/>
              <a:gd name="connsiteX4" fmla="*/ 7739 w 191141"/>
              <a:gd name="connsiteY4" fmla="*/ 142725 h 171485"/>
              <a:gd name="connsiteX5" fmla="*/ 11213 w 191141"/>
              <a:gd name="connsiteY5" fmla="*/ 142751 h 171485"/>
              <a:gd name="connsiteX6" fmla="*/ 42036 w 191141"/>
              <a:gd name="connsiteY6" fmla="*/ 136560 h 171485"/>
              <a:gd name="connsiteX7" fmla="*/ 136525 w 191141"/>
              <a:gd name="connsiteY7" fmla="*/ 100804 h 171485"/>
              <a:gd name="connsiteX8" fmla="*/ 100769 w 191141"/>
              <a:gd name="connsiteY8" fmla="*/ 6315 h 171485"/>
              <a:gd name="connsiteX9" fmla="*/ 71458 w 191141"/>
              <a:gd name="connsiteY9" fmla="*/ 0 h 171485"/>
              <a:gd name="connsiteX10" fmla="*/ 71096 w 191141"/>
              <a:gd name="connsiteY10" fmla="*/ 152400 h 171485"/>
              <a:gd name="connsiteX11" fmla="*/ 119674 w 191141"/>
              <a:gd name="connsiteY11" fmla="*/ 171450 h 171485"/>
              <a:gd name="connsiteX12" fmla="*/ 149087 w 191141"/>
              <a:gd name="connsiteY12" fmla="*/ 165135 h 171485"/>
              <a:gd name="connsiteX13" fmla="*/ 176833 w 191141"/>
              <a:gd name="connsiteY13" fmla="*/ 171231 h 171485"/>
              <a:gd name="connsiteX14" fmla="*/ 190864 w 191141"/>
              <a:gd name="connsiteY14" fmla="*/ 162068 h 171485"/>
              <a:gd name="connsiteX15" fmla="*/ 190807 w 191141"/>
              <a:gd name="connsiteY15" fmla="*/ 156943 h 171485"/>
              <a:gd name="connsiteX16" fmla="*/ 184415 w 191141"/>
              <a:gd name="connsiteY16" fmla="*/ 130245 h 171485"/>
              <a:gd name="connsiteX17" fmla="*/ 149889 w 191141"/>
              <a:gd name="connsiteY17" fmla="*/ 35257 h 171485"/>
              <a:gd name="connsiteX18" fmla="*/ 143039 w 191141"/>
              <a:gd name="connsiteY18" fmla="*/ 32480 h 171485"/>
              <a:gd name="connsiteX19" fmla="*/ 150659 w 191141"/>
              <a:gd name="connsiteY19" fmla="*/ 51987 h 171485"/>
              <a:gd name="connsiteX20" fmla="*/ 176824 w 191141"/>
              <a:gd name="connsiteY20" fmla="*/ 100013 h 171485"/>
              <a:gd name="connsiteX21" fmla="*/ 170490 w 191141"/>
              <a:gd name="connsiteY21" fmla="*/ 126178 h 171485"/>
              <a:gd name="connsiteX22" fmla="*/ 169252 w 191141"/>
              <a:gd name="connsiteY22" fmla="*/ 128588 h 171485"/>
              <a:gd name="connsiteX23" fmla="*/ 169918 w 191141"/>
              <a:gd name="connsiteY23" fmla="*/ 131216 h 171485"/>
              <a:gd name="connsiteX24" fmla="*/ 176033 w 191141"/>
              <a:gd name="connsiteY24" fmla="*/ 156458 h 171485"/>
              <a:gd name="connsiteX25" fmla="*/ 149935 w 191141"/>
              <a:gd name="connsiteY25" fmla="*/ 150647 h 171485"/>
              <a:gd name="connsiteX26" fmla="*/ 147420 w 191141"/>
              <a:gd name="connsiteY26" fmla="*/ 150057 h 171485"/>
              <a:gd name="connsiteX27" fmla="*/ 145106 w 191141"/>
              <a:gd name="connsiteY27" fmla="*/ 151209 h 171485"/>
              <a:gd name="connsiteX28" fmla="*/ 119674 w 191141"/>
              <a:gd name="connsiteY28" fmla="*/ 157163 h 171485"/>
              <a:gd name="connsiteX29" fmla="*/ 91861 w 191141"/>
              <a:gd name="connsiteY29" fmla="*/ 149962 h 171485"/>
              <a:gd name="connsiteX30" fmla="*/ 71096 w 191141"/>
              <a:gd name="connsiteY30" fmla="*/ 152400 h 171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1141" h="171485">
                <a:moveTo>
                  <a:pt x="71458" y="0"/>
                </a:moveTo>
                <a:cubicBezTo>
                  <a:pt x="32004" y="-12"/>
                  <a:pt x="12" y="31963"/>
                  <a:pt x="0" y="71417"/>
                </a:cubicBezTo>
                <a:cubicBezTo>
                  <a:pt x="-3" y="81874"/>
                  <a:pt x="2290" y="92205"/>
                  <a:pt x="6717" y="101679"/>
                </a:cubicBezTo>
                <a:cubicBezTo>
                  <a:pt x="4319" y="111603"/>
                  <a:pt x="2157" y="121582"/>
                  <a:pt x="230" y="131607"/>
                </a:cubicBezTo>
                <a:cubicBezTo>
                  <a:pt x="-767" y="136750"/>
                  <a:pt x="2595" y="141729"/>
                  <a:pt x="7739" y="142725"/>
                </a:cubicBezTo>
                <a:cubicBezTo>
                  <a:pt x="8885" y="142948"/>
                  <a:pt x="10063" y="142957"/>
                  <a:pt x="11213" y="142751"/>
                </a:cubicBezTo>
                <a:cubicBezTo>
                  <a:pt x="17147" y="141703"/>
                  <a:pt x="30053" y="139322"/>
                  <a:pt x="42036" y="136560"/>
                </a:cubicBezTo>
                <a:cubicBezTo>
                  <a:pt x="78002" y="152778"/>
                  <a:pt x="120305" y="136770"/>
                  <a:pt x="136525" y="100804"/>
                </a:cubicBezTo>
                <a:cubicBezTo>
                  <a:pt x="152743" y="64838"/>
                  <a:pt x="136734" y="22534"/>
                  <a:pt x="100769" y="6315"/>
                </a:cubicBezTo>
                <a:cubicBezTo>
                  <a:pt x="91555" y="2160"/>
                  <a:pt x="81565" y="8"/>
                  <a:pt x="71458" y="0"/>
                </a:cubicBezTo>
                <a:close/>
                <a:moveTo>
                  <a:pt x="71096" y="152400"/>
                </a:moveTo>
                <a:cubicBezTo>
                  <a:pt x="84294" y="164670"/>
                  <a:pt x="101654" y="171478"/>
                  <a:pt x="119674" y="171450"/>
                </a:cubicBezTo>
                <a:cubicBezTo>
                  <a:pt x="130151" y="171450"/>
                  <a:pt x="140105" y="169193"/>
                  <a:pt x="149087" y="165135"/>
                </a:cubicBezTo>
                <a:cubicBezTo>
                  <a:pt x="159022" y="167459"/>
                  <a:pt x="169909" y="169783"/>
                  <a:pt x="176833" y="171231"/>
                </a:cubicBezTo>
                <a:cubicBezTo>
                  <a:pt x="183238" y="172575"/>
                  <a:pt x="189520" y="168473"/>
                  <a:pt x="190864" y="162068"/>
                </a:cubicBezTo>
                <a:cubicBezTo>
                  <a:pt x="191219" y="160376"/>
                  <a:pt x="191199" y="158627"/>
                  <a:pt x="190807" y="156943"/>
                </a:cubicBezTo>
                <a:cubicBezTo>
                  <a:pt x="189264" y="150247"/>
                  <a:pt x="186825" y="139846"/>
                  <a:pt x="184415" y="130245"/>
                </a:cubicBezTo>
                <a:cubicBezTo>
                  <a:pt x="201112" y="94480"/>
                  <a:pt x="185654" y="51953"/>
                  <a:pt x="149889" y="35257"/>
                </a:cubicBezTo>
                <a:cubicBezTo>
                  <a:pt x="147656" y="34214"/>
                  <a:pt x="145369" y="33287"/>
                  <a:pt x="143039" y="32480"/>
                </a:cubicBezTo>
                <a:cubicBezTo>
                  <a:pt x="146418" y="38623"/>
                  <a:pt x="148980" y="45181"/>
                  <a:pt x="150659" y="51987"/>
                </a:cubicBezTo>
                <a:cubicBezTo>
                  <a:pt x="166978" y="62506"/>
                  <a:pt x="176834" y="80597"/>
                  <a:pt x="176824" y="100013"/>
                </a:cubicBezTo>
                <a:cubicBezTo>
                  <a:pt x="176824" y="109461"/>
                  <a:pt x="174538" y="118348"/>
                  <a:pt x="170490" y="126178"/>
                </a:cubicBezTo>
                <a:lnTo>
                  <a:pt x="169252" y="128588"/>
                </a:lnTo>
                <a:lnTo>
                  <a:pt x="169918" y="131216"/>
                </a:lnTo>
                <a:cubicBezTo>
                  <a:pt x="172090" y="139741"/>
                  <a:pt x="174366" y="149314"/>
                  <a:pt x="176033" y="156458"/>
                </a:cubicBezTo>
                <a:cubicBezTo>
                  <a:pt x="168661" y="154905"/>
                  <a:pt x="158717" y="152743"/>
                  <a:pt x="149935" y="150647"/>
                </a:cubicBezTo>
                <a:lnTo>
                  <a:pt x="147420" y="150057"/>
                </a:lnTo>
                <a:lnTo>
                  <a:pt x="145106" y="151209"/>
                </a:lnTo>
                <a:cubicBezTo>
                  <a:pt x="137448" y="155019"/>
                  <a:pt x="128818" y="157163"/>
                  <a:pt x="119674" y="157163"/>
                </a:cubicBezTo>
                <a:cubicBezTo>
                  <a:pt x="109939" y="157181"/>
                  <a:pt x="100363" y="154701"/>
                  <a:pt x="91861" y="149962"/>
                </a:cubicBezTo>
                <a:cubicBezTo>
                  <a:pt x="85073" y="151667"/>
                  <a:pt x="78094" y="152487"/>
                  <a:pt x="71096" y="152400"/>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 name="Rectangle: Top Corners Rounded 3">
            <a:extLst>
              <a:ext uri="{FF2B5EF4-FFF2-40B4-BE49-F238E27FC236}">
                <a16:creationId xmlns:a16="http://schemas.microsoft.com/office/drawing/2014/main" id="{B7809566-B520-01DE-192B-BA57E6E2AE1F}"/>
              </a:ext>
              <a:ext uri="{C183D7F6-B498-43B3-948B-1728B52AA6E4}">
                <adec:decorative xmlns:adec="http://schemas.microsoft.com/office/drawing/2017/decorative" val="1"/>
              </a:ext>
            </a:extLst>
          </p:cNvPr>
          <p:cNvSpPr/>
          <p:nvPr/>
        </p:nvSpPr>
        <p:spPr bwMode="auto">
          <a:xfrm>
            <a:off x="2437374" y="2393770"/>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935805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 calcmode="lin" valueType="num">
                                      <p:cBhvr>
                                        <p:cTn id="10" dur="500" fill="hold"/>
                                        <p:tgtEl>
                                          <p:spTgt spid="15"/>
                                        </p:tgtEl>
                                        <p:attrNameLst>
                                          <p:attrName>ppt_w</p:attrName>
                                        </p:attrNameLst>
                                      </p:cBhvr>
                                      <p:tavLst>
                                        <p:tav tm="0">
                                          <p:val>
                                            <p:fltVal val="0"/>
                                          </p:val>
                                        </p:tav>
                                        <p:tav tm="100000">
                                          <p:val>
                                            <p:strVal val="#ppt_w"/>
                                          </p:val>
                                        </p:tav>
                                      </p:tavLst>
                                    </p:anim>
                                    <p:anim calcmode="lin" valueType="num">
                                      <p:cBhvr>
                                        <p:cTn id="11" dur="500" fill="hold"/>
                                        <p:tgtEl>
                                          <p:spTgt spid="15"/>
                                        </p:tgtEl>
                                        <p:attrNameLst>
                                          <p:attrName>ppt_h</p:attrName>
                                        </p:attrNameLst>
                                      </p:cBhvr>
                                      <p:tavLst>
                                        <p:tav tm="0">
                                          <p:val>
                                            <p:fltVal val="0"/>
                                          </p:val>
                                        </p:tav>
                                        <p:tav tm="100000">
                                          <p:val>
                                            <p:strVal val="#ppt_h"/>
                                          </p:val>
                                        </p:tav>
                                      </p:tavLst>
                                    </p:anim>
                                    <p:animEffect transition="in" filter="fade">
                                      <p:cBhvr>
                                        <p:cTn id="12" dur="500"/>
                                        <p:tgtEl>
                                          <p:spTgt spid="15"/>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500" fill="hold"/>
                                        <p:tgtEl>
                                          <p:spTgt spid="4"/>
                                        </p:tgtEl>
                                        <p:attrNameLst>
                                          <p:attrName>ppt_w</p:attrName>
                                        </p:attrNameLst>
                                      </p:cBhvr>
                                      <p:tavLst>
                                        <p:tav tm="0">
                                          <p:val>
                                            <p:fltVal val="0"/>
                                          </p:val>
                                        </p:tav>
                                        <p:tav tm="100000">
                                          <p:val>
                                            <p:strVal val="#ppt_w"/>
                                          </p:val>
                                        </p:tav>
                                      </p:tavLst>
                                    </p:anim>
                                    <p:anim calcmode="lin" valueType="num">
                                      <p:cBhvr>
                                        <p:cTn id="16" dur="500" fill="hold"/>
                                        <p:tgtEl>
                                          <p:spTgt spid="4"/>
                                        </p:tgtEl>
                                        <p:attrNameLst>
                                          <p:attrName>ppt_h</p:attrName>
                                        </p:attrNameLst>
                                      </p:cBhvr>
                                      <p:tavLst>
                                        <p:tav tm="0">
                                          <p:val>
                                            <p:fltVal val="0"/>
                                          </p:val>
                                        </p:tav>
                                        <p:tav tm="100000">
                                          <p:val>
                                            <p:strVal val="#ppt_h"/>
                                          </p:val>
                                        </p:tav>
                                      </p:tavLst>
                                    </p:anim>
                                    <p:animEffect transition="in" filter="fade">
                                      <p:cBhvr>
                                        <p:cTn id="17" dur="500"/>
                                        <p:tgtEl>
                                          <p:spTgt spid="4"/>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p:cTn id="20" dur="500" fill="hold"/>
                                        <p:tgtEl>
                                          <p:spTgt spid="21"/>
                                        </p:tgtEl>
                                        <p:attrNameLst>
                                          <p:attrName>ppt_w</p:attrName>
                                        </p:attrNameLst>
                                      </p:cBhvr>
                                      <p:tavLst>
                                        <p:tav tm="0">
                                          <p:val>
                                            <p:fltVal val="0"/>
                                          </p:val>
                                        </p:tav>
                                        <p:tav tm="100000">
                                          <p:val>
                                            <p:strVal val="#ppt_w"/>
                                          </p:val>
                                        </p:tav>
                                      </p:tavLst>
                                    </p:anim>
                                    <p:anim calcmode="lin" valueType="num">
                                      <p:cBhvr>
                                        <p:cTn id="21" dur="500" fill="hold"/>
                                        <p:tgtEl>
                                          <p:spTgt spid="21"/>
                                        </p:tgtEl>
                                        <p:attrNameLst>
                                          <p:attrName>ppt_h</p:attrName>
                                        </p:attrNameLst>
                                      </p:cBhvr>
                                      <p:tavLst>
                                        <p:tav tm="0">
                                          <p:val>
                                            <p:fltVal val="0"/>
                                          </p:val>
                                        </p:tav>
                                        <p:tav tm="100000">
                                          <p:val>
                                            <p:strVal val="#ppt_h"/>
                                          </p:val>
                                        </p:tav>
                                      </p:tavLst>
                                    </p:anim>
                                    <p:animEffect transition="in" filter="fade">
                                      <p:cBhvr>
                                        <p:cTn id="22" dur="500"/>
                                        <p:tgtEl>
                                          <p:spTgt spid="21"/>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wipe(right)">
                                      <p:cBhvr>
                                        <p:cTn id="25" dur="500"/>
                                        <p:tgtEl>
                                          <p:spTgt spid="3"/>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500" fill="hold"/>
                                        <p:tgtEl>
                                          <p:spTgt spid="6"/>
                                        </p:tgtEl>
                                        <p:attrNameLst>
                                          <p:attrName>ppt_w</p:attrName>
                                        </p:attrNameLst>
                                      </p:cBhvr>
                                      <p:tavLst>
                                        <p:tav tm="0">
                                          <p:val>
                                            <p:fltVal val="0"/>
                                          </p:val>
                                        </p:tav>
                                        <p:tav tm="100000">
                                          <p:val>
                                            <p:strVal val="#ppt_w"/>
                                          </p:val>
                                        </p:tav>
                                      </p:tavLst>
                                    </p:anim>
                                    <p:anim calcmode="lin" valueType="num">
                                      <p:cBhvr>
                                        <p:cTn id="34" dur="500" fill="hold"/>
                                        <p:tgtEl>
                                          <p:spTgt spid="6"/>
                                        </p:tgtEl>
                                        <p:attrNameLst>
                                          <p:attrName>ppt_h</p:attrName>
                                        </p:attrNameLst>
                                      </p:cBhvr>
                                      <p:tavLst>
                                        <p:tav tm="0">
                                          <p:val>
                                            <p:fltVal val="0"/>
                                          </p:val>
                                        </p:tav>
                                        <p:tav tm="100000">
                                          <p:val>
                                            <p:strVal val="#ppt_h"/>
                                          </p:val>
                                        </p:tav>
                                      </p:tavLst>
                                    </p:anim>
                                    <p:animEffect transition="in" filter="fade">
                                      <p:cBhvr>
                                        <p:cTn id="35" dur="500"/>
                                        <p:tgtEl>
                                          <p:spTgt spid="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2"/>
                                        </p:tgtEl>
                                        <p:attrNameLst>
                                          <p:attrName>style.visibility</p:attrName>
                                        </p:attrNameLst>
                                      </p:cBhvr>
                                      <p:to>
                                        <p:strVal val="visible"/>
                                      </p:to>
                                    </p:set>
                                    <p:anim calcmode="lin" valueType="num">
                                      <p:cBhvr>
                                        <p:cTn id="38" dur="500" fill="hold"/>
                                        <p:tgtEl>
                                          <p:spTgt spid="2"/>
                                        </p:tgtEl>
                                        <p:attrNameLst>
                                          <p:attrName>ppt_w</p:attrName>
                                        </p:attrNameLst>
                                      </p:cBhvr>
                                      <p:tavLst>
                                        <p:tav tm="0">
                                          <p:val>
                                            <p:fltVal val="0"/>
                                          </p:val>
                                        </p:tav>
                                        <p:tav tm="100000">
                                          <p:val>
                                            <p:strVal val="#ppt_w"/>
                                          </p:val>
                                        </p:tav>
                                      </p:tavLst>
                                    </p:anim>
                                    <p:anim calcmode="lin" valueType="num">
                                      <p:cBhvr>
                                        <p:cTn id="39" dur="500" fill="hold"/>
                                        <p:tgtEl>
                                          <p:spTgt spid="2"/>
                                        </p:tgtEl>
                                        <p:attrNameLst>
                                          <p:attrName>ppt_h</p:attrName>
                                        </p:attrNameLst>
                                      </p:cBhvr>
                                      <p:tavLst>
                                        <p:tav tm="0">
                                          <p:val>
                                            <p:fltVal val="0"/>
                                          </p:val>
                                        </p:tav>
                                        <p:tav tm="100000">
                                          <p:val>
                                            <p:strVal val="#ppt_h"/>
                                          </p:val>
                                        </p:tav>
                                      </p:tavLst>
                                    </p:anim>
                                    <p:animEffect transition="in" filter="fade">
                                      <p:cBhvr>
                                        <p:cTn id="40" dur="500"/>
                                        <p:tgtEl>
                                          <p:spTgt spid="2"/>
                                        </p:tgtEl>
                                      </p:cBhvr>
                                    </p:animEffect>
                                  </p:childTnLst>
                                </p:cTn>
                              </p:par>
                              <p:par>
                                <p:cTn id="41" presetID="53" presetClass="entr" presetSubtype="16"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500" fill="hold"/>
                                        <p:tgtEl>
                                          <p:spTgt spid="8"/>
                                        </p:tgtEl>
                                        <p:attrNameLst>
                                          <p:attrName>ppt_w</p:attrName>
                                        </p:attrNameLst>
                                      </p:cBhvr>
                                      <p:tavLst>
                                        <p:tav tm="0">
                                          <p:val>
                                            <p:fltVal val="0"/>
                                          </p:val>
                                        </p:tav>
                                        <p:tav tm="100000">
                                          <p:val>
                                            <p:strVal val="#ppt_w"/>
                                          </p:val>
                                        </p:tav>
                                      </p:tavLst>
                                    </p:anim>
                                    <p:anim calcmode="lin" valueType="num">
                                      <p:cBhvr>
                                        <p:cTn id="44" dur="500" fill="hold"/>
                                        <p:tgtEl>
                                          <p:spTgt spid="8"/>
                                        </p:tgtEl>
                                        <p:attrNameLst>
                                          <p:attrName>ppt_h</p:attrName>
                                        </p:attrNameLst>
                                      </p:cBhvr>
                                      <p:tavLst>
                                        <p:tav tm="0">
                                          <p:val>
                                            <p:fltVal val="0"/>
                                          </p:val>
                                        </p:tav>
                                        <p:tav tm="100000">
                                          <p:val>
                                            <p:strVal val="#ppt_h"/>
                                          </p:val>
                                        </p:tav>
                                      </p:tavLst>
                                    </p:anim>
                                    <p:animEffect transition="in" filter="fade">
                                      <p:cBhvr>
                                        <p:cTn id="4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21" grpId="0"/>
      <p:bldP spid="2" grpId="0" animBg="1"/>
      <p:bldP spid="15" grpId="0" animBg="1"/>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lose-Up Of Q&amp;A Text On Toy Blocks">
            <a:extLst>
              <a:ext uri="{FF2B5EF4-FFF2-40B4-BE49-F238E27FC236}">
                <a16:creationId xmlns:a16="http://schemas.microsoft.com/office/drawing/2014/main" id="{BB111F38-E180-1B9D-CC43-F2886CB0C518}"/>
              </a:ext>
            </a:extLst>
          </p:cNvPr>
          <p:cNvPicPr>
            <a:picLocks/>
          </p:cNvPicPr>
          <p:nvPr/>
        </p:nvPicPr>
        <p:blipFill rotWithShape="1">
          <a:blip r:embed="rId2" cstate="screen">
            <a:extLst>
              <a:ext uri="{28A0092B-C50C-407E-A947-70E740481C1C}">
                <a14:useLocalDpi xmlns:a14="http://schemas.microsoft.com/office/drawing/2010/main"/>
              </a:ext>
            </a:extLst>
          </a:blip>
          <a:srcRect l="32994" r="3938"/>
          <a:stretch/>
        </p:blipFill>
        <p:spPr>
          <a:xfrm>
            <a:off x="0" y="0"/>
            <a:ext cx="6489290" cy="6858000"/>
          </a:xfrm>
          <a:prstGeom prst="rect">
            <a:avLst/>
          </a:prstGeom>
        </p:spPr>
      </p:pic>
      <p:sp>
        <p:nvSpPr>
          <p:cNvPr id="4" name="Rectangle: Top Corners Rounded 3">
            <a:extLst>
              <a:ext uri="{FF2B5EF4-FFF2-40B4-BE49-F238E27FC236}">
                <a16:creationId xmlns:a16="http://schemas.microsoft.com/office/drawing/2014/main" id="{C66C3774-F6A1-F914-90CE-DCBF1FAA1E80}"/>
              </a:ext>
              <a:ext uri="{C183D7F6-B498-43B3-948B-1728B52AA6E4}">
                <adec:decorative xmlns:adec="http://schemas.microsoft.com/office/drawing/2017/decorative" val="1"/>
              </a:ext>
            </a:extLst>
          </p:cNvPr>
          <p:cNvSpPr>
            <a:spLocks/>
          </p:cNvSpPr>
          <p:nvPr/>
        </p:nvSpPr>
        <p:spPr bwMode="auto">
          <a:xfrm rot="10800000">
            <a:off x="7186386" y="-1"/>
            <a:ext cx="4423002" cy="6269038"/>
          </a:xfrm>
          <a:prstGeom prst="round2SameRect">
            <a:avLst>
              <a:gd name="adj1" fmla="val 7320"/>
              <a:gd name="adj2" fmla="val 0"/>
            </a:avLst>
          </a:prstGeom>
          <a:solidFill>
            <a:srgbClr val="F4F3F5">
              <a:alpha val="90000"/>
            </a:srgbClr>
          </a:solidFill>
          <a:ln w="12700">
            <a:solidFill>
              <a:schemeClr val="bg1">
                <a:alpha val="50000"/>
              </a:schemeClr>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en-US" sz="1600" b="0" i="0" u="none" strike="noStrike" kern="1200" cap="none" spc="0" normalizeH="0" baseline="0" noProof="0">
              <a:ln w="3175">
                <a:noFill/>
              </a:ln>
              <a:gradFill>
                <a:gsLst>
                  <a:gs pos="50000">
                    <a:srgbClr val="8661C5"/>
                  </a:gs>
                  <a:gs pos="0">
                    <a:srgbClr val="3E76D4"/>
                  </a:gs>
                  <a:gs pos="100000">
                    <a:srgbClr val="C73ECC"/>
                  </a:gs>
                </a:gsLst>
                <a:lin ang="2700000" scaled="1"/>
              </a:gradFill>
              <a:effectLst/>
              <a:uLnTx/>
              <a:uFillTx/>
              <a:latin typeface="Segoe UI Semibold"/>
              <a:ea typeface="+mn-ea"/>
              <a:cs typeface="Segoe UI" panose="020B0502040204020203" pitchFamily="34" charset="0"/>
            </a:endParaRPr>
          </a:p>
        </p:txBody>
      </p:sp>
      <p:sp>
        <p:nvSpPr>
          <p:cNvPr id="5" name="Title 1">
            <a:extLst>
              <a:ext uri="{FF2B5EF4-FFF2-40B4-BE49-F238E27FC236}">
                <a16:creationId xmlns:a16="http://schemas.microsoft.com/office/drawing/2014/main" id="{6F6A18AC-5882-FB73-4D43-A72E1E7765F8}"/>
              </a:ext>
            </a:extLst>
          </p:cNvPr>
          <p:cNvSpPr>
            <a:spLocks noGrp="1"/>
          </p:cNvSpPr>
          <p:nvPr>
            <p:ph type="title"/>
          </p:nvPr>
        </p:nvSpPr>
        <p:spPr>
          <a:xfrm>
            <a:off x="8132536" y="2457410"/>
            <a:ext cx="2530702" cy="1107996"/>
          </a:xfrm>
        </p:spPr>
        <p:txBody>
          <a:bodyPr/>
          <a:lstStyle/>
          <a:p>
            <a:pPr algn="ctr"/>
            <a:r>
              <a:rPr lang="en-US" sz="7200" spc="0">
                <a:solidFill>
                  <a:schemeClr val="tx1"/>
                </a:solidFill>
                <a:latin typeface="+mj-lt"/>
              </a:rPr>
              <a:t>Q &amp; </a:t>
            </a:r>
            <a:r>
              <a:rPr lang="en-US" sz="7200" spc="0">
                <a:solidFill>
                  <a:schemeClr val="tx1"/>
                </a:solidFill>
              </a:rPr>
              <a:t>A</a:t>
            </a:r>
          </a:p>
        </p:txBody>
      </p:sp>
      <p:sp>
        <p:nvSpPr>
          <p:cNvPr id="7" name="Graphic 23" descr="Icon of a Question mark">
            <a:extLst>
              <a:ext uri="{FF2B5EF4-FFF2-40B4-BE49-F238E27FC236}">
                <a16:creationId xmlns:a16="http://schemas.microsoft.com/office/drawing/2014/main" id="{0651FEF8-DD71-28B4-6EB3-A16B9B1345A9}"/>
              </a:ext>
            </a:extLst>
          </p:cNvPr>
          <p:cNvSpPr>
            <a:spLocks/>
          </p:cNvSpPr>
          <p:nvPr/>
        </p:nvSpPr>
        <p:spPr>
          <a:xfrm>
            <a:off x="9131300" y="1159942"/>
            <a:ext cx="526532" cy="895094"/>
          </a:xfrm>
          <a:custGeom>
            <a:avLst/>
            <a:gdLst>
              <a:gd name="connsiteX0" fmla="*/ 47625 w 95250"/>
              <a:gd name="connsiteY0" fmla="*/ 0 h 164306"/>
              <a:gd name="connsiteX1" fmla="*/ 0 w 95250"/>
              <a:gd name="connsiteY1" fmla="*/ 47625 h 164306"/>
              <a:gd name="connsiteX2" fmla="*/ 9525 w 95250"/>
              <a:gd name="connsiteY2" fmla="*/ 57150 h 164306"/>
              <a:gd name="connsiteX3" fmla="*/ 19050 w 95250"/>
              <a:gd name="connsiteY3" fmla="*/ 47625 h 164306"/>
              <a:gd name="connsiteX4" fmla="*/ 47625 w 95250"/>
              <a:gd name="connsiteY4" fmla="*/ 19050 h 164306"/>
              <a:gd name="connsiteX5" fmla="*/ 76200 w 95250"/>
              <a:gd name="connsiteY5" fmla="*/ 47625 h 164306"/>
              <a:gd name="connsiteX6" fmla="*/ 72028 w 95250"/>
              <a:gd name="connsiteY6" fmla="*/ 63141 h 164306"/>
              <a:gd name="connsiteX7" fmla="*/ 61284 w 95250"/>
              <a:gd name="connsiteY7" fmla="*/ 72523 h 164306"/>
              <a:gd name="connsiteX8" fmla="*/ 60179 w 95250"/>
              <a:gd name="connsiteY8" fmla="*/ 73266 h 164306"/>
              <a:gd name="connsiteX9" fmla="*/ 46187 w 95250"/>
              <a:gd name="connsiteY9" fmla="*/ 85144 h 164306"/>
              <a:gd name="connsiteX10" fmla="*/ 38100 w 95250"/>
              <a:gd name="connsiteY10" fmla="*/ 109538 h 164306"/>
              <a:gd name="connsiteX11" fmla="*/ 38100 w 95250"/>
              <a:gd name="connsiteY11" fmla="*/ 114300 h 164306"/>
              <a:gd name="connsiteX12" fmla="*/ 47625 w 95250"/>
              <a:gd name="connsiteY12" fmla="*/ 123825 h 164306"/>
              <a:gd name="connsiteX13" fmla="*/ 57150 w 95250"/>
              <a:gd name="connsiteY13" fmla="*/ 114300 h 164306"/>
              <a:gd name="connsiteX14" fmla="*/ 57150 w 95250"/>
              <a:gd name="connsiteY14" fmla="*/ 109538 h 164306"/>
              <a:gd name="connsiteX15" fmla="*/ 60960 w 95250"/>
              <a:gd name="connsiteY15" fmla="*/ 97165 h 164306"/>
              <a:gd name="connsiteX16" fmla="*/ 71571 w 95250"/>
              <a:gd name="connsiteY16" fmla="*/ 88563 h 164306"/>
              <a:gd name="connsiteX17" fmla="*/ 72076 w 95250"/>
              <a:gd name="connsiteY17" fmla="*/ 88211 h 164306"/>
              <a:gd name="connsiteX18" fmla="*/ 87506 w 95250"/>
              <a:gd name="connsiteY18" fmla="*/ 74228 h 164306"/>
              <a:gd name="connsiteX19" fmla="*/ 95250 w 95250"/>
              <a:gd name="connsiteY19" fmla="*/ 47625 h 164306"/>
              <a:gd name="connsiteX20" fmla="*/ 47625 w 95250"/>
              <a:gd name="connsiteY20" fmla="*/ 0 h 164306"/>
              <a:gd name="connsiteX21" fmla="*/ 47625 w 95250"/>
              <a:gd name="connsiteY21" fmla="*/ 164306 h 164306"/>
              <a:gd name="connsiteX22" fmla="*/ 59531 w 95250"/>
              <a:gd name="connsiteY22" fmla="*/ 152400 h 164306"/>
              <a:gd name="connsiteX23" fmla="*/ 47625 w 95250"/>
              <a:gd name="connsiteY23" fmla="*/ 140494 h 164306"/>
              <a:gd name="connsiteX24" fmla="*/ 35719 w 95250"/>
              <a:gd name="connsiteY24" fmla="*/ 152400 h 164306"/>
              <a:gd name="connsiteX25" fmla="*/ 47625 w 95250"/>
              <a:gd name="connsiteY25" fmla="*/ 164306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5250" h="164306">
                <a:moveTo>
                  <a:pt x="47625" y="0"/>
                </a:moveTo>
                <a:cubicBezTo>
                  <a:pt x="21317" y="0"/>
                  <a:pt x="0" y="21317"/>
                  <a:pt x="0" y="47625"/>
                </a:cubicBezTo>
                <a:cubicBezTo>
                  <a:pt x="0" y="52886"/>
                  <a:pt x="4265" y="57150"/>
                  <a:pt x="9525" y="57150"/>
                </a:cubicBezTo>
                <a:cubicBezTo>
                  <a:pt x="14786" y="57150"/>
                  <a:pt x="19050" y="52886"/>
                  <a:pt x="19050" y="47625"/>
                </a:cubicBezTo>
                <a:cubicBezTo>
                  <a:pt x="19050" y="31833"/>
                  <a:pt x="31833" y="19050"/>
                  <a:pt x="47625" y="19050"/>
                </a:cubicBezTo>
                <a:cubicBezTo>
                  <a:pt x="63417" y="19050"/>
                  <a:pt x="76200" y="31833"/>
                  <a:pt x="76200" y="47625"/>
                </a:cubicBezTo>
                <a:cubicBezTo>
                  <a:pt x="76200" y="55397"/>
                  <a:pt x="74305" y="59950"/>
                  <a:pt x="72028" y="63141"/>
                </a:cubicBezTo>
                <a:cubicBezTo>
                  <a:pt x="69533" y="66618"/>
                  <a:pt x="66075" y="69218"/>
                  <a:pt x="61284" y="72523"/>
                </a:cubicBezTo>
                <a:lnTo>
                  <a:pt x="60179" y="73266"/>
                </a:lnTo>
                <a:cubicBezTo>
                  <a:pt x="55921" y="76181"/>
                  <a:pt x="50435" y="79924"/>
                  <a:pt x="46187" y="85144"/>
                </a:cubicBezTo>
                <a:cubicBezTo>
                  <a:pt x="41167" y="91316"/>
                  <a:pt x="38100" y="99117"/>
                  <a:pt x="38100" y="109538"/>
                </a:cubicBezTo>
                <a:lnTo>
                  <a:pt x="38100" y="114300"/>
                </a:lnTo>
                <a:cubicBezTo>
                  <a:pt x="38100" y="119561"/>
                  <a:pt x="42364" y="123825"/>
                  <a:pt x="47625" y="123825"/>
                </a:cubicBezTo>
                <a:cubicBezTo>
                  <a:pt x="52886" y="123825"/>
                  <a:pt x="57150" y="119561"/>
                  <a:pt x="57150" y="114300"/>
                </a:cubicBezTo>
                <a:lnTo>
                  <a:pt x="57150" y="109538"/>
                </a:lnTo>
                <a:cubicBezTo>
                  <a:pt x="57150" y="103289"/>
                  <a:pt x="58845" y="99784"/>
                  <a:pt x="60960" y="97165"/>
                </a:cubicBezTo>
                <a:cubicBezTo>
                  <a:pt x="63408" y="94174"/>
                  <a:pt x="66704" y="91907"/>
                  <a:pt x="71571" y="88563"/>
                </a:cubicBezTo>
                <a:lnTo>
                  <a:pt x="72076" y="88211"/>
                </a:lnTo>
                <a:cubicBezTo>
                  <a:pt x="76800" y="84973"/>
                  <a:pt x="82868" y="80724"/>
                  <a:pt x="87506" y="74228"/>
                </a:cubicBezTo>
                <a:cubicBezTo>
                  <a:pt x="92393" y="67447"/>
                  <a:pt x="95250" y="58893"/>
                  <a:pt x="95250" y="47625"/>
                </a:cubicBezTo>
                <a:cubicBezTo>
                  <a:pt x="95250" y="21317"/>
                  <a:pt x="73933" y="0"/>
                  <a:pt x="47625" y="0"/>
                </a:cubicBezTo>
                <a:close/>
                <a:moveTo>
                  <a:pt x="47625" y="164306"/>
                </a:moveTo>
                <a:cubicBezTo>
                  <a:pt x="54201" y="164306"/>
                  <a:pt x="59531" y="158976"/>
                  <a:pt x="59531" y="152400"/>
                </a:cubicBezTo>
                <a:cubicBezTo>
                  <a:pt x="59531" y="145824"/>
                  <a:pt x="54201" y="140494"/>
                  <a:pt x="47625" y="140494"/>
                </a:cubicBezTo>
                <a:cubicBezTo>
                  <a:pt x="41049" y="140494"/>
                  <a:pt x="35719" y="145824"/>
                  <a:pt x="35719" y="152400"/>
                </a:cubicBezTo>
                <a:cubicBezTo>
                  <a:pt x="35719" y="158976"/>
                  <a:pt x="41049" y="164306"/>
                  <a:pt x="47625" y="164306"/>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 name="Rectangle: Top Corners Rounded 5">
            <a:extLst>
              <a:ext uri="{FF2B5EF4-FFF2-40B4-BE49-F238E27FC236}">
                <a16:creationId xmlns:a16="http://schemas.microsoft.com/office/drawing/2014/main" id="{CB2B61C6-1E53-F527-70A8-EEF6D55A427B}"/>
              </a:ext>
              <a:ext uri="{C183D7F6-B498-43B3-948B-1728B52AA6E4}">
                <adec:decorative xmlns:adec="http://schemas.microsoft.com/office/drawing/2017/decorative" val="1"/>
              </a:ext>
            </a:extLst>
          </p:cNvPr>
          <p:cNvSpPr/>
          <p:nvPr/>
        </p:nvSpPr>
        <p:spPr bwMode="auto">
          <a:xfrm>
            <a:off x="9028674" y="2393770"/>
            <a:ext cx="738426" cy="67806"/>
          </a:xfrm>
          <a:prstGeom prst="round2SameRect">
            <a:avLst>
              <a:gd name="adj1" fmla="val 50000"/>
              <a:gd name="adj2" fmla="val 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8250886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up)">
                                      <p:cBhvr>
                                        <p:cTn id="10" dur="500"/>
                                        <p:tgtEl>
                                          <p:spTgt spid="4"/>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p:cTn id="18" dur="500" fill="hold"/>
                                        <p:tgtEl>
                                          <p:spTgt spid="6"/>
                                        </p:tgtEl>
                                        <p:attrNameLst>
                                          <p:attrName>ppt_w</p:attrName>
                                        </p:attrNameLst>
                                      </p:cBhvr>
                                      <p:tavLst>
                                        <p:tav tm="0">
                                          <p:val>
                                            <p:fltVal val="0"/>
                                          </p:val>
                                        </p:tav>
                                        <p:tav tm="100000">
                                          <p:val>
                                            <p:strVal val="#ppt_w"/>
                                          </p:val>
                                        </p:tav>
                                      </p:tavLst>
                                    </p:anim>
                                    <p:anim calcmode="lin" valueType="num">
                                      <p:cBhvr>
                                        <p:cTn id="19" dur="500" fill="hold"/>
                                        <p:tgtEl>
                                          <p:spTgt spid="6"/>
                                        </p:tgtEl>
                                        <p:attrNameLst>
                                          <p:attrName>ppt_h</p:attrName>
                                        </p:attrNameLst>
                                      </p:cBhvr>
                                      <p:tavLst>
                                        <p:tav tm="0">
                                          <p:val>
                                            <p:fltVal val="0"/>
                                          </p:val>
                                        </p:tav>
                                        <p:tav tm="100000">
                                          <p:val>
                                            <p:strVal val="#ppt_h"/>
                                          </p:val>
                                        </p:tav>
                                      </p:tavLst>
                                    </p:anim>
                                    <p:animEffect transition="in" filter="fade">
                                      <p:cBhvr>
                                        <p:cTn id="20" dur="500"/>
                                        <p:tgtEl>
                                          <p:spTgt spid="6"/>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7" grpId="0" animBg="1"/>
      <p:bldP spid="6"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5062C-3463-A57E-3537-B4A2913C6E79}"/>
            </a:ext>
          </a:extLst>
        </p:cNvPr>
        <p:cNvGrpSpPr/>
        <p:nvPr/>
      </p:nvGrpSpPr>
      <p:grpSpPr>
        <a:xfrm>
          <a:off x="0" y="0"/>
          <a:ext cx="0" cy="0"/>
          <a:chOff x="0" y="0"/>
          <a:chExt cx="0" cy="0"/>
        </a:xfrm>
      </p:grpSpPr>
      <p:grpSp>
        <p:nvGrpSpPr>
          <p:cNvPr id="4" name="background">
            <a:extLst>
              <a:ext uri="{FF2B5EF4-FFF2-40B4-BE49-F238E27FC236}">
                <a16:creationId xmlns:a16="http://schemas.microsoft.com/office/drawing/2014/main" id="{B2C93B60-A919-EECA-0551-C27D59F73AB4}"/>
              </a:ext>
            </a:extLst>
          </p:cNvPr>
          <p:cNvGrpSpPr>
            <a:grpSpLocks/>
          </p:cNvGrpSpPr>
          <p:nvPr/>
        </p:nvGrpSpPr>
        <p:grpSpPr>
          <a:xfrm>
            <a:off x="0" y="0"/>
            <a:ext cx="12192000" cy="6858000"/>
            <a:chOff x="0" y="0"/>
            <a:chExt cx="12192000" cy="6858000"/>
          </a:xfrm>
        </p:grpSpPr>
        <p:sp>
          <p:nvSpPr>
            <p:cNvPr id="7" name="Rectangle 6" descr="Light Pattern: Square dots">
              <a:extLst>
                <a:ext uri="{FF2B5EF4-FFF2-40B4-BE49-F238E27FC236}">
                  <a16:creationId xmlns:a16="http://schemas.microsoft.com/office/drawing/2014/main" id="{E646BF33-6830-3B26-E7A8-2A7849CB00FA}"/>
                </a:ext>
              </a:extLst>
            </p:cNvPr>
            <p:cNvSpPr>
              <a:spLocks/>
            </p:cNvSpPr>
            <p:nvPr/>
          </p:nvSpPr>
          <p:spPr bwMode="auto">
            <a:xfrm>
              <a:off x="0" y="0"/>
              <a:ext cx="12192000" cy="6858000"/>
            </a:xfrm>
            <a:prstGeom prst="rect">
              <a:avLst/>
            </a:prstGeom>
            <a:blipFill dpi="0" rotWithShape="1">
              <a:blip r:embed="rId3">
                <a:alphaModFix amt="10000"/>
                <a:extLst>
                  <a:ext uri="{96DAC541-7B7A-43D3-8B79-37D633B846F1}">
                    <asvg:svgBlip xmlns:asvg="http://schemas.microsoft.com/office/drawing/2016/SVG/main" r:embed="rId4"/>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24" descr="Light: small container">
              <a:extLst>
                <a:ext uri="{FF2B5EF4-FFF2-40B4-BE49-F238E27FC236}">
                  <a16:creationId xmlns:a16="http://schemas.microsoft.com/office/drawing/2014/main" id="{DC0824D2-4CF8-672F-FEE6-3EFBEA4287C7}"/>
                </a:ext>
              </a:extLst>
            </p:cNvPr>
            <p:cNvSpPr>
              <a:spLocks/>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3" name="Rectangle 12">
            <a:extLst>
              <a:ext uri="{FF2B5EF4-FFF2-40B4-BE49-F238E27FC236}">
                <a16:creationId xmlns:a16="http://schemas.microsoft.com/office/drawing/2014/main" id="{09670E22-26BB-9A66-160C-6B401CA7A7C5}"/>
              </a:ext>
            </a:extLst>
          </p:cNvPr>
          <p:cNvSpPr/>
          <p:nvPr/>
        </p:nvSpPr>
        <p:spPr bwMode="auto">
          <a:xfrm>
            <a:off x="0" y="0"/>
            <a:ext cx="12192002" cy="6858000"/>
          </a:xfrm>
          <a:prstGeom prst="rect">
            <a:avLst/>
          </a:prstGeom>
          <a:gradFill flip="none" rotWithShape="1">
            <a:gsLst>
              <a:gs pos="75000">
                <a:srgbClr val="0078D4">
                  <a:alpha val="27000"/>
                </a:srgbClr>
              </a:gs>
              <a:gs pos="50000">
                <a:srgbClr val="C03BC4">
                  <a:alpha val="13000"/>
                </a:srgbClr>
              </a:gs>
              <a:gs pos="100000">
                <a:srgbClr val="14938C">
                  <a:alpha val="29000"/>
                </a:srgbClr>
              </a:gs>
              <a:gs pos="25000">
                <a:srgbClr val="F4364C">
                  <a:alpha val="5000"/>
                </a:srgbClr>
              </a:gs>
              <a:gs pos="0">
                <a:srgbClr val="FF5C39">
                  <a:alpha val="17000"/>
                </a:srgbClr>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Semibold"/>
              <a:ea typeface="+mn-ea"/>
              <a:cs typeface="+mn-cs"/>
            </a:endParaRPr>
          </a:p>
        </p:txBody>
      </p:sp>
      <p:sp>
        <p:nvSpPr>
          <p:cNvPr id="14" name="Title 1">
            <a:extLst>
              <a:ext uri="{FF2B5EF4-FFF2-40B4-BE49-F238E27FC236}">
                <a16:creationId xmlns:a16="http://schemas.microsoft.com/office/drawing/2014/main" id="{D4CE951F-1BDF-66CD-45AC-A55370431478}"/>
              </a:ext>
            </a:extLst>
          </p:cNvPr>
          <p:cNvSpPr txBox="1">
            <a:spLocks/>
          </p:cNvSpPr>
          <p:nvPr/>
        </p:nvSpPr>
        <p:spPr>
          <a:xfrm>
            <a:off x="586740" y="2197894"/>
            <a:ext cx="3361528" cy="246221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0" b="0" i="0" u="none" strike="noStrike" kern="1200" cap="none" spc="0" normalizeH="0" baseline="0" noProof="0">
                <a:ln w="3175">
                  <a:noFill/>
                </a:ln>
                <a:solidFill>
                  <a:srgbClr val="000000"/>
                </a:solidFill>
                <a:effectLst/>
                <a:uLnTx/>
                <a:uFillTx/>
                <a:latin typeface="Segoe UI Semibold"/>
                <a:ea typeface="+mn-ea"/>
                <a:cs typeface="Segoe UI" pitchFamily="34" charset="0"/>
              </a:rPr>
              <a:t>Thank</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8000" b="0" i="0" u="none" strike="noStrike" kern="1200" cap="none" spc="0" normalizeH="0" baseline="0" noProof="0">
                <a:ln w="3175">
                  <a:noFill/>
                </a:ln>
                <a:solidFill>
                  <a:srgbClr val="000000"/>
                </a:solidFill>
                <a:effectLst/>
                <a:uLnTx/>
                <a:uFillTx/>
                <a:latin typeface="Segoe UI Semibold"/>
                <a:ea typeface="+mn-ea"/>
                <a:cs typeface="Segoe UI" pitchFamily="34" charset="0"/>
              </a:rPr>
              <a:t>You</a:t>
            </a:r>
          </a:p>
        </p:txBody>
      </p:sp>
      <p:sp>
        <p:nvSpPr>
          <p:cNvPr id="15" name="Graphic 25">
            <a:extLst>
              <a:ext uri="{FF2B5EF4-FFF2-40B4-BE49-F238E27FC236}">
                <a16:creationId xmlns:a16="http://schemas.microsoft.com/office/drawing/2014/main" id="{EB23C8C9-9D70-3A2E-E8AF-ADEE059780CF}"/>
              </a:ext>
            </a:extLst>
          </p:cNvPr>
          <p:cNvSpPr/>
          <p:nvPr/>
        </p:nvSpPr>
        <p:spPr>
          <a:xfrm>
            <a:off x="-3" y="564244"/>
            <a:ext cx="12192005" cy="5729512"/>
          </a:xfrm>
          <a:custGeom>
            <a:avLst/>
            <a:gdLst>
              <a:gd name="connsiteX0" fmla="*/ 0 w 9147428"/>
              <a:gd name="connsiteY0" fmla="*/ 0 h 4301204"/>
              <a:gd name="connsiteX1" fmla="*/ 3289649 w 9147428"/>
              <a:gd name="connsiteY1" fmla="*/ 0 h 4301204"/>
              <a:gd name="connsiteX2" fmla="*/ 3450717 w 9147428"/>
              <a:gd name="connsiteY2" fmla="*/ 161068 h 4301204"/>
              <a:gd name="connsiteX3" fmla="*/ 3450717 w 9147428"/>
              <a:gd name="connsiteY3" fmla="*/ 4140137 h 4301204"/>
              <a:gd name="connsiteX4" fmla="*/ 3611785 w 9147428"/>
              <a:gd name="connsiteY4" fmla="*/ 4301205 h 4301204"/>
              <a:gd name="connsiteX5" fmla="*/ 9147429 w 9147428"/>
              <a:gd name="connsiteY5" fmla="*/ 4301205 h 430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7428" h="4301204">
                <a:moveTo>
                  <a:pt x="0" y="0"/>
                </a:moveTo>
                <a:lnTo>
                  <a:pt x="3289649" y="0"/>
                </a:lnTo>
                <a:cubicBezTo>
                  <a:pt x="3378613" y="0"/>
                  <a:pt x="3450717" y="72104"/>
                  <a:pt x="3450717" y="161068"/>
                </a:cubicBezTo>
                <a:lnTo>
                  <a:pt x="3450717" y="4140137"/>
                </a:lnTo>
                <a:cubicBezTo>
                  <a:pt x="3450717" y="4229100"/>
                  <a:pt x="3522821" y="4301205"/>
                  <a:pt x="3611785" y="4301205"/>
                </a:cubicBezTo>
                <a:lnTo>
                  <a:pt x="9147429" y="4301205"/>
                </a:lnTo>
              </a:path>
            </a:pathLst>
          </a:custGeom>
          <a:noFill/>
          <a:ln w="22225">
            <a:gradFill flip="none" rotWithShape="1">
              <a:gsLst>
                <a:gs pos="25000">
                  <a:srgbClr val="F4364C"/>
                </a:gs>
                <a:gs pos="0">
                  <a:srgbClr val="FF5C39"/>
                </a:gs>
                <a:gs pos="50000">
                  <a:srgbClr val="C03BC4"/>
                </a:gs>
                <a:gs pos="75000">
                  <a:srgbClr val="0078D4"/>
                </a:gs>
                <a:gs pos="100000">
                  <a:srgbClr val="14938C"/>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16" name="Picture 15" descr="A group of people sitting in chairs&#10;&#10;Description automatically generated">
            <a:extLst>
              <a:ext uri="{FF2B5EF4-FFF2-40B4-BE49-F238E27FC236}">
                <a16:creationId xmlns:a16="http://schemas.microsoft.com/office/drawing/2014/main" id="{A38AE1DD-0FD0-215A-AA25-21F04F047B9D}"/>
              </a:ext>
            </a:extLst>
          </p:cNvPr>
          <p:cNvPicPr>
            <a:picLocks noChangeAspect="1"/>
          </p:cNvPicPr>
          <p:nvPr/>
        </p:nvPicPr>
        <p:blipFill>
          <a:blip r:embed="rId5">
            <a:extLst>
              <a:ext uri="{28A0092B-C50C-407E-A947-70E740481C1C}">
                <a14:useLocalDpi xmlns:a14="http://schemas.microsoft.com/office/drawing/2010/main" val="0"/>
              </a:ext>
            </a:extLst>
          </a:blip>
          <a:srcRect t="24600" r="15647" b="11732"/>
          <a:stretch/>
        </p:blipFill>
        <p:spPr>
          <a:xfrm>
            <a:off x="0" y="0"/>
            <a:ext cx="12192000" cy="6139542"/>
          </a:xfrm>
          <a:custGeom>
            <a:avLst/>
            <a:gdLst>
              <a:gd name="connsiteX0" fmla="*/ 0 w 12192000"/>
              <a:gd name="connsiteY0" fmla="*/ 0 h 6139542"/>
              <a:gd name="connsiteX1" fmla="*/ 12192000 w 12192000"/>
              <a:gd name="connsiteY1" fmla="*/ 0 h 6139542"/>
              <a:gd name="connsiteX2" fmla="*/ 12192000 w 12192000"/>
              <a:gd name="connsiteY2" fmla="*/ 400692 h 6139542"/>
              <a:gd name="connsiteX3" fmla="*/ 12191996 w 12192000"/>
              <a:gd name="connsiteY3" fmla="*/ 400692 h 6139542"/>
              <a:gd name="connsiteX4" fmla="*/ 12191996 w 12192000"/>
              <a:gd name="connsiteY4" fmla="*/ 6139542 h 6139542"/>
              <a:gd name="connsiteX5" fmla="*/ 4869812 w 12192000"/>
              <a:gd name="connsiteY5" fmla="*/ 6139542 h 6139542"/>
              <a:gd name="connsiteX6" fmla="*/ 4775198 w 12192000"/>
              <a:gd name="connsiteY6" fmla="*/ 6044927 h 6139542"/>
              <a:gd name="connsiteX7" fmla="*/ 4775198 w 12192000"/>
              <a:gd name="connsiteY7" fmla="*/ 400692 h 6139542"/>
              <a:gd name="connsiteX8" fmla="*/ 4775196 w 12192000"/>
              <a:gd name="connsiteY8" fmla="*/ 400692 h 6139542"/>
              <a:gd name="connsiteX9" fmla="*/ 4775196 w 12192000"/>
              <a:gd name="connsiteY9" fmla="*/ 706627 h 6139542"/>
              <a:gd name="connsiteX10" fmla="*/ 4530915 w 12192000"/>
              <a:gd name="connsiteY10" fmla="*/ 406906 h 6139542"/>
              <a:gd name="connsiteX11" fmla="*/ 4469277 w 12192000"/>
              <a:gd name="connsiteY11" fmla="*/ 400692 h 6139542"/>
              <a:gd name="connsiteX12" fmla="*/ 0 w 12192000"/>
              <a:gd name="connsiteY12" fmla="*/ 400692 h 6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139542">
                <a:moveTo>
                  <a:pt x="0" y="0"/>
                </a:moveTo>
                <a:lnTo>
                  <a:pt x="12192000" y="0"/>
                </a:lnTo>
                <a:lnTo>
                  <a:pt x="12192000" y="400692"/>
                </a:lnTo>
                <a:lnTo>
                  <a:pt x="12191996" y="400692"/>
                </a:lnTo>
                <a:lnTo>
                  <a:pt x="12191996" y="6139542"/>
                </a:lnTo>
                <a:lnTo>
                  <a:pt x="4869812" y="6139542"/>
                </a:lnTo>
                <a:cubicBezTo>
                  <a:pt x="4817558" y="6139542"/>
                  <a:pt x="4775198" y="6097181"/>
                  <a:pt x="4775198" y="6044927"/>
                </a:cubicBezTo>
                <a:lnTo>
                  <a:pt x="4775198" y="400692"/>
                </a:lnTo>
                <a:lnTo>
                  <a:pt x="4775196" y="400692"/>
                </a:lnTo>
                <a:lnTo>
                  <a:pt x="4775196" y="706627"/>
                </a:lnTo>
                <a:cubicBezTo>
                  <a:pt x="4775196" y="558783"/>
                  <a:pt x="4670325" y="435433"/>
                  <a:pt x="4530915" y="406906"/>
                </a:cubicBezTo>
                <a:lnTo>
                  <a:pt x="4469277" y="400692"/>
                </a:lnTo>
                <a:lnTo>
                  <a:pt x="0" y="400692"/>
                </a:lnTo>
                <a:close/>
              </a:path>
            </a:pathLst>
          </a:custGeom>
        </p:spPr>
      </p:pic>
      <p:sp>
        <p:nvSpPr>
          <p:cNvPr id="17" name="Freeform: Shape 16">
            <a:extLst>
              <a:ext uri="{FF2B5EF4-FFF2-40B4-BE49-F238E27FC236}">
                <a16:creationId xmlns:a16="http://schemas.microsoft.com/office/drawing/2014/main" id="{1DCA8C63-6EB1-47BA-C2E2-32017BDBB659}"/>
              </a:ext>
            </a:extLst>
          </p:cNvPr>
          <p:cNvSpPr/>
          <p:nvPr/>
        </p:nvSpPr>
        <p:spPr bwMode="auto">
          <a:xfrm rot="10800000">
            <a:off x="0" y="0"/>
            <a:ext cx="12192000" cy="6139542"/>
          </a:xfrm>
          <a:custGeom>
            <a:avLst/>
            <a:gdLst>
              <a:gd name="connsiteX0" fmla="*/ 12192000 w 12192000"/>
              <a:gd name="connsiteY0" fmla="*/ 6139542 h 6139542"/>
              <a:gd name="connsiteX1" fmla="*/ 0 w 12192000"/>
              <a:gd name="connsiteY1" fmla="*/ 6139542 h 6139542"/>
              <a:gd name="connsiteX2" fmla="*/ 0 w 12192000"/>
              <a:gd name="connsiteY2" fmla="*/ 5738850 h 6139542"/>
              <a:gd name="connsiteX3" fmla="*/ 4 w 12192000"/>
              <a:gd name="connsiteY3" fmla="*/ 5738850 h 6139542"/>
              <a:gd name="connsiteX4" fmla="*/ 4 w 12192000"/>
              <a:gd name="connsiteY4" fmla="*/ 0 h 6139542"/>
              <a:gd name="connsiteX5" fmla="*/ 7322188 w 12192000"/>
              <a:gd name="connsiteY5" fmla="*/ 0 h 6139542"/>
              <a:gd name="connsiteX6" fmla="*/ 7416803 w 12192000"/>
              <a:gd name="connsiteY6" fmla="*/ 94615 h 6139542"/>
              <a:gd name="connsiteX7" fmla="*/ 7416802 w 12192000"/>
              <a:gd name="connsiteY7" fmla="*/ 5738850 h 6139542"/>
              <a:gd name="connsiteX8" fmla="*/ 7416804 w 12192000"/>
              <a:gd name="connsiteY8" fmla="*/ 5738850 h 6139542"/>
              <a:gd name="connsiteX9" fmla="*/ 7416804 w 12192000"/>
              <a:gd name="connsiteY9" fmla="*/ 5432915 h 6139542"/>
              <a:gd name="connsiteX10" fmla="*/ 7661085 w 12192000"/>
              <a:gd name="connsiteY10" fmla="*/ 5732636 h 6139542"/>
              <a:gd name="connsiteX11" fmla="*/ 7722724 w 12192000"/>
              <a:gd name="connsiteY11" fmla="*/ 5738850 h 6139542"/>
              <a:gd name="connsiteX12" fmla="*/ 12192000 w 12192000"/>
              <a:gd name="connsiteY12" fmla="*/ 5738850 h 6139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6139542">
                <a:moveTo>
                  <a:pt x="12192000" y="6139542"/>
                </a:moveTo>
                <a:lnTo>
                  <a:pt x="0" y="6139542"/>
                </a:lnTo>
                <a:lnTo>
                  <a:pt x="0" y="5738850"/>
                </a:lnTo>
                <a:lnTo>
                  <a:pt x="4" y="5738850"/>
                </a:lnTo>
                <a:lnTo>
                  <a:pt x="4" y="0"/>
                </a:lnTo>
                <a:lnTo>
                  <a:pt x="7322188" y="0"/>
                </a:lnTo>
                <a:cubicBezTo>
                  <a:pt x="7374442" y="0"/>
                  <a:pt x="7416803" y="42361"/>
                  <a:pt x="7416803" y="94615"/>
                </a:cubicBezTo>
                <a:lnTo>
                  <a:pt x="7416802" y="5738850"/>
                </a:lnTo>
                <a:lnTo>
                  <a:pt x="7416804" y="5738850"/>
                </a:lnTo>
                <a:lnTo>
                  <a:pt x="7416804" y="5432915"/>
                </a:lnTo>
                <a:cubicBezTo>
                  <a:pt x="7416804" y="5580759"/>
                  <a:pt x="7521675" y="5704109"/>
                  <a:pt x="7661085" y="5732636"/>
                </a:cubicBezTo>
                <a:lnTo>
                  <a:pt x="7722724" y="5738850"/>
                </a:lnTo>
                <a:lnTo>
                  <a:pt x="12192000" y="5738850"/>
                </a:lnTo>
                <a:close/>
              </a:path>
            </a:pathLst>
          </a:custGeom>
          <a:solidFill>
            <a:schemeClr val="tx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Text Placeholder 5">
            <a:extLst>
              <a:ext uri="{FF2B5EF4-FFF2-40B4-BE49-F238E27FC236}">
                <a16:creationId xmlns:a16="http://schemas.microsoft.com/office/drawing/2014/main" id="{5EB4593A-D79C-73AB-4521-02AD42966D5C}"/>
              </a:ext>
            </a:extLst>
          </p:cNvPr>
          <p:cNvSpPr>
            <a:spLocks noGrp="1"/>
          </p:cNvSpPr>
          <p:nvPr>
            <p:ph sz="quarter" idx="4294967295"/>
          </p:nvPr>
        </p:nvSpPr>
        <p:spPr>
          <a:xfrm>
            <a:off x="584200" y="6410325"/>
            <a:ext cx="10291763" cy="153988"/>
          </a:xfrm>
        </p:spPr>
        <p:txBody>
          <a:bodyPr>
            <a:spAutoFit/>
          </a:bodyPr>
          <a:lstStyle/>
          <a:p>
            <a:r>
              <a:rPr lang="en-US" sz="1000"/>
              <a:t>Copyright © 2025 Microsoft Corporation. All rights reserved.</a:t>
            </a:r>
          </a:p>
        </p:txBody>
      </p:sp>
    </p:spTree>
    <p:extLst>
      <p:ext uri="{BB962C8B-B14F-4D97-AF65-F5344CB8AC3E}">
        <p14:creationId xmlns:p14="http://schemas.microsoft.com/office/powerpoint/2010/main" val="600997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D9331-77A7-3AC3-21D8-54537D2B80F6}"/>
            </a:ext>
          </a:extLst>
        </p:cNvPr>
        <p:cNvGrpSpPr/>
        <p:nvPr/>
      </p:nvGrpSpPr>
      <p:grpSpPr>
        <a:xfrm>
          <a:off x="0" y="0"/>
          <a:ext cx="0" cy="0"/>
          <a:chOff x="0" y="0"/>
          <a:chExt cx="0" cy="0"/>
        </a:xfrm>
      </p:grpSpPr>
      <p:sp>
        <p:nvSpPr>
          <p:cNvPr id="7" name="Title 35">
            <a:extLst>
              <a:ext uri="{FF2B5EF4-FFF2-40B4-BE49-F238E27FC236}">
                <a16:creationId xmlns:a16="http://schemas.microsoft.com/office/drawing/2014/main" id="{03C7EE93-6A04-6733-331B-47877D9CEDA2}"/>
              </a:ext>
            </a:extLst>
          </p:cNvPr>
          <p:cNvSpPr txBox="1">
            <a:spLocks noGrp="1"/>
          </p:cNvSpPr>
          <p:nvPr>
            <p:ph type="title" idx="4294967295"/>
          </p:nvPr>
        </p:nvSpPr>
        <p:spPr>
          <a:xfrm>
            <a:off x="587375" y="898525"/>
            <a:ext cx="11017250" cy="55403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tab pos="1490663" algn="l"/>
              </a:tabLst>
              <a:defRPr/>
            </a:pPr>
            <a:r>
              <a:rPr kumimoji="0" lang="en-US" sz="4000" b="1" u="none" strike="noStrike" kern="1200" cap="none" spc="-80" normalizeH="0" baseline="0" noProof="0">
                <a:ln>
                  <a:noFill/>
                </a:ln>
                <a:effectLst/>
                <a:uLnTx/>
                <a:uFillTx/>
                <a:latin typeface="Segoe Sans Display Semibold" pitchFamily="2" charset="0"/>
                <a:cs typeface="Segoe Sans Display Semibold" pitchFamily="2" charset="0"/>
              </a:rPr>
              <a:t>Copilot is the</a:t>
            </a:r>
            <a:r>
              <a:rPr kumimoji="0" lang="en-US" sz="4000" b="1" u="none" strike="noStrike" kern="1200" cap="none" spc="-80" normalizeH="0" noProof="0">
                <a:ln>
                  <a:noFill/>
                </a:ln>
                <a:effectLst/>
                <a:uLnTx/>
                <a:uFillTx/>
                <a:latin typeface="Segoe Sans Display Semibold" pitchFamily="2" charset="0"/>
                <a:cs typeface="Segoe Sans Display Semibold" pitchFamily="2" charset="0"/>
              </a:rPr>
              <a:t> </a:t>
            </a:r>
            <a:r>
              <a:rPr kumimoji="0" lang="en-US" sz="4000" b="1" u="none" strike="noStrike" kern="1200" cap="none" spc="-80" normalizeH="0" baseline="0" noProof="0">
                <a:ln>
                  <a:noFill/>
                </a:ln>
                <a:gradFill flip="none" rotWithShape="1">
                  <a:gsLst>
                    <a:gs pos="100000">
                      <a:srgbClr val="FF5C39"/>
                    </a:gs>
                    <a:gs pos="66000">
                      <a:srgbClr val="0078D4"/>
                    </a:gs>
                    <a:gs pos="93000">
                      <a:srgbClr val="C03BC4"/>
                    </a:gs>
                  </a:gsLst>
                  <a:lin ang="2700000" scaled="0"/>
                  <a:tileRect/>
                </a:gradFill>
                <a:effectLst/>
                <a:uLnTx/>
                <a:uFillTx/>
                <a:latin typeface="Segoe Sans Display Semibold" pitchFamily="2" charset="0"/>
                <a:cs typeface="Segoe Sans Display Semibold" pitchFamily="2" charset="0"/>
              </a:rPr>
              <a:t>UI for AI</a:t>
            </a:r>
          </a:p>
        </p:txBody>
      </p:sp>
      <p:grpSp>
        <p:nvGrpSpPr>
          <p:cNvPr id="10" name="Group 9" descr="Image of a woman">
            <a:extLst>
              <a:ext uri="{FF2B5EF4-FFF2-40B4-BE49-F238E27FC236}">
                <a16:creationId xmlns:a16="http://schemas.microsoft.com/office/drawing/2014/main" id="{971424C9-237F-C8F4-7E03-A311C117EFE5}"/>
              </a:ext>
            </a:extLst>
          </p:cNvPr>
          <p:cNvGrpSpPr/>
          <p:nvPr/>
        </p:nvGrpSpPr>
        <p:grpSpPr>
          <a:xfrm>
            <a:off x="965241" y="3532020"/>
            <a:ext cx="1269362" cy="1269361"/>
            <a:chOff x="833238" y="2903746"/>
            <a:chExt cx="1474629" cy="1474628"/>
          </a:xfrm>
        </p:grpSpPr>
        <p:sp>
          <p:nvSpPr>
            <p:cNvPr id="189" name="Oval 188">
              <a:extLst>
                <a:ext uri="{FF2B5EF4-FFF2-40B4-BE49-F238E27FC236}">
                  <a16:creationId xmlns:a16="http://schemas.microsoft.com/office/drawing/2014/main" id="{9F162E83-3896-3C10-91FE-073A5772153D}"/>
                </a:ext>
                <a:ext uri="{C183D7F6-B498-43B3-948B-1728B52AA6E4}">
                  <adec:decorative xmlns:adec="http://schemas.microsoft.com/office/drawing/2017/decorative" val="1"/>
                </a:ext>
              </a:extLst>
            </p:cNvPr>
            <p:cNvSpPr/>
            <p:nvPr/>
          </p:nvSpPr>
          <p:spPr bwMode="auto">
            <a:xfrm>
              <a:off x="834460" y="2903749"/>
              <a:ext cx="1472184" cy="1474623"/>
            </a:xfrm>
            <a:prstGeom prst="ellipse">
              <a:avLst/>
            </a:prstGeom>
            <a:solidFill>
              <a:schemeClr val="bg1"/>
            </a:solidFill>
            <a:ln w="25400" cap="flat">
              <a:solidFill>
                <a:srgbClr val="FFF8F3"/>
              </a:solidFill>
              <a:prstDash val="solid"/>
              <a:miter/>
            </a:ln>
            <a:effectLst>
              <a:outerShdw blurRad="63500" dist="63500" dir="2400000" algn="tl" rotWithShape="0">
                <a:srgbClr val="454142">
                  <a:alpha val="20000"/>
                </a:srgbClr>
              </a:outerShdw>
            </a:effectLst>
          </p:spPr>
          <p:txBody>
            <a:bodyPr rot="0" spcFirstLastPara="0" vertOverflow="overflow" horzOverflow="overflow" vert="horz" wrap="square" lIns="0" tIns="0" rIns="0" bIns="1828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6600" b="0" i="0" u="none" strike="noStrike" kern="1200" cap="none" spc="0" normalizeH="0" baseline="0" noProof="0">
                <a:ln>
                  <a:noFill/>
                </a:ln>
                <a:solidFill>
                  <a:srgbClr val="FFFFFF"/>
                </a:solidFill>
                <a:effectLst/>
                <a:uLnTx/>
                <a:uFillTx/>
                <a:latin typeface="Segoe UI Semibold"/>
                <a:ea typeface="+mn-ea"/>
                <a:cs typeface="+mn-cs"/>
              </a:endParaRPr>
            </a:p>
          </p:txBody>
        </p:sp>
        <p:pic>
          <p:nvPicPr>
            <p:cNvPr id="160" name="Picture 159">
              <a:extLst>
                <a:ext uri="{FF2B5EF4-FFF2-40B4-BE49-F238E27FC236}">
                  <a16:creationId xmlns:a16="http://schemas.microsoft.com/office/drawing/2014/main" id="{4D6312AB-39D4-ECB0-1B97-FFF5AFF1F5DE}"/>
                </a:ext>
              </a:extLst>
            </p:cNvPr>
            <p:cNvPicPr>
              <a:picLocks noChangeAspect="1"/>
            </p:cNvPicPr>
            <p:nvPr/>
          </p:nvPicPr>
          <p:blipFill rotWithShape="1">
            <a:blip r:embed="rId3"/>
            <a:srcRect l="7986" t="12923" r="24479" b="42054"/>
            <a:stretch/>
          </p:blipFill>
          <p:spPr>
            <a:xfrm>
              <a:off x="833238" y="2903746"/>
              <a:ext cx="1474629" cy="1474628"/>
            </a:xfrm>
            <a:prstGeom prst="ellipse">
              <a:avLst/>
            </a:prstGeom>
            <a:solidFill>
              <a:schemeClr val="bg1"/>
            </a:solidFill>
            <a:ln w="14684" cap="flat">
              <a:noFill/>
              <a:prstDash val="solid"/>
              <a:miter/>
            </a:ln>
            <a:effectLst>
              <a:outerShdw blurRad="317500" dist="88900" dir="2700000" sx="101000" sy="101000" algn="tl" rotWithShape="0">
                <a:prstClr val="black">
                  <a:alpha val="10000"/>
                </a:prstClr>
              </a:outerShdw>
            </a:effectLst>
          </p:spPr>
        </p:pic>
      </p:grpSp>
      <p:sp>
        <p:nvSpPr>
          <p:cNvPr id="174" name="Rounded Rectangle 62">
            <a:extLst>
              <a:ext uri="{FF2B5EF4-FFF2-40B4-BE49-F238E27FC236}">
                <a16:creationId xmlns:a16="http://schemas.microsoft.com/office/drawing/2014/main" id="{F30000EE-033F-EBA2-CFBE-4E7DF0DAC729}"/>
              </a:ext>
              <a:ext uri="{C183D7F6-B498-43B3-948B-1728B52AA6E4}">
                <adec:decorative xmlns:adec="http://schemas.microsoft.com/office/drawing/2017/decorative" val="1"/>
              </a:ext>
            </a:extLst>
          </p:cNvPr>
          <p:cNvSpPr/>
          <p:nvPr/>
        </p:nvSpPr>
        <p:spPr bwMode="auto">
          <a:xfrm>
            <a:off x="4586075" y="2073241"/>
            <a:ext cx="986132" cy="307777"/>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2000" b="0" i="0" u="none" strike="noStrike" kern="0" cap="none" spc="0" normalizeH="0" baseline="0" noProof="0">
                <a:ln>
                  <a:noFill/>
                </a:ln>
                <a:gradFill>
                  <a:gsLst>
                    <a:gs pos="88073">
                      <a:srgbClr val="000000"/>
                    </a:gs>
                    <a:gs pos="68807">
                      <a:srgbClr val="000000"/>
                    </a:gs>
                  </a:gsLst>
                  <a:lin ang="5400000" scaled="1"/>
                </a:gradFill>
                <a:effectLst/>
                <a:uLnTx/>
                <a:uFillTx/>
                <a:latin typeface="Segoe Sans Display Semibold"/>
                <a:ea typeface="+mn-ea"/>
                <a:cs typeface="Segoe Sans Display Semibold" pitchFamily="2" charset="0"/>
              </a:rPr>
              <a:t>Copilot</a:t>
            </a:r>
          </a:p>
        </p:txBody>
      </p:sp>
      <p:grpSp>
        <p:nvGrpSpPr>
          <p:cNvPr id="22" name="Group 21" descr="Copilot Logo">
            <a:extLst>
              <a:ext uri="{FF2B5EF4-FFF2-40B4-BE49-F238E27FC236}">
                <a16:creationId xmlns:a16="http://schemas.microsoft.com/office/drawing/2014/main" id="{C13B501A-D14A-E086-8550-7D787BA47985}"/>
              </a:ext>
            </a:extLst>
          </p:cNvPr>
          <p:cNvGrpSpPr/>
          <p:nvPr/>
        </p:nvGrpSpPr>
        <p:grpSpPr>
          <a:xfrm>
            <a:off x="3859993" y="2925645"/>
            <a:ext cx="2438296" cy="2438296"/>
            <a:chOff x="2945451" y="1494056"/>
            <a:chExt cx="2438296" cy="2438296"/>
          </a:xfrm>
        </p:grpSpPr>
        <p:sp>
          <p:nvSpPr>
            <p:cNvPr id="20" name="Copilot Box - replacement">
              <a:extLst>
                <a:ext uri="{FF2B5EF4-FFF2-40B4-BE49-F238E27FC236}">
                  <a16:creationId xmlns:a16="http://schemas.microsoft.com/office/drawing/2014/main" id="{5EF13D9A-B41D-F0A8-2DE7-07D3FE8EE932}"/>
                </a:ext>
              </a:extLst>
            </p:cNvPr>
            <p:cNvSpPr>
              <a:spLocks noChangeAspect="1"/>
            </p:cNvSpPr>
            <p:nvPr/>
          </p:nvSpPr>
          <p:spPr bwMode="auto">
            <a:xfrm>
              <a:off x="2945451" y="1494056"/>
              <a:ext cx="2438296" cy="2438296"/>
            </a:xfrm>
            <a:prstGeom prst="roundRect">
              <a:avLst>
                <a:gd name="adj" fmla="val 6703"/>
              </a:avLst>
            </a:prstGeom>
            <a:gradFill>
              <a:gsLst>
                <a:gs pos="0">
                  <a:srgbClr val="0A6BBA"/>
                </a:gs>
                <a:gs pos="80000">
                  <a:srgbClr val="328985"/>
                </a:gs>
              </a:gsLst>
              <a:path path="circle">
                <a:fillToRect l="100000" t="100000"/>
              </a:path>
            </a:gradFill>
            <a:ln w="19050">
              <a:noFill/>
              <a:headEnd type="none" w="med" len="med"/>
              <a:tailEnd type="none" w="med" len="med"/>
            </a:ln>
            <a:effectLst/>
            <a:scene3d>
              <a:camera prst="orthographicFront">
                <a:rot lat="1080000" lon="30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21" name="Copilot logo - replacement">
              <a:extLst>
                <a:ext uri="{FF2B5EF4-FFF2-40B4-BE49-F238E27FC236}">
                  <a16:creationId xmlns:a16="http://schemas.microsoft.com/office/drawing/2014/main" id="{691EE309-FD32-23B4-92BD-84C9CA2994D8}"/>
                </a:ext>
              </a:extLst>
            </p:cNvPr>
            <p:cNvSpPr>
              <a:spLocks noChangeAspect="1"/>
            </p:cNvSpPr>
            <p:nvPr/>
          </p:nvSpPr>
          <p:spPr>
            <a:xfrm>
              <a:off x="3733780" y="2335388"/>
              <a:ext cx="861640" cy="755634"/>
            </a:xfrm>
            <a:custGeom>
              <a:avLst/>
              <a:gdLst>
                <a:gd name="connsiteX0" fmla="*/ 1532660 w 1573156"/>
                <a:gd name="connsiteY0" fmla="*/ 437600 h 1379613"/>
                <a:gd name="connsiteX1" fmla="*/ 1344698 w 1573156"/>
                <a:gd name="connsiteY1" fmla="*/ 358303 h 1379613"/>
                <a:gd name="connsiteX2" fmla="*/ 1312392 w 1573156"/>
                <a:gd name="connsiteY2" fmla="*/ 358303 h 1379613"/>
                <a:gd name="connsiteX3" fmla="*/ 1299910 w 1573156"/>
                <a:gd name="connsiteY3" fmla="*/ 356100 h 1379613"/>
                <a:gd name="connsiteX4" fmla="*/ 1170686 w 1573156"/>
                <a:gd name="connsiteY4" fmla="*/ 213660 h 1379613"/>
                <a:gd name="connsiteX5" fmla="*/ 940139 w 1573156"/>
                <a:gd name="connsiteY5" fmla="*/ 0 h 1379613"/>
                <a:gd name="connsiteX6" fmla="*/ 438662 w 1573156"/>
                <a:gd name="connsiteY6" fmla="*/ 0 h 1379613"/>
                <a:gd name="connsiteX7" fmla="*/ 82562 w 1573156"/>
                <a:gd name="connsiteY7" fmla="*/ 422915 h 1379613"/>
                <a:gd name="connsiteX8" fmla="*/ 40711 w 1573156"/>
                <a:gd name="connsiteY8" fmla="*/ 942014 h 1379613"/>
                <a:gd name="connsiteX9" fmla="*/ 228673 w 1573156"/>
                <a:gd name="connsiteY9" fmla="*/ 1021310 h 1379613"/>
                <a:gd name="connsiteX10" fmla="*/ 260979 w 1573156"/>
                <a:gd name="connsiteY10" fmla="*/ 1021310 h 1379613"/>
                <a:gd name="connsiteX11" fmla="*/ 273461 w 1573156"/>
                <a:gd name="connsiteY11" fmla="*/ 1023513 h 1379613"/>
                <a:gd name="connsiteX12" fmla="*/ 402685 w 1573156"/>
                <a:gd name="connsiteY12" fmla="*/ 1165953 h 1379613"/>
                <a:gd name="connsiteX13" fmla="*/ 633232 w 1573156"/>
                <a:gd name="connsiteY13" fmla="*/ 1379613 h 1379613"/>
                <a:gd name="connsiteX14" fmla="*/ 1134709 w 1573156"/>
                <a:gd name="connsiteY14" fmla="*/ 1379613 h 1379613"/>
                <a:gd name="connsiteX15" fmla="*/ 1490809 w 1573156"/>
                <a:gd name="connsiteY15" fmla="*/ 956698 h 1379613"/>
                <a:gd name="connsiteX16" fmla="*/ 1531926 w 1573156"/>
                <a:gd name="connsiteY16" fmla="*/ 437600 h 1379613"/>
                <a:gd name="connsiteX17" fmla="*/ 940139 w 1573156"/>
                <a:gd name="connsiteY17" fmla="*/ 71954 h 1379613"/>
                <a:gd name="connsiteX18" fmla="*/ 1101669 w 1573156"/>
                <a:gd name="connsiteY18" fmla="*/ 233484 h 1379613"/>
                <a:gd name="connsiteX19" fmla="*/ 1151596 w 1573156"/>
                <a:gd name="connsiteY19" fmla="*/ 356100 h 1379613"/>
                <a:gd name="connsiteX20" fmla="*/ 882869 w 1573156"/>
                <a:gd name="connsiteY20" fmla="*/ 356100 h 1379613"/>
                <a:gd name="connsiteX21" fmla="*/ 754379 w 1573156"/>
                <a:gd name="connsiteY21" fmla="*/ 389141 h 1379613"/>
                <a:gd name="connsiteX22" fmla="*/ 775672 w 1573156"/>
                <a:gd name="connsiteY22" fmla="*/ 322326 h 1379613"/>
                <a:gd name="connsiteX23" fmla="*/ 778609 w 1573156"/>
                <a:gd name="connsiteY23" fmla="*/ 312781 h 1379613"/>
                <a:gd name="connsiteX24" fmla="*/ 861577 w 1573156"/>
                <a:gd name="connsiteY24" fmla="*/ 110134 h 1379613"/>
                <a:gd name="connsiteX25" fmla="*/ 939405 w 1573156"/>
                <a:gd name="connsiteY25" fmla="*/ 72689 h 1379613"/>
                <a:gd name="connsiteX26" fmla="*/ 1030449 w 1573156"/>
                <a:gd name="connsiteY26" fmla="*/ 428055 h 1379613"/>
                <a:gd name="connsiteX27" fmla="*/ 957760 w 1573156"/>
                <a:gd name="connsiteY27" fmla="*/ 541860 h 1379613"/>
                <a:gd name="connsiteX28" fmla="*/ 890211 w 1573156"/>
                <a:gd name="connsiteY28" fmla="*/ 762128 h 1379613"/>
                <a:gd name="connsiteX29" fmla="*/ 871856 w 1573156"/>
                <a:gd name="connsiteY29" fmla="*/ 820132 h 1379613"/>
                <a:gd name="connsiteX30" fmla="*/ 690502 w 1573156"/>
                <a:gd name="connsiteY30" fmla="*/ 951559 h 1379613"/>
                <a:gd name="connsiteX31" fmla="*/ 542922 w 1573156"/>
                <a:gd name="connsiteY31" fmla="*/ 951559 h 1379613"/>
                <a:gd name="connsiteX32" fmla="*/ 615610 w 1573156"/>
                <a:gd name="connsiteY32" fmla="*/ 837753 h 1379613"/>
                <a:gd name="connsiteX33" fmla="*/ 683159 w 1573156"/>
                <a:gd name="connsiteY33" fmla="*/ 617485 h 1379613"/>
                <a:gd name="connsiteX34" fmla="*/ 701515 w 1573156"/>
                <a:gd name="connsiteY34" fmla="*/ 559481 h 1379613"/>
                <a:gd name="connsiteX35" fmla="*/ 882869 w 1573156"/>
                <a:gd name="connsiteY35" fmla="*/ 428055 h 1379613"/>
                <a:gd name="connsiteX36" fmla="*/ 1030449 w 1573156"/>
                <a:gd name="connsiteY36" fmla="*/ 428055 h 1379613"/>
                <a:gd name="connsiteX37" fmla="*/ 99449 w 1573156"/>
                <a:gd name="connsiteY37" fmla="*/ 899429 h 1379613"/>
                <a:gd name="connsiteX38" fmla="*/ 150845 w 1573156"/>
                <a:gd name="connsiteY38" fmla="*/ 444942 h 1379613"/>
                <a:gd name="connsiteX39" fmla="*/ 438662 w 1573156"/>
                <a:gd name="connsiteY39" fmla="*/ 71954 h 1379613"/>
                <a:gd name="connsiteX40" fmla="*/ 800636 w 1573156"/>
                <a:gd name="connsiteY40" fmla="*/ 71954 h 1379613"/>
                <a:gd name="connsiteX41" fmla="*/ 710326 w 1573156"/>
                <a:gd name="connsiteY41" fmla="*/ 290754 h 1379613"/>
                <a:gd name="connsiteX42" fmla="*/ 707389 w 1573156"/>
                <a:gd name="connsiteY42" fmla="*/ 300299 h 1379613"/>
                <a:gd name="connsiteX43" fmla="*/ 614876 w 1573156"/>
                <a:gd name="connsiteY43" fmla="*/ 596193 h 1379613"/>
                <a:gd name="connsiteX44" fmla="*/ 611205 w 1573156"/>
                <a:gd name="connsiteY44" fmla="*/ 608675 h 1379613"/>
                <a:gd name="connsiteX45" fmla="*/ 611205 w 1573156"/>
                <a:gd name="connsiteY45" fmla="*/ 610143 h 1379613"/>
                <a:gd name="connsiteX46" fmla="*/ 548062 w 1573156"/>
                <a:gd name="connsiteY46" fmla="*/ 816461 h 1379613"/>
                <a:gd name="connsiteX47" fmla="*/ 365973 w 1573156"/>
                <a:gd name="connsiteY47" fmla="*/ 948622 h 1379613"/>
                <a:gd name="connsiteX48" fmla="*/ 229407 w 1573156"/>
                <a:gd name="connsiteY48" fmla="*/ 948622 h 1379613"/>
                <a:gd name="connsiteX49" fmla="*/ 99449 w 1573156"/>
                <a:gd name="connsiteY49" fmla="*/ 899429 h 1379613"/>
                <a:gd name="connsiteX50" fmla="*/ 633966 w 1573156"/>
                <a:gd name="connsiteY50" fmla="*/ 1307659 h 1379613"/>
                <a:gd name="connsiteX51" fmla="*/ 472436 w 1573156"/>
                <a:gd name="connsiteY51" fmla="*/ 1146129 h 1379613"/>
                <a:gd name="connsiteX52" fmla="*/ 422509 w 1573156"/>
                <a:gd name="connsiteY52" fmla="*/ 1023513 h 1379613"/>
                <a:gd name="connsiteX53" fmla="*/ 691236 w 1573156"/>
                <a:gd name="connsiteY53" fmla="*/ 1023513 h 1379613"/>
                <a:gd name="connsiteX54" fmla="*/ 819726 w 1573156"/>
                <a:gd name="connsiteY54" fmla="*/ 990473 h 1379613"/>
                <a:gd name="connsiteX55" fmla="*/ 798433 w 1573156"/>
                <a:gd name="connsiteY55" fmla="*/ 1057287 h 1379613"/>
                <a:gd name="connsiteX56" fmla="*/ 795496 w 1573156"/>
                <a:gd name="connsiteY56" fmla="*/ 1066098 h 1379613"/>
                <a:gd name="connsiteX57" fmla="*/ 711794 w 1573156"/>
                <a:gd name="connsiteY57" fmla="*/ 1269479 h 1379613"/>
                <a:gd name="connsiteX58" fmla="*/ 633966 w 1573156"/>
                <a:gd name="connsiteY58" fmla="*/ 1306925 h 1379613"/>
                <a:gd name="connsiteX59" fmla="*/ 1423260 w 1573156"/>
                <a:gd name="connsiteY59" fmla="*/ 934671 h 1379613"/>
                <a:gd name="connsiteX60" fmla="*/ 1135443 w 1573156"/>
                <a:gd name="connsiteY60" fmla="*/ 1307659 h 1379613"/>
                <a:gd name="connsiteX61" fmla="*/ 773469 w 1573156"/>
                <a:gd name="connsiteY61" fmla="*/ 1307659 h 1379613"/>
                <a:gd name="connsiteX62" fmla="*/ 863779 w 1573156"/>
                <a:gd name="connsiteY62" fmla="*/ 1088859 h 1379613"/>
                <a:gd name="connsiteX63" fmla="*/ 866716 w 1573156"/>
                <a:gd name="connsiteY63" fmla="*/ 1080049 h 1379613"/>
                <a:gd name="connsiteX64" fmla="*/ 959229 w 1573156"/>
                <a:gd name="connsiteY64" fmla="*/ 784155 h 1379613"/>
                <a:gd name="connsiteX65" fmla="*/ 962900 w 1573156"/>
                <a:gd name="connsiteY65" fmla="*/ 771673 h 1379613"/>
                <a:gd name="connsiteX66" fmla="*/ 962900 w 1573156"/>
                <a:gd name="connsiteY66" fmla="*/ 770205 h 1379613"/>
                <a:gd name="connsiteX67" fmla="*/ 1026778 w 1573156"/>
                <a:gd name="connsiteY67" fmla="*/ 563887 h 1379613"/>
                <a:gd name="connsiteX68" fmla="*/ 1208132 w 1573156"/>
                <a:gd name="connsiteY68" fmla="*/ 431726 h 1379613"/>
                <a:gd name="connsiteX69" fmla="*/ 1344698 w 1573156"/>
                <a:gd name="connsiteY69" fmla="*/ 431726 h 1379613"/>
                <a:gd name="connsiteX70" fmla="*/ 1474656 w 1573156"/>
                <a:gd name="connsiteY70" fmla="*/ 480919 h 1379613"/>
                <a:gd name="connsiteX71" fmla="*/ 1423260 w 1573156"/>
                <a:gd name="connsiteY71" fmla="*/ 935406 h 137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73156" h="1379613">
                  <a:moveTo>
                    <a:pt x="1532660" y="437600"/>
                  </a:moveTo>
                  <a:cubicBezTo>
                    <a:pt x="1494480" y="385469"/>
                    <a:pt x="1431337" y="358303"/>
                    <a:pt x="1344698" y="358303"/>
                  </a:cubicBezTo>
                  <a:lnTo>
                    <a:pt x="1312392" y="358303"/>
                  </a:lnTo>
                  <a:cubicBezTo>
                    <a:pt x="1308721" y="356835"/>
                    <a:pt x="1304316" y="356100"/>
                    <a:pt x="1299910" y="356100"/>
                  </a:cubicBezTo>
                  <a:cubicBezTo>
                    <a:pt x="1215474" y="356100"/>
                    <a:pt x="1197853" y="306907"/>
                    <a:pt x="1170686" y="213660"/>
                  </a:cubicBezTo>
                  <a:cubicBezTo>
                    <a:pt x="1144988" y="123350"/>
                    <a:pt x="1109745" y="0"/>
                    <a:pt x="940139" y="0"/>
                  </a:cubicBezTo>
                  <a:lnTo>
                    <a:pt x="438662" y="0"/>
                  </a:lnTo>
                  <a:cubicBezTo>
                    <a:pt x="242623" y="0"/>
                    <a:pt x="141300" y="241561"/>
                    <a:pt x="82562" y="422915"/>
                  </a:cubicBezTo>
                  <a:cubicBezTo>
                    <a:pt x="25292" y="600598"/>
                    <a:pt x="-46662" y="821600"/>
                    <a:pt x="40711" y="942014"/>
                  </a:cubicBezTo>
                  <a:cubicBezTo>
                    <a:pt x="78890" y="994144"/>
                    <a:pt x="142034" y="1021310"/>
                    <a:pt x="228673" y="1021310"/>
                  </a:cubicBezTo>
                  <a:lnTo>
                    <a:pt x="260979" y="1021310"/>
                  </a:lnTo>
                  <a:cubicBezTo>
                    <a:pt x="264650" y="1022779"/>
                    <a:pt x="269055" y="1023513"/>
                    <a:pt x="273461" y="1023513"/>
                  </a:cubicBezTo>
                  <a:cubicBezTo>
                    <a:pt x="357897" y="1023513"/>
                    <a:pt x="375518" y="1072706"/>
                    <a:pt x="402685" y="1165953"/>
                  </a:cubicBezTo>
                  <a:cubicBezTo>
                    <a:pt x="428383" y="1256263"/>
                    <a:pt x="463625" y="1379613"/>
                    <a:pt x="633232" y="1379613"/>
                  </a:cubicBezTo>
                  <a:lnTo>
                    <a:pt x="1134709" y="1379613"/>
                  </a:lnTo>
                  <a:cubicBezTo>
                    <a:pt x="1331482" y="1379613"/>
                    <a:pt x="1432071" y="1138052"/>
                    <a:pt x="1490809" y="956698"/>
                  </a:cubicBezTo>
                  <a:cubicBezTo>
                    <a:pt x="1548079" y="779015"/>
                    <a:pt x="1620033" y="558013"/>
                    <a:pt x="1531926" y="437600"/>
                  </a:cubicBezTo>
                  <a:close/>
                  <a:moveTo>
                    <a:pt x="940139" y="71954"/>
                  </a:moveTo>
                  <a:cubicBezTo>
                    <a:pt x="1050273" y="71954"/>
                    <a:pt x="1073034" y="132895"/>
                    <a:pt x="1101669" y="233484"/>
                  </a:cubicBezTo>
                  <a:cubicBezTo>
                    <a:pt x="1113416" y="273867"/>
                    <a:pt x="1126633" y="319389"/>
                    <a:pt x="1151596" y="356100"/>
                  </a:cubicBezTo>
                  <a:lnTo>
                    <a:pt x="882869" y="356100"/>
                  </a:lnTo>
                  <a:cubicBezTo>
                    <a:pt x="836613" y="356100"/>
                    <a:pt x="792559" y="367848"/>
                    <a:pt x="754379" y="389141"/>
                  </a:cubicBezTo>
                  <a:cubicBezTo>
                    <a:pt x="761722" y="366379"/>
                    <a:pt x="768330" y="343618"/>
                    <a:pt x="775672" y="322326"/>
                  </a:cubicBezTo>
                  <a:lnTo>
                    <a:pt x="778609" y="312781"/>
                  </a:lnTo>
                  <a:cubicBezTo>
                    <a:pt x="805775" y="226876"/>
                    <a:pt x="829271" y="153454"/>
                    <a:pt x="861577" y="110134"/>
                  </a:cubicBezTo>
                  <a:cubicBezTo>
                    <a:pt x="874793" y="93247"/>
                    <a:pt x="898288" y="72689"/>
                    <a:pt x="939405" y="72689"/>
                  </a:cubicBezTo>
                  <a:close/>
                  <a:moveTo>
                    <a:pt x="1030449" y="428055"/>
                  </a:moveTo>
                  <a:cubicBezTo>
                    <a:pt x="997409" y="458158"/>
                    <a:pt x="971711" y="497072"/>
                    <a:pt x="957760" y="541860"/>
                  </a:cubicBezTo>
                  <a:cubicBezTo>
                    <a:pt x="938670" y="605003"/>
                    <a:pt x="915175" y="681363"/>
                    <a:pt x="890211" y="762128"/>
                  </a:cubicBezTo>
                  <a:lnTo>
                    <a:pt x="871856" y="820132"/>
                  </a:lnTo>
                  <a:cubicBezTo>
                    <a:pt x="847626" y="898694"/>
                    <a:pt x="774204" y="951559"/>
                    <a:pt x="690502" y="951559"/>
                  </a:cubicBezTo>
                  <a:lnTo>
                    <a:pt x="542922" y="951559"/>
                  </a:lnTo>
                  <a:cubicBezTo>
                    <a:pt x="575962" y="921455"/>
                    <a:pt x="601660" y="882541"/>
                    <a:pt x="615610" y="837753"/>
                  </a:cubicBezTo>
                  <a:cubicBezTo>
                    <a:pt x="634700" y="774610"/>
                    <a:pt x="658196" y="697516"/>
                    <a:pt x="683159" y="617485"/>
                  </a:cubicBezTo>
                  <a:lnTo>
                    <a:pt x="701515" y="559481"/>
                  </a:lnTo>
                  <a:cubicBezTo>
                    <a:pt x="725745" y="480919"/>
                    <a:pt x="799167" y="428055"/>
                    <a:pt x="882869" y="428055"/>
                  </a:cubicBezTo>
                  <a:lnTo>
                    <a:pt x="1030449" y="428055"/>
                  </a:lnTo>
                  <a:close/>
                  <a:moveTo>
                    <a:pt x="99449" y="899429"/>
                  </a:moveTo>
                  <a:cubicBezTo>
                    <a:pt x="33368" y="808384"/>
                    <a:pt x="101651" y="598395"/>
                    <a:pt x="150845" y="444942"/>
                  </a:cubicBezTo>
                  <a:cubicBezTo>
                    <a:pt x="232344" y="193836"/>
                    <a:pt x="326325" y="71954"/>
                    <a:pt x="438662" y="71954"/>
                  </a:cubicBezTo>
                  <a:lnTo>
                    <a:pt x="800636" y="71954"/>
                  </a:lnTo>
                  <a:cubicBezTo>
                    <a:pt x="763190" y="124819"/>
                    <a:pt x="738226" y="201913"/>
                    <a:pt x="710326" y="290754"/>
                  </a:cubicBezTo>
                  <a:lnTo>
                    <a:pt x="707389" y="300299"/>
                  </a:lnTo>
                  <a:cubicBezTo>
                    <a:pt x="678754" y="391343"/>
                    <a:pt x="645714" y="496338"/>
                    <a:pt x="614876" y="596193"/>
                  </a:cubicBezTo>
                  <a:lnTo>
                    <a:pt x="611205" y="608675"/>
                  </a:lnTo>
                  <a:cubicBezTo>
                    <a:pt x="611205" y="608675"/>
                    <a:pt x="611205" y="609409"/>
                    <a:pt x="611205" y="610143"/>
                  </a:cubicBezTo>
                  <a:cubicBezTo>
                    <a:pt x="587710" y="685034"/>
                    <a:pt x="565683" y="756988"/>
                    <a:pt x="548062" y="816461"/>
                  </a:cubicBezTo>
                  <a:cubicBezTo>
                    <a:pt x="523832" y="895757"/>
                    <a:pt x="450409" y="948622"/>
                    <a:pt x="365973" y="948622"/>
                  </a:cubicBezTo>
                  <a:lnTo>
                    <a:pt x="229407" y="948622"/>
                  </a:lnTo>
                  <a:cubicBezTo>
                    <a:pt x="166263" y="948622"/>
                    <a:pt x="123678" y="932469"/>
                    <a:pt x="99449" y="899429"/>
                  </a:cubicBezTo>
                  <a:close/>
                  <a:moveTo>
                    <a:pt x="633966" y="1307659"/>
                  </a:moveTo>
                  <a:cubicBezTo>
                    <a:pt x="523832" y="1307659"/>
                    <a:pt x="501071" y="1246718"/>
                    <a:pt x="472436" y="1146129"/>
                  </a:cubicBezTo>
                  <a:cubicBezTo>
                    <a:pt x="460689" y="1105747"/>
                    <a:pt x="447472" y="1060224"/>
                    <a:pt x="422509" y="1023513"/>
                  </a:cubicBezTo>
                  <a:lnTo>
                    <a:pt x="691236" y="1023513"/>
                  </a:lnTo>
                  <a:cubicBezTo>
                    <a:pt x="737492" y="1023513"/>
                    <a:pt x="781546" y="1011765"/>
                    <a:pt x="819726" y="990473"/>
                  </a:cubicBezTo>
                  <a:cubicBezTo>
                    <a:pt x="812383" y="1013234"/>
                    <a:pt x="805775" y="1035995"/>
                    <a:pt x="798433" y="1057287"/>
                  </a:cubicBezTo>
                  <a:lnTo>
                    <a:pt x="795496" y="1066098"/>
                  </a:lnTo>
                  <a:cubicBezTo>
                    <a:pt x="768330" y="1152003"/>
                    <a:pt x="744834" y="1226160"/>
                    <a:pt x="711794" y="1269479"/>
                  </a:cubicBezTo>
                  <a:cubicBezTo>
                    <a:pt x="698578" y="1286366"/>
                    <a:pt x="675083" y="1306925"/>
                    <a:pt x="633966" y="1306925"/>
                  </a:cubicBezTo>
                  <a:close/>
                  <a:moveTo>
                    <a:pt x="1423260" y="934671"/>
                  </a:moveTo>
                  <a:cubicBezTo>
                    <a:pt x="1341761" y="1185777"/>
                    <a:pt x="1247780" y="1307659"/>
                    <a:pt x="1135443" y="1307659"/>
                  </a:cubicBezTo>
                  <a:lnTo>
                    <a:pt x="773469" y="1307659"/>
                  </a:lnTo>
                  <a:cubicBezTo>
                    <a:pt x="810915" y="1254795"/>
                    <a:pt x="835879" y="1177701"/>
                    <a:pt x="863779" y="1088859"/>
                  </a:cubicBezTo>
                  <a:lnTo>
                    <a:pt x="866716" y="1080049"/>
                  </a:lnTo>
                  <a:cubicBezTo>
                    <a:pt x="895351" y="989004"/>
                    <a:pt x="928391" y="884010"/>
                    <a:pt x="959229" y="784155"/>
                  </a:cubicBezTo>
                  <a:lnTo>
                    <a:pt x="962900" y="771673"/>
                  </a:lnTo>
                  <a:lnTo>
                    <a:pt x="962900" y="770205"/>
                  </a:lnTo>
                  <a:cubicBezTo>
                    <a:pt x="986395" y="695313"/>
                    <a:pt x="1008422" y="623359"/>
                    <a:pt x="1026778" y="563887"/>
                  </a:cubicBezTo>
                  <a:cubicBezTo>
                    <a:pt x="1051007" y="484590"/>
                    <a:pt x="1123696" y="431726"/>
                    <a:pt x="1208132" y="431726"/>
                  </a:cubicBezTo>
                  <a:lnTo>
                    <a:pt x="1344698" y="431726"/>
                  </a:lnTo>
                  <a:cubicBezTo>
                    <a:pt x="1407842" y="431726"/>
                    <a:pt x="1450427" y="447879"/>
                    <a:pt x="1474656" y="480919"/>
                  </a:cubicBezTo>
                  <a:cubicBezTo>
                    <a:pt x="1540737" y="571963"/>
                    <a:pt x="1472454" y="781952"/>
                    <a:pt x="1423260" y="935406"/>
                  </a:cubicBezTo>
                  <a:close/>
                </a:path>
              </a:pathLst>
            </a:custGeom>
            <a:solidFill>
              <a:srgbClr val="FFFFFF"/>
            </a:solidFill>
            <a:ln w="19050">
              <a:noFill/>
              <a:headEnd type="none" w="med" len="med"/>
              <a:tailEnd type="none" w="med" len="med"/>
            </a:ln>
            <a:effectLst/>
            <a:scene3d>
              <a:camera prst="orthographicFront">
                <a:rot lat="1080000" lon="30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grpSp>
      <p:sp>
        <p:nvSpPr>
          <p:cNvPr id="172" name="Rounded Rectangle 62">
            <a:extLst>
              <a:ext uri="{FF2B5EF4-FFF2-40B4-BE49-F238E27FC236}">
                <a16:creationId xmlns:a16="http://schemas.microsoft.com/office/drawing/2014/main" id="{F660C1E6-ACCE-B10B-05C4-655416D61225}"/>
              </a:ext>
              <a:ext uri="{C183D7F6-B498-43B3-948B-1728B52AA6E4}">
                <adec:decorative xmlns:adec="http://schemas.microsoft.com/office/drawing/2017/decorative" val="1"/>
              </a:ext>
            </a:extLst>
          </p:cNvPr>
          <p:cNvSpPr/>
          <p:nvPr/>
        </p:nvSpPr>
        <p:spPr bwMode="auto">
          <a:xfrm>
            <a:off x="5837316" y="2085273"/>
            <a:ext cx="5115489" cy="307777"/>
          </a:xfrm>
          <a:prstGeom prst="rect">
            <a:avLst/>
          </a:prstGeom>
          <a:noFill/>
          <a:ln w="9525">
            <a:noFill/>
            <a:headEnd type="none" w="med" len="med"/>
            <a:tailEnd type="none" w="med" len="med"/>
          </a:ln>
          <a:effectLst>
            <a:softEdge rad="1651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487527" rtl="0" eaLnBrk="1" fontAlgn="base" latinLnBrk="0" hangingPunct="1">
              <a:lnSpc>
                <a:spcPct val="100000"/>
              </a:lnSpc>
              <a:spcBef>
                <a:spcPct val="0"/>
              </a:spcBef>
              <a:spcAft>
                <a:spcPct val="0"/>
              </a:spcAft>
              <a:buClrTx/>
              <a:buSzTx/>
              <a:buFontTx/>
              <a:buNone/>
              <a:tabLst>
                <a:tab pos="545697" algn="l"/>
              </a:tabLst>
              <a:defRPr/>
            </a:pPr>
            <a:r>
              <a:rPr kumimoji="0" lang="en-US" sz="2000" b="0" i="0" u="none" strike="noStrike" kern="0" cap="none" spc="0" normalizeH="0" baseline="0" noProof="0">
                <a:ln>
                  <a:noFill/>
                </a:ln>
                <a:gradFill>
                  <a:gsLst>
                    <a:gs pos="88073">
                      <a:srgbClr val="000000"/>
                    </a:gs>
                    <a:gs pos="68807">
                      <a:srgbClr val="000000"/>
                    </a:gs>
                  </a:gsLst>
                  <a:lin ang="5400000" scaled="1"/>
                </a:gradFill>
                <a:effectLst/>
                <a:uLnTx/>
                <a:uFillTx/>
                <a:latin typeface="Segoe Sans Display Semibold"/>
                <a:ea typeface="+mn-ea"/>
                <a:cs typeface="Segoe Sans Display Semibold" pitchFamily="2" charset="0"/>
              </a:rPr>
              <a:t>Agents</a:t>
            </a:r>
          </a:p>
        </p:txBody>
      </p:sp>
      <p:grpSp>
        <p:nvGrpSpPr>
          <p:cNvPr id="4" name="Group 3" descr="Graphics of links between agents">
            <a:extLst>
              <a:ext uri="{FF2B5EF4-FFF2-40B4-BE49-F238E27FC236}">
                <a16:creationId xmlns:a16="http://schemas.microsoft.com/office/drawing/2014/main" id="{D1D20362-EDD8-02C6-E320-049F8F3310BB}"/>
              </a:ext>
            </a:extLst>
          </p:cNvPr>
          <p:cNvGrpSpPr/>
          <p:nvPr/>
        </p:nvGrpSpPr>
        <p:grpSpPr>
          <a:xfrm>
            <a:off x="6003205" y="2501626"/>
            <a:ext cx="5095650" cy="3248041"/>
            <a:chOff x="6261889" y="1715589"/>
            <a:chExt cx="5095650" cy="3248041"/>
          </a:xfrm>
        </p:grpSpPr>
        <p:grpSp>
          <p:nvGrpSpPr>
            <p:cNvPr id="102" name="!!NetworkLines">
              <a:extLst>
                <a:ext uri="{FF2B5EF4-FFF2-40B4-BE49-F238E27FC236}">
                  <a16:creationId xmlns:a16="http://schemas.microsoft.com/office/drawing/2014/main" id="{A9F50C84-C4A3-8BF7-D354-7E33FBDF5717}"/>
                </a:ext>
              </a:extLst>
            </p:cNvPr>
            <p:cNvGrpSpPr/>
            <p:nvPr/>
          </p:nvGrpSpPr>
          <p:grpSpPr>
            <a:xfrm>
              <a:off x="6261889" y="1965842"/>
              <a:ext cx="4736878" cy="2763883"/>
              <a:chOff x="26278919" y="7127751"/>
              <a:chExt cx="11858730" cy="6919351"/>
            </a:xfrm>
          </p:grpSpPr>
          <p:sp>
            <p:nvSpPr>
              <p:cNvPr id="103" name="Freeform: Shape 102">
                <a:extLst>
                  <a:ext uri="{FF2B5EF4-FFF2-40B4-BE49-F238E27FC236}">
                    <a16:creationId xmlns:a16="http://schemas.microsoft.com/office/drawing/2014/main" id="{881910B1-3BE2-EE2A-F11F-9A7E66158E3C}"/>
                  </a:ext>
                </a:extLst>
              </p:cNvPr>
              <p:cNvSpPr/>
              <p:nvPr/>
            </p:nvSpPr>
            <p:spPr>
              <a:xfrm>
                <a:off x="26278919" y="7130936"/>
                <a:ext cx="4299641" cy="3471138"/>
              </a:xfrm>
              <a:custGeom>
                <a:avLst/>
                <a:gdLst>
                  <a:gd name="connsiteX0" fmla="*/ 0 w 4010353"/>
                  <a:gd name="connsiteY0" fmla="*/ 2428280 h 2428280"/>
                  <a:gd name="connsiteX1" fmla="*/ 4010354 w 4010353"/>
                  <a:gd name="connsiteY1" fmla="*/ 0 h 2428280"/>
                </a:gdLst>
                <a:ahLst/>
                <a:cxnLst>
                  <a:cxn ang="0">
                    <a:pos x="connsiteX0" y="connsiteY0"/>
                  </a:cxn>
                  <a:cxn ang="0">
                    <a:pos x="connsiteX1" y="connsiteY1"/>
                  </a:cxn>
                </a:cxnLst>
                <a:rect l="l" t="t" r="r" b="b"/>
                <a:pathLst>
                  <a:path w="4010353" h="2428280">
                    <a:moveTo>
                      <a:pt x="0" y="2428280"/>
                    </a:moveTo>
                    <a:lnTo>
                      <a:pt x="4010354"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08800F3C-2337-4507-EAF8-06DE736B7309}"/>
                  </a:ext>
                </a:extLst>
              </p:cNvPr>
              <p:cNvSpPr/>
              <p:nvPr/>
            </p:nvSpPr>
            <p:spPr>
              <a:xfrm>
                <a:off x="26278919" y="8893798"/>
                <a:ext cx="6723610" cy="1708275"/>
              </a:xfrm>
              <a:custGeom>
                <a:avLst/>
                <a:gdLst>
                  <a:gd name="connsiteX0" fmla="*/ 0 w 6271233"/>
                  <a:gd name="connsiteY0" fmla="*/ 1397819 h 1397819"/>
                  <a:gd name="connsiteX1" fmla="*/ 6271234 w 6271233"/>
                  <a:gd name="connsiteY1" fmla="*/ 0 h 1397819"/>
                </a:gdLst>
                <a:ahLst/>
                <a:cxnLst>
                  <a:cxn ang="0">
                    <a:pos x="connsiteX0" y="connsiteY0"/>
                  </a:cxn>
                  <a:cxn ang="0">
                    <a:pos x="connsiteX1" y="connsiteY1"/>
                  </a:cxn>
                </a:cxnLst>
                <a:rect l="l" t="t" r="r" b="b"/>
                <a:pathLst>
                  <a:path w="6271233" h="1397819">
                    <a:moveTo>
                      <a:pt x="0" y="1397819"/>
                    </a:moveTo>
                    <a:lnTo>
                      <a:pt x="6271234"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5" name="Freeform: Shape 104">
                <a:extLst>
                  <a:ext uri="{FF2B5EF4-FFF2-40B4-BE49-F238E27FC236}">
                    <a16:creationId xmlns:a16="http://schemas.microsoft.com/office/drawing/2014/main" id="{B5676E95-2278-023E-8BE2-240171214789}"/>
                  </a:ext>
                </a:extLst>
              </p:cNvPr>
              <p:cNvSpPr/>
              <p:nvPr/>
            </p:nvSpPr>
            <p:spPr>
              <a:xfrm>
                <a:off x="26278919" y="10602074"/>
                <a:ext cx="4090583" cy="352768"/>
              </a:xfrm>
              <a:custGeom>
                <a:avLst/>
                <a:gdLst>
                  <a:gd name="connsiteX0" fmla="*/ 0 w 5237844"/>
                  <a:gd name="connsiteY0" fmla="*/ 0 h 601528"/>
                  <a:gd name="connsiteX1" fmla="*/ 5237845 w 5237844"/>
                  <a:gd name="connsiteY1" fmla="*/ 601528 h 601528"/>
                </a:gdLst>
                <a:ahLst/>
                <a:cxnLst>
                  <a:cxn ang="0">
                    <a:pos x="connsiteX0" y="connsiteY0"/>
                  </a:cxn>
                  <a:cxn ang="0">
                    <a:pos x="connsiteX1" y="connsiteY1"/>
                  </a:cxn>
                </a:cxnLst>
                <a:rect l="l" t="t" r="r" b="b"/>
                <a:pathLst>
                  <a:path w="5237844" h="601528">
                    <a:moveTo>
                      <a:pt x="0" y="0"/>
                    </a:moveTo>
                    <a:lnTo>
                      <a:pt x="5237845" y="601528"/>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Shape 105">
                <a:extLst>
                  <a:ext uri="{FF2B5EF4-FFF2-40B4-BE49-F238E27FC236}">
                    <a16:creationId xmlns:a16="http://schemas.microsoft.com/office/drawing/2014/main" id="{35CECDF3-88B5-9F53-E5C4-E9EB6AB58E28}"/>
                  </a:ext>
                </a:extLst>
              </p:cNvPr>
              <p:cNvSpPr/>
              <p:nvPr/>
            </p:nvSpPr>
            <p:spPr>
              <a:xfrm>
                <a:off x="26278919" y="10602073"/>
                <a:ext cx="3725726" cy="3405436"/>
              </a:xfrm>
              <a:custGeom>
                <a:avLst/>
                <a:gdLst>
                  <a:gd name="connsiteX0" fmla="*/ 0 w 3475052"/>
                  <a:gd name="connsiteY0" fmla="*/ 0 h 2786544"/>
                  <a:gd name="connsiteX1" fmla="*/ 3475052 w 3475052"/>
                  <a:gd name="connsiteY1" fmla="*/ 2786545 h 2786544"/>
                </a:gdLst>
                <a:ahLst/>
                <a:cxnLst>
                  <a:cxn ang="0">
                    <a:pos x="connsiteX0" y="connsiteY0"/>
                  </a:cxn>
                  <a:cxn ang="0">
                    <a:pos x="connsiteX1" y="connsiteY1"/>
                  </a:cxn>
                </a:cxnLst>
                <a:rect l="l" t="t" r="r" b="b"/>
                <a:pathLst>
                  <a:path w="3475052" h="2786544">
                    <a:moveTo>
                      <a:pt x="0" y="0"/>
                    </a:moveTo>
                    <a:lnTo>
                      <a:pt x="3475052" y="2786545"/>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Freeform: Shape 106">
                <a:extLst>
                  <a:ext uri="{FF2B5EF4-FFF2-40B4-BE49-F238E27FC236}">
                    <a16:creationId xmlns:a16="http://schemas.microsoft.com/office/drawing/2014/main" id="{F9A3D03C-2B2E-FF7E-CA2E-DFC5CFB620AE}"/>
                  </a:ext>
                </a:extLst>
              </p:cNvPr>
              <p:cNvSpPr/>
              <p:nvPr/>
            </p:nvSpPr>
            <p:spPr>
              <a:xfrm>
                <a:off x="26278919" y="10602073"/>
                <a:ext cx="6894546" cy="3445028"/>
              </a:xfrm>
              <a:custGeom>
                <a:avLst/>
                <a:gdLst>
                  <a:gd name="connsiteX0" fmla="*/ 0 w 6430668"/>
                  <a:gd name="connsiteY0" fmla="*/ 0 h 2818941"/>
                  <a:gd name="connsiteX1" fmla="*/ 6430669 w 6430668"/>
                  <a:gd name="connsiteY1" fmla="*/ 2818942 h 2818941"/>
                </a:gdLst>
                <a:ahLst/>
                <a:cxnLst>
                  <a:cxn ang="0">
                    <a:pos x="connsiteX0" y="connsiteY0"/>
                  </a:cxn>
                  <a:cxn ang="0">
                    <a:pos x="connsiteX1" y="connsiteY1"/>
                  </a:cxn>
                </a:cxnLst>
                <a:rect l="l" t="t" r="r" b="b"/>
                <a:pathLst>
                  <a:path w="6430668" h="2818941">
                    <a:moveTo>
                      <a:pt x="0" y="0"/>
                    </a:moveTo>
                    <a:lnTo>
                      <a:pt x="6430669" y="2818942"/>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8" name="Freeform: Shape 107">
                <a:extLst>
                  <a:ext uri="{FF2B5EF4-FFF2-40B4-BE49-F238E27FC236}">
                    <a16:creationId xmlns:a16="http://schemas.microsoft.com/office/drawing/2014/main" id="{46BC560B-0FCF-E8C2-5849-29A048D9A354}"/>
                  </a:ext>
                </a:extLst>
              </p:cNvPr>
              <p:cNvSpPr/>
              <p:nvPr/>
            </p:nvSpPr>
            <p:spPr>
              <a:xfrm>
                <a:off x="30391111" y="10961209"/>
                <a:ext cx="2782355" cy="3085893"/>
              </a:xfrm>
              <a:custGeom>
                <a:avLst/>
                <a:gdLst>
                  <a:gd name="connsiteX0" fmla="*/ 0 w 1192823"/>
                  <a:gd name="connsiteY0" fmla="*/ 0 h 2217413"/>
                  <a:gd name="connsiteX1" fmla="*/ 1192823 w 1192823"/>
                  <a:gd name="connsiteY1" fmla="*/ 2217414 h 2217413"/>
                </a:gdLst>
                <a:ahLst/>
                <a:cxnLst>
                  <a:cxn ang="0">
                    <a:pos x="connsiteX0" y="connsiteY0"/>
                  </a:cxn>
                  <a:cxn ang="0">
                    <a:pos x="connsiteX1" y="connsiteY1"/>
                  </a:cxn>
                </a:cxnLst>
                <a:rect l="l" t="t" r="r" b="b"/>
                <a:pathLst>
                  <a:path w="1192823" h="2217413">
                    <a:moveTo>
                      <a:pt x="0" y="0"/>
                    </a:moveTo>
                    <a:lnTo>
                      <a:pt x="1192823" y="2217414"/>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09" name="Freeform: Shape 108">
                <a:extLst>
                  <a:ext uri="{FF2B5EF4-FFF2-40B4-BE49-F238E27FC236}">
                    <a16:creationId xmlns:a16="http://schemas.microsoft.com/office/drawing/2014/main" id="{91CB40A4-2409-131A-F53C-557F1C6440C3}"/>
                  </a:ext>
                </a:extLst>
              </p:cNvPr>
              <p:cNvSpPr/>
              <p:nvPr/>
            </p:nvSpPr>
            <p:spPr>
              <a:xfrm>
                <a:off x="30004646" y="10961209"/>
                <a:ext cx="374168" cy="3046300"/>
              </a:xfrm>
              <a:custGeom>
                <a:avLst/>
                <a:gdLst>
                  <a:gd name="connsiteX0" fmla="*/ 0 w 1762792"/>
                  <a:gd name="connsiteY0" fmla="*/ 2185017 h 2185016"/>
                  <a:gd name="connsiteX1" fmla="*/ 1762793 w 1762792"/>
                  <a:gd name="connsiteY1" fmla="*/ 0 h 2185016"/>
                </a:gdLst>
                <a:ahLst/>
                <a:cxnLst>
                  <a:cxn ang="0">
                    <a:pos x="connsiteX0" y="connsiteY0"/>
                  </a:cxn>
                  <a:cxn ang="0">
                    <a:pos x="connsiteX1" y="connsiteY1"/>
                  </a:cxn>
                </a:cxnLst>
                <a:rect l="l" t="t" r="r" b="b"/>
                <a:pathLst>
                  <a:path w="1762792" h="2185016">
                    <a:moveTo>
                      <a:pt x="0" y="2185017"/>
                    </a:moveTo>
                    <a:lnTo>
                      <a:pt x="1762793"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0" name="Freeform: Shape 109">
                <a:extLst>
                  <a:ext uri="{FF2B5EF4-FFF2-40B4-BE49-F238E27FC236}">
                    <a16:creationId xmlns:a16="http://schemas.microsoft.com/office/drawing/2014/main" id="{670E0376-9F65-58A8-F237-81B7F5AA751D}"/>
                  </a:ext>
                </a:extLst>
              </p:cNvPr>
              <p:cNvSpPr/>
              <p:nvPr/>
            </p:nvSpPr>
            <p:spPr>
              <a:xfrm>
                <a:off x="30004645" y="14007510"/>
                <a:ext cx="3168819" cy="39592"/>
              </a:xfrm>
              <a:custGeom>
                <a:avLst/>
                <a:gdLst>
                  <a:gd name="connsiteX0" fmla="*/ 0 w 2955615"/>
                  <a:gd name="connsiteY0" fmla="*/ 0 h 32397"/>
                  <a:gd name="connsiteX1" fmla="*/ 2955616 w 2955615"/>
                  <a:gd name="connsiteY1" fmla="*/ 32397 h 32397"/>
                </a:gdLst>
                <a:ahLst/>
                <a:cxnLst>
                  <a:cxn ang="0">
                    <a:pos x="connsiteX0" y="connsiteY0"/>
                  </a:cxn>
                  <a:cxn ang="0">
                    <a:pos x="connsiteX1" y="connsiteY1"/>
                  </a:cxn>
                </a:cxnLst>
                <a:rect l="l" t="t" r="r" b="b"/>
                <a:pathLst>
                  <a:path w="2955615" h="32397">
                    <a:moveTo>
                      <a:pt x="0" y="0"/>
                    </a:moveTo>
                    <a:lnTo>
                      <a:pt x="2955616" y="32397"/>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1" name="Freeform: Shape 110">
                <a:extLst>
                  <a:ext uri="{FF2B5EF4-FFF2-40B4-BE49-F238E27FC236}">
                    <a16:creationId xmlns:a16="http://schemas.microsoft.com/office/drawing/2014/main" id="{9D13D28C-3E91-F208-48F1-50F4233DDE71}"/>
                  </a:ext>
                </a:extLst>
              </p:cNvPr>
              <p:cNvSpPr/>
              <p:nvPr/>
            </p:nvSpPr>
            <p:spPr>
              <a:xfrm flipH="1">
                <a:off x="30391111" y="7134121"/>
                <a:ext cx="197436" cy="3820720"/>
              </a:xfrm>
              <a:custGeom>
                <a:avLst/>
                <a:gdLst>
                  <a:gd name="connsiteX0" fmla="*/ 1227491 w 1227491"/>
                  <a:gd name="connsiteY0" fmla="*/ 3029809 h 3029808"/>
                  <a:gd name="connsiteX1" fmla="*/ 0 w 1227491"/>
                  <a:gd name="connsiteY1" fmla="*/ 0 h 3029808"/>
                </a:gdLst>
                <a:ahLst/>
                <a:cxnLst>
                  <a:cxn ang="0">
                    <a:pos x="connsiteX0" y="connsiteY0"/>
                  </a:cxn>
                  <a:cxn ang="0">
                    <a:pos x="connsiteX1" y="connsiteY1"/>
                  </a:cxn>
                </a:cxnLst>
                <a:rect l="l" t="t" r="r" b="b"/>
                <a:pathLst>
                  <a:path w="1227491" h="3029808">
                    <a:moveTo>
                      <a:pt x="1227491" y="3029809"/>
                    </a:moveTo>
                    <a:lnTo>
                      <a:pt x="0" y="0"/>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2" name="Freeform: Shape 111">
                <a:extLst>
                  <a:ext uri="{FF2B5EF4-FFF2-40B4-BE49-F238E27FC236}">
                    <a16:creationId xmlns:a16="http://schemas.microsoft.com/office/drawing/2014/main" id="{0213B7C0-F751-ED09-53EA-7D2120184378}"/>
                  </a:ext>
                </a:extLst>
              </p:cNvPr>
              <p:cNvSpPr/>
              <p:nvPr/>
            </p:nvSpPr>
            <p:spPr>
              <a:xfrm flipV="1">
                <a:off x="30600169" y="7127752"/>
                <a:ext cx="5043463" cy="174465"/>
              </a:xfrm>
              <a:custGeom>
                <a:avLst/>
                <a:gdLst>
                  <a:gd name="connsiteX0" fmla="*/ 0 w 4724284"/>
                  <a:gd name="connsiteY0" fmla="*/ 271872 h 271871"/>
                  <a:gd name="connsiteX1" fmla="*/ 4724285 w 4724284"/>
                  <a:gd name="connsiteY1" fmla="*/ 0 h 271871"/>
                </a:gdLst>
                <a:ahLst/>
                <a:cxnLst>
                  <a:cxn ang="0">
                    <a:pos x="connsiteX0" y="connsiteY0"/>
                  </a:cxn>
                  <a:cxn ang="0">
                    <a:pos x="connsiteX1" y="connsiteY1"/>
                  </a:cxn>
                </a:cxnLst>
                <a:rect l="l" t="t" r="r" b="b"/>
                <a:pathLst>
                  <a:path w="4724284" h="271871">
                    <a:moveTo>
                      <a:pt x="0" y="271872"/>
                    </a:moveTo>
                    <a:lnTo>
                      <a:pt x="4724285"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3" name="Freeform: Shape 112">
                <a:extLst>
                  <a:ext uri="{FF2B5EF4-FFF2-40B4-BE49-F238E27FC236}">
                    <a16:creationId xmlns:a16="http://schemas.microsoft.com/office/drawing/2014/main" id="{33E0BB1F-5A66-3D89-568B-E835ECA2D364}"/>
                  </a:ext>
                </a:extLst>
              </p:cNvPr>
              <p:cNvSpPr/>
              <p:nvPr/>
            </p:nvSpPr>
            <p:spPr>
              <a:xfrm>
                <a:off x="33002529" y="7302217"/>
                <a:ext cx="2641102" cy="1591580"/>
              </a:xfrm>
              <a:custGeom>
                <a:avLst/>
                <a:gdLst>
                  <a:gd name="connsiteX0" fmla="*/ 2463405 w 2463404"/>
                  <a:gd name="connsiteY0" fmla="*/ 0 h 1302332"/>
                  <a:gd name="connsiteX1" fmla="*/ 0 w 2463404"/>
                  <a:gd name="connsiteY1" fmla="*/ 1302333 h 1302332"/>
                </a:gdLst>
                <a:ahLst/>
                <a:cxnLst>
                  <a:cxn ang="0">
                    <a:pos x="connsiteX0" y="connsiteY0"/>
                  </a:cxn>
                  <a:cxn ang="0">
                    <a:pos x="connsiteX1" y="connsiteY1"/>
                  </a:cxn>
                </a:cxnLst>
                <a:rect l="l" t="t" r="r" b="b"/>
                <a:pathLst>
                  <a:path w="2463404" h="1302332">
                    <a:moveTo>
                      <a:pt x="2463405" y="0"/>
                    </a:moveTo>
                    <a:lnTo>
                      <a:pt x="0" y="130233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4" name="Freeform: Shape 113">
                <a:extLst>
                  <a:ext uri="{FF2B5EF4-FFF2-40B4-BE49-F238E27FC236}">
                    <a16:creationId xmlns:a16="http://schemas.microsoft.com/office/drawing/2014/main" id="{58A0376D-7C98-496D-BF75-909B49E5AC9B}"/>
                  </a:ext>
                </a:extLst>
              </p:cNvPr>
              <p:cNvSpPr/>
              <p:nvPr/>
            </p:nvSpPr>
            <p:spPr>
              <a:xfrm>
                <a:off x="30578560" y="7127751"/>
                <a:ext cx="2423969" cy="1766046"/>
              </a:xfrm>
              <a:custGeom>
                <a:avLst/>
                <a:gdLst>
                  <a:gd name="connsiteX0" fmla="*/ 0 w 2260879"/>
                  <a:gd name="connsiteY0" fmla="*/ 0 h 1030460"/>
                  <a:gd name="connsiteX1" fmla="*/ 2260880 w 2260879"/>
                  <a:gd name="connsiteY1" fmla="*/ 1030461 h 1030460"/>
                </a:gdLst>
                <a:ahLst/>
                <a:cxnLst>
                  <a:cxn ang="0">
                    <a:pos x="connsiteX0" y="connsiteY0"/>
                  </a:cxn>
                  <a:cxn ang="0">
                    <a:pos x="connsiteX1" y="connsiteY1"/>
                  </a:cxn>
                </a:cxnLst>
                <a:rect l="l" t="t" r="r" b="b"/>
                <a:pathLst>
                  <a:path w="2260879" h="1030460">
                    <a:moveTo>
                      <a:pt x="0" y="0"/>
                    </a:moveTo>
                    <a:lnTo>
                      <a:pt x="2260880" y="103046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5" name="Freeform: Shape 114">
                <a:extLst>
                  <a:ext uri="{FF2B5EF4-FFF2-40B4-BE49-F238E27FC236}">
                    <a16:creationId xmlns:a16="http://schemas.microsoft.com/office/drawing/2014/main" id="{A9788B86-073D-B034-8CAF-456C6ADB444F}"/>
                  </a:ext>
                </a:extLst>
              </p:cNvPr>
              <p:cNvSpPr/>
              <p:nvPr/>
            </p:nvSpPr>
            <p:spPr>
              <a:xfrm>
                <a:off x="33002529" y="8893798"/>
                <a:ext cx="1992850" cy="2493414"/>
              </a:xfrm>
              <a:custGeom>
                <a:avLst/>
                <a:gdLst>
                  <a:gd name="connsiteX0" fmla="*/ 0 w 1858767"/>
                  <a:gd name="connsiteY0" fmla="*/ 0 h 2040270"/>
                  <a:gd name="connsiteX1" fmla="*/ 1858767 w 1858767"/>
                  <a:gd name="connsiteY1" fmla="*/ 2040271 h 2040270"/>
                </a:gdLst>
                <a:ahLst/>
                <a:cxnLst>
                  <a:cxn ang="0">
                    <a:pos x="connsiteX0" y="connsiteY0"/>
                  </a:cxn>
                  <a:cxn ang="0">
                    <a:pos x="connsiteX1" y="connsiteY1"/>
                  </a:cxn>
                </a:cxnLst>
                <a:rect l="l" t="t" r="r" b="b"/>
                <a:pathLst>
                  <a:path w="1858767" h="2040270">
                    <a:moveTo>
                      <a:pt x="0" y="0"/>
                    </a:moveTo>
                    <a:lnTo>
                      <a:pt x="1858767" y="204027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6" name="Freeform: Shape 115">
                <a:extLst>
                  <a:ext uri="{FF2B5EF4-FFF2-40B4-BE49-F238E27FC236}">
                    <a16:creationId xmlns:a16="http://schemas.microsoft.com/office/drawing/2014/main" id="{2B1E5767-F709-6D3F-B8DA-EE39AC2E14B6}"/>
                  </a:ext>
                </a:extLst>
              </p:cNvPr>
              <p:cNvSpPr/>
              <p:nvPr/>
            </p:nvSpPr>
            <p:spPr>
              <a:xfrm>
                <a:off x="30388728" y="8893798"/>
                <a:ext cx="2613802" cy="2067413"/>
              </a:xfrm>
              <a:custGeom>
                <a:avLst/>
                <a:gdLst>
                  <a:gd name="connsiteX0" fmla="*/ 1033388 w 1033388"/>
                  <a:gd name="connsiteY0" fmla="*/ 0 h 1999347"/>
                  <a:gd name="connsiteX1" fmla="*/ 0 w 1033388"/>
                  <a:gd name="connsiteY1" fmla="*/ 1999348 h 1999347"/>
                </a:gdLst>
                <a:ahLst/>
                <a:cxnLst>
                  <a:cxn ang="0">
                    <a:pos x="connsiteX0" y="connsiteY0"/>
                  </a:cxn>
                  <a:cxn ang="0">
                    <a:pos x="connsiteX1" y="connsiteY1"/>
                  </a:cxn>
                </a:cxnLst>
                <a:rect l="l" t="t" r="r" b="b"/>
                <a:pathLst>
                  <a:path w="1033388" h="1999347">
                    <a:moveTo>
                      <a:pt x="1033388" y="0"/>
                    </a:moveTo>
                    <a:lnTo>
                      <a:pt x="0" y="1999348"/>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7" name="Freeform: Shape 116">
                <a:extLst>
                  <a:ext uri="{FF2B5EF4-FFF2-40B4-BE49-F238E27FC236}">
                    <a16:creationId xmlns:a16="http://schemas.microsoft.com/office/drawing/2014/main" id="{D077E1F0-8F18-9515-FE5F-8CA0D39B8066}"/>
                  </a:ext>
                </a:extLst>
              </p:cNvPr>
              <p:cNvSpPr/>
              <p:nvPr/>
            </p:nvSpPr>
            <p:spPr>
              <a:xfrm>
                <a:off x="33173465" y="11387213"/>
                <a:ext cx="1821914" cy="2659889"/>
              </a:xfrm>
              <a:custGeom>
                <a:avLst/>
                <a:gdLst>
                  <a:gd name="connsiteX0" fmla="*/ 1699332 w 1699332"/>
                  <a:gd name="connsiteY0" fmla="*/ 0 h 2176490"/>
                  <a:gd name="connsiteX1" fmla="*/ 0 w 1699332"/>
                  <a:gd name="connsiteY1" fmla="*/ 2176491 h 2176490"/>
                </a:gdLst>
                <a:ahLst/>
                <a:cxnLst>
                  <a:cxn ang="0">
                    <a:pos x="connsiteX0" y="connsiteY0"/>
                  </a:cxn>
                  <a:cxn ang="0">
                    <a:pos x="connsiteX1" y="connsiteY1"/>
                  </a:cxn>
                </a:cxnLst>
                <a:rect l="l" t="t" r="r" b="b"/>
                <a:pathLst>
                  <a:path w="1699332" h="2176490">
                    <a:moveTo>
                      <a:pt x="1699332" y="0"/>
                    </a:moveTo>
                    <a:lnTo>
                      <a:pt x="0" y="2176491"/>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Freeform: Shape 117">
                <a:extLst>
                  <a:ext uri="{FF2B5EF4-FFF2-40B4-BE49-F238E27FC236}">
                    <a16:creationId xmlns:a16="http://schemas.microsoft.com/office/drawing/2014/main" id="{9E5476B5-A720-9933-18DC-91C6651F52F5}"/>
                  </a:ext>
                </a:extLst>
              </p:cNvPr>
              <p:cNvSpPr/>
              <p:nvPr/>
            </p:nvSpPr>
            <p:spPr>
              <a:xfrm>
                <a:off x="34995379" y="11387213"/>
                <a:ext cx="1456811" cy="2235399"/>
              </a:xfrm>
              <a:custGeom>
                <a:avLst/>
                <a:gdLst>
                  <a:gd name="connsiteX0" fmla="*/ 0 w 943485"/>
                  <a:gd name="connsiteY0" fmla="*/ 0 h 2305132"/>
                  <a:gd name="connsiteX1" fmla="*/ 943486 w 943485"/>
                  <a:gd name="connsiteY1" fmla="*/ 2305133 h 2305132"/>
                </a:gdLst>
                <a:ahLst/>
                <a:cxnLst>
                  <a:cxn ang="0">
                    <a:pos x="connsiteX0" y="connsiteY0"/>
                  </a:cxn>
                  <a:cxn ang="0">
                    <a:pos x="connsiteX1" y="connsiteY1"/>
                  </a:cxn>
                </a:cxnLst>
                <a:rect l="l" t="t" r="r" b="b"/>
                <a:pathLst>
                  <a:path w="943485" h="2305132">
                    <a:moveTo>
                      <a:pt x="0" y="0"/>
                    </a:moveTo>
                    <a:lnTo>
                      <a:pt x="943486" y="230513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Shape 118">
                <a:extLst>
                  <a:ext uri="{FF2B5EF4-FFF2-40B4-BE49-F238E27FC236}">
                    <a16:creationId xmlns:a16="http://schemas.microsoft.com/office/drawing/2014/main" id="{0698B57B-A43F-89EA-7404-98D13AA8C9E2}"/>
                  </a:ext>
                </a:extLst>
              </p:cNvPr>
              <p:cNvSpPr/>
              <p:nvPr/>
            </p:nvSpPr>
            <p:spPr>
              <a:xfrm>
                <a:off x="34995380" y="10450945"/>
                <a:ext cx="3142263" cy="936268"/>
              </a:xfrm>
              <a:custGeom>
                <a:avLst/>
                <a:gdLst>
                  <a:gd name="connsiteX0" fmla="*/ 0 w 2841426"/>
                  <a:gd name="connsiteY0" fmla="*/ 171080 h 171080"/>
                  <a:gd name="connsiteX1" fmla="*/ 2841426 w 2841426"/>
                  <a:gd name="connsiteY1" fmla="*/ 0 h 171080"/>
                </a:gdLst>
                <a:ahLst/>
                <a:cxnLst>
                  <a:cxn ang="0">
                    <a:pos x="connsiteX0" y="connsiteY0"/>
                  </a:cxn>
                  <a:cxn ang="0">
                    <a:pos x="connsiteX1" y="connsiteY1"/>
                  </a:cxn>
                </a:cxnLst>
                <a:rect l="l" t="t" r="r" b="b"/>
                <a:pathLst>
                  <a:path w="2841426" h="171080">
                    <a:moveTo>
                      <a:pt x="0" y="171080"/>
                    </a:moveTo>
                    <a:lnTo>
                      <a:pt x="2841426" y="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Shape 119">
                <a:extLst>
                  <a:ext uri="{FF2B5EF4-FFF2-40B4-BE49-F238E27FC236}">
                    <a16:creationId xmlns:a16="http://schemas.microsoft.com/office/drawing/2014/main" id="{F4EF6F50-8CA6-7CCA-AC26-26BAFBC0AE8C}"/>
                  </a:ext>
                </a:extLst>
              </p:cNvPr>
              <p:cNvSpPr/>
              <p:nvPr/>
            </p:nvSpPr>
            <p:spPr>
              <a:xfrm>
                <a:off x="35643634" y="7302218"/>
                <a:ext cx="2494008" cy="3135278"/>
              </a:xfrm>
              <a:custGeom>
                <a:avLst/>
                <a:gdLst>
                  <a:gd name="connsiteX0" fmla="*/ 0 w 2236788"/>
                  <a:gd name="connsiteY0" fmla="*/ 0 h 3171522"/>
                  <a:gd name="connsiteX1" fmla="*/ 2236788 w 2236788"/>
                  <a:gd name="connsiteY1" fmla="*/ 3171523 h 3171522"/>
                </a:gdLst>
                <a:ahLst/>
                <a:cxnLst>
                  <a:cxn ang="0">
                    <a:pos x="connsiteX0" y="connsiteY0"/>
                  </a:cxn>
                  <a:cxn ang="0">
                    <a:pos x="connsiteX1" y="connsiteY1"/>
                  </a:cxn>
                </a:cxnLst>
                <a:rect l="l" t="t" r="r" b="b"/>
                <a:pathLst>
                  <a:path w="2236788" h="3171522">
                    <a:moveTo>
                      <a:pt x="0" y="0"/>
                    </a:moveTo>
                    <a:lnTo>
                      <a:pt x="2236788" y="317152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1" name="Freeform: Shape 120">
                <a:extLst>
                  <a:ext uri="{FF2B5EF4-FFF2-40B4-BE49-F238E27FC236}">
                    <a16:creationId xmlns:a16="http://schemas.microsoft.com/office/drawing/2014/main" id="{7D85A46E-6FEE-CDCE-A95E-C68E5C11B129}"/>
                  </a:ext>
                </a:extLst>
              </p:cNvPr>
              <p:cNvSpPr/>
              <p:nvPr/>
            </p:nvSpPr>
            <p:spPr>
              <a:xfrm>
                <a:off x="34995380" y="7302217"/>
                <a:ext cx="648253" cy="4084995"/>
              </a:xfrm>
              <a:custGeom>
                <a:avLst/>
                <a:gdLst>
                  <a:gd name="connsiteX0" fmla="*/ 604638 w 604637"/>
                  <a:gd name="connsiteY0" fmla="*/ 0 h 3342603"/>
                  <a:gd name="connsiteX1" fmla="*/ 0 w 604637"/>
                  <a:gd name="connsiteY1" fmla="*/ 3342603 h 3342603"/>
                </a:gdLst>
                <a:ahLst/>
                <a:cxnLst>
                  <a:cxn ang="0">
                    <a:pos x="connsiteX0" y="connsiteY0"/>
                  </a:cxn>
                  <a:cxn ang="0">
                    <a:pos x="connsiteX1" y="connsiteY1"/>
                  </a:cxn>
                </a:cxnLst>
                <a:rect l="l" t="t" r="r" b="b"/>
                <a:pathLst>
                  <a:path w="604637" h="3342603">
                    <a:moveTo>
                      <a:pt x="604638" y="0"/>
                    </a:moveTo>
                    <a:lnTo>
                      <a:pt x="0" y="3342603"/>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2" name="Freeform: Shape 121">
                <a:extLst>
                  <a:ext uri="{FF2B5EF4-FFF2-40B4-BE49-F238E27FC236}">
                    <a16:creationId xmlns:a16="http://schemas.microsoft.com/office/drawing/2014/main" id="{5763DFCB-CE11-38CD-6D96-942A4CB2A022}"/>
                  </a:ext>
                </a:extLst>
              </p:cNvPr>
              <p:cNvSpPr/>
              <p:nvPr/>
            </p:nvSpPr>
            <p:spPr>
              <a:xfrm>
                <a:off x="33002529" y="8893799"/>
                <a:ext cx="5135120" cy="1557146"/>
              </a:xfrm>
              <a:custGeom>
                <a:avLst/>
                <a:gdLst>
                  <a:gd name="connsiteX0" fmla="*/ 0 w 4700193"/>
                  <a:gd name="connsiteY0" fmla="*/ 0 h 1869190"/>
                  <a:gd name="connsiteX1" fmla="*/ 4700193 w 4700193"/>
                  <a:gd name="connsiteY1" fmla="*/ 1869190 h 1869190"/>
                </a:gdLst>
                <a:ahLst/>
                <a:cxnLst>
                  <a:cxn ang="0">
                    <a:pos x="connsiteX0" y="connsiteY0"/>
                  </a:cxn>
                  <a:cxn ang="0">
                    <a:pos x="connsiteX1" y="connsiteY1"/>
                  </a:cxn>
                </a:cxnLst>
                <a:rect l="l" t="t" r="r" b="b"/>
                <a:pathLst>
                  <a:path w="4700193" h="1869190">
                    <a:moveTo>
                      <a:pt x="0" y="0"/>
                    </a:moveTo>
                    <a:lnTo>
                      <a:pt x="4700193" y="1869190"/>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Shape 122">
                <a:extLst>
                  <a:ext uri="{FF2B5EF4-FFF2-40B4-BE49-F238E27FC236}">
                    <a16:creationId xmlns:a16="http://schemas.microsoft.com/office/drawing/2014/main" id="{E6DF0E4E-7D0D-7B85-4A45-42F5CEF47581}"/>
                  </a:ext>
                </a:extLst>
              </p:cNvPr>
              <p:cNvSpPr/>
              <p:nvPr/>
            </p:nvSpPr>
            <p:spPr>
              <a:xfrm>
                <a:off x="30376853" y="10961211"/>
                <a:ext cx="4618527" cy="482093"/>
              </a:xfrm>
              <a:custGeom>
                <a:avLst/>
                <a:gdLst>
                  <a:gd name="connsiteX0" fmla="*/ 0 w 2892155"/>
                  <a:gd name="connsiteY0" fmla="*/ 0 h 40922"/>
                  <a:gd name="connsiteX1" fmla="*/ 2892155 w 2892155"/>
                  <a:gd name="connsiteY1" fmla="*/ 40923 h 40922"/>
                </a:gdLst>
                <a:ahLst/>
                <a:cxnLst>
                  <a:cxn ang="0">
                    <a:pos x="connsiteX0" y="connsiteY0"/>
                  </a:cxn>
                  <a:cxn ang="0">
                    <a:pos x="connsiteX1" y="connsiteY1"/>
                  </a:cxn>
                </a:cxnLst>
                <a:rect l="l" t="t" r="r" b="b"/>
                <a:pathLst>
                  <a:path w="2892155" h="40922">
                    <a:moveTo>
                      <a:pt x="0" y="0"/>
                    </a:moveTo>
                    <a:lnTo>
                      <a:pt x="2892155" y="40923"/>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Shape 123">
                <a:extLst>
                  <a:ext uri="{FF2B5EF4-FFF2-40B4-BE49-F238E27FC236}">
                    <a16:creationId xmlns:a16="http://schemas.microsoft.com/office/drawing/2014/main" id="{56701E98-A48F-88BB-E4B2-7A3A94D991DB}"/>
                  </a:ext>
                </a:extLst>
              </p:cNvPr>
              <p:cNvSpPr/>
              <p:nvPr/>
            </p:nvSpPr>
            <p:spPr>
              <a:xfrm>
                <a:off x="33002529" y="8893798"/>
                <a:ext cx="170935" cy="5153304"/>
              </a:xfrm>
              <a:custGeom>
                <a:avLst/>
                <a:gdLst>
                  <a:gd name="connsiteX0" fmla="*/ 0 w 159434"/>
                  <a:gd name="connsiteY0" fmla="*/ 0 h 4216761"/>
                  <a:gd name="connsiteX1" fmla="*/ 159435 w 159434"/>
                  <a:gd name="connsiteY1" fmla="*/ 4216762 h 4216761"/>
                </a:gdLst>
                <a:ahLst/>
                <a:cxnLst>
                  <a:cxn ang="0">
                    <a:pos x="connsiteX0" y="connsiteY0"/>
                  </a:cxn>
                  <a:cxn ang="0">
                    <a:pos x="connsiteX1" y="connsiteY1"/>
                  </a:cxn>
                </a:cxnLst>
                <a:rect l="l" t="t" r="r" b="b"/>
                <a:pathLst>
                  <a:path w="159434" h="4216761">
                    <a:moveTo>
                      <a:pt x="0" y="0"/>
                    </a:moveTo>
                    <a:lnTo>
                      <a:pt x="159435" y="4216762"/>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5" name="Freeform: Shape 124">
                <a:extLst>
                  <a:ext uri="{FF2B5EF4-FFF2-40B4-BE49-F238E27FC236}">
                    <a16:creationId xmlns:a16="http://schemas.microsoft.com/office/drawing/2014/main" id="{2CC92597-7680-5515-624E-EECA566BEECE}"/>
                  </a:ext>
                </a:extLst>
              </p:cNvPr>
              <p:cNvSpPr/>
              <p:nvPr/>
            </p:nvSpPr>
            <p:spPr>
              <a:xfrm>
                <a:off x="36452194" y="10450945"/>
                <a:ext cx="1685447" cy="3165222"/>
              </a:xfrm>
              <a:custGeom>
                <a:avLst/>
                <a:gdLst>
                  <a:gd name="connsiteX0" fmla="*/ 1897940 w 1897940"/>
                  <a:gd name="connsiteY0" fmla="*/ 0 h 2476212"/>
                  <a:gd name="connsiteX1" fmla="*/ 0 w 1897940"/>
                  <a:gd name="connsiteY1" fmla="*/ 2476213 h 2476212"/>
                </a:gdLst>
                <a:ahLst/>
                <a:cxnLst>
                  <a:cxn ang="0">
                    <a:pos x="connsiteX0" y="connsiteY0"/>
                  </a:cxn>
                  <a:cxn ang="0">
                    <a:pos x="connsiteX1" y="connsiteY1"/>
                  </a:cxn>
                </a:cxnLst>
                <a:rect l="l" t="t" r="r" b="b"/>
                <a:pathLst>
                  <a:path w="1897940" h="2476212">
                    <a:moveTo>
                      <a:pt x="1897940" y="0"/>
                    </a:moveTo>
                    <a:lnTo>
                      <a:pt x="0" y="2476213"/>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Shape 125">
                <a:extLst>
                  <a:ext uri="{FF2B5EF4-FFF2-40B4-BE49-F238E27FC236}">
                    <a16:creationId xmlns:a16="http://schemas.microsoft.com/office/drawing/2014/main" id="{6DB7040F-D557-F100-C0DB-5940B05F2435}"/>
                  </a:ext>
                </a:extLst>
              </p:cNvPr>
              <p:cNvSpPr/>
              <p:nvPr/>
            </p:nvSpPr>
            <p:spPr>
              <a:xfrm flipV="1">
                <a:off x="33173464" y="13622612"/>
                <a:ext cx="3278721" cy="424490"/>
              </a:xfrm>
              <a:custGeom>
                <a:avLst/>
                <a:gdLst>
                  <a:gd name="connsiteX0" fmla="*/ 0 w 2642818"/>
                  <a:gd name="connsiteY0" fmla="*/ 0 h 128641"/>
                  <a:gd name="connsiteX1" fmla="*/ 2642818 w 2642818"/>
                  <a:gd name="connsiteY1" fmla="*/ 128642 h 128641"/>
                </a:gdLst>
                <a:ahLst/>
                <a:cxnLst>
                  <a:cxn ang="0">
                    <a:pos x="connsiteX0" y="connsiteY0"/>
                  </a:cxn>
                  <a:cxn ang="0">
                    <a:pos x="connsiteX1" y="connsiteY1"/>
                  </a:cxn>
                </a:cxnLst>
                <a:rect l="l" t="t" r="r" b="b"/>
                <a:pathLst>
                  <a:path w="2642818" h="128641">
                    <a:moveTo>
                      <a:pt x="0" y="0"/>
                    </a:moveTo>
                    <a:lnTo>
                      <a:pt x="2642818" y="128642"/>
                    </a:lnTo>
                  </a:path>
                </a:pathLst>
              </a:custGeom>
              <a:ln w="25400" cap="flat">
                <a:solidFill>
                  <a:srgbClr val="454142"/>
                </a:solidFill>
                <a:prstDash val="solid"/>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Shape 126">
                <a:extLst>
                  <a:ext uri="{FF2B5EF4-FFF2-40B4-BE49-F238E27FC236}">
                    <a16:creationId xmlns:a16="http://schemas.microsoft.com/office/drawing/2014/main" id="{5CA0C504-8AF1-3DB8-E250-F2712F30D0B2}"/>
                  </a:ext>
                </a:extLst>
              </p:cNvPr>
              <p:cNvSpPr/>
              <p:nvPr/>
            </p:nvSpPr>
            <p:spPr>
              <a:xfrm>
                <a:off x="35643633" y="7302218"/>
                <a:ext cx="808560" cy="6313945"/>
              </a:xfrm>
              <a:custGeom>
                <a:avLst/>
                <a:gdLst>
                  <a:gd name="connsiteX0" fmla="*/ 0 w 338847"/>
                  <a:gd name="connsiteY0" fmla="*/ 0 h 5647735"/>
                  <a:gd name="connsiteX1" fmla="*/ 338848 w 338847"/>
                  <a:gd name="connsiteY1" fmla="*/ 5647736 h 5647735"/>
                </a:gdLst>
                <a:ahLst/>
                <a:cxnLst>
                  <a:cxn ang="0">
                    <a:pos x="connsiteX0" y="connsiteY0"/>
                  </a:cxn>
                  <a:cxn ang="0">
                    <a:pos x="connsiteX1" y="connsiteY1"/>
                  </a:cxn>
                </a:cxnLst>
                <a:rect l="l" t="t" r="r" b="b"/>
                <a:pathLst>
                  <a:path w="338847" h="5647735">
                    <a:moveTo>
                      <a:pt x="0" y="0"/>
                    </a:moveTo>
                    <a:lnTo>
                      <a:pt x="338848" y="5647736"/>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Shape 127">
                <a:extLst>
                  <a:ext uri="{FF2B5EF4-FFF2-40B4-BE49-F238E27FC236}">
                    <a16:creationId xmlns:a16="http://schemas.microsoft.com/office/drawing/2014/main" id="{D9F00989-5D27-8669-AE9F-A78A19209553}"/>
                  </a:ext>
                </a:extLst>
              </p:cNvPr>
              <p:cNvSpPr/>
              <p:nvPr/>
            </p:nvSpPr>
            <p:spPr>
              <a:xfrm>
                <a:off x="33173465" y="10437494"/>
                <a:ext cx="4964177" cy="3609607"/>
              </a:xfrm>
              <a:custGeom>
                <a:avLst/>
                <a:gdLst>
                  <a:gd name="connsiteX0" fmla="*/ 4540758 w 4540758"/>
                  <a:gd name="connsiteY0" fmla="*/ 0 h 2347571"/>
                  <a:gd name="connsiteX1" fmla="*/ 0 w 4540758"/>
                  <a:gd name="connsiteY1" fmla="*/ 2347571 h 2347571"/>
                </a:gdLst>
                <a:ahLst/>
                <a:cxnLst>
                  <a:cxn ang="0">
                    <a:pos x="connsiteX0" y="connsiteY0"/>
                  </a:cxn>
                  <a:cxn ang="0">
                    <a:pos x="connsiteX1" y="connsiteY1"/>
                  </a:cxn>
                </a:cxnLst>
                <a:rect l="l" t="t" r="r" b="b"/>
                <a:pathLst>
                  <a:path w="4540758" h="2347571">
                    <a:moveTo>
                      <a:pt x="4540758" y="0"/>
                    </a:moveTo>
                    <a:lnTo>
                      <a:pt x="0" y="2347571"/>
                    </a:lnTo>
                  </a:path>
                </a:pathLst>
              </a:custGeom>
              <a:ln w="25400" cap="flat">
                <a:solidFill>
                  <a:srgbClr val="454142">
                    <a:alpha val="50000"/>
                  </a:srgbClr>
                </a:solidFill>
                <a:prstDash val="dash"/>
                <a:miter/>
              </a:ln>
            </p:spPr>
            <p:txBody>
              <a:bodyPr rot="0" spcFirstLastPara="0" vertOverflow="overflow" horzOverflow="overflow" vert="horz" wrap="square" lIns="21771" tIns="10886" rIns="21771" bIns="10886" numCol="1" spcCol="0" rtlCol="0" fromWordArt="0" anchor="ctr" anchorCtr="0" forceAA="0" compatLnSpc="1">
                <a:prstTxWarp prst="textNoShape">
                  <a:avLst/>
                </a:prstTxWarp>
                <a:noAutofit/>
              </a:bodyPr>
              <a:lstStyle/>
              <a:p>
                <a:pPr marL="0" marR="0" lvl="0" indent="0" algn="l" defTabSz="425359"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9" name="Freeform: Shape 28">
              <a:extLst>
                <a:ext uri="{FF2B5EF4-FFF2-40B4-BE49-F238E27FC236}">
                  <a16:creationId xmlns:a16="http://schemas.microsoft.com/office/drawing/2014/main" id="{63EE85C5-D840-4022-FDE9-BC3A2AE7C766}"/>
                </a:ext>
              </a:extLst>
            </p:cNvPr>
            <p:cNvSpPr>
              <a:spLocks noChangeAspect="1"/>
            </p:cNvSpPr>
            <p:nvPr/>
          </p:nvSpPr>
          <p:spPr bwMode="auto">
            <a:xfrm>
              <a:off x="7542380" y="1715589"/>
              <a:ext cx="3815159" cy="3248041"/>
            </a:xfrm>
            <a:custGeom>
              <a:avLst/>
              <a:gdLst>
                <a:gd name="connsiteX0" fmla="*/ 2632232 w 3815159"/>
                <a:gd name="connsiteY0" fmla="*/ 2841334 h 3248041"/>
                <a:gd name="connsiteX1" fmla="*/ 2632232 w 3815159"/>
                <a:gd name="connsiteY1" fmla="*/ 2841335 h 3248041"/>
                <a:gd name="connsiteX2" fmla="*/ 2632232 w 3815159"/>
                <a:gd name="connsiteY2" fmla="*/ 2841335 h 3248041"/>
                <a:gd name="connsiteX3" fmla="*/ 206931 w 3815159"/>
                <a:gd name="connsiteY3" fmla="*/ 2832728 h 3248041"/>
                <a:gd name="connsiteX4" fmla="*/ 358510 w 3815159"/>
                <a:gd name="connsiteY4" fmla="*/ 2984307 h 3248041"/>
                <a:gd name="connsiteX5" fmla="*/ 358509 w 3815159"/>
                <a:gd name="connsiteY5" fmla="*/ 2984307 h 3248041"/>
                <a:gd name="connsiteX6" fmla="*/ 206930 w 3815159"/>
                <a:gd name="connsiteY6" fmla="*/ 3135886 h 3248041"/>
                <a:gd name="connsiteX7" fmla="*/ 206931 w 3815159"/>
                <a:gd name="connsiteY7" fmla="*/ 3135885 h 3248041"/>
                <a:gd name="connsiteX8" fmla="*/ 67264 w 3815159"/>
                <a:gd name="connsiteY8" fmla="*/ 3043308 h 3248041"/>
                <a:gd name="connsiteX9" fmla="*/ 55352 w 3815159"/>
                <a:gd name="connsiteY9" fmla="*/ 2984307 h 3248041"/>
                <a:gd name="connsiteX10" fmla="*/ 67264 w 3815159"/>
                <a:gd name="connsiteY10" fmla="*/ 2925306 h 3248041"/>
                <a:gd name="connsiteX11" fmla="*/ 206931 w 3815159"/>
                <a:gd name="connsiteY11" fmla="*/ 2832728 h 3248041"/>
                <a:gd name="connsiteX12" fmla="*/ 1472456 w 3815159"/>
                <a:gd name="connsiteY12" fmla="*/ 2743995 h 3248041"/>
                <a:gd name="connsiteX13" fmla="*/ 1724479 w 3815159"/>
                <a:gd name="connsiteY13" fmla="*/ 2996018 h 3248041"/>
                <a:gd name="connsiteX14" fmla="*/ 1472456 w 3815159"/>
                <a:gd name="connsiteY14" fmla="*/ 3248041 h 3248041"/>
                <a:gd name="connsiteX15" fmla="*/ 1220433 w 3815159"/>
                <a:gd name="connsiteY15" fmla="*/ 2996018 h 3248041"/>
                <a:gd name="connsiteX16" fmla="*/ 1472456 w 3815159"/>
                <a:gd name="connsiteY16" fmla="*/ 2743995 h 3248041"/>
                <a:gd name="connsiteX17" fmla="*/ 2783811 w 3815159"/>
                <a:gd name="connsiteY17" fmla="*/ 2689756 h 3248041"/>
                <a:gd name="connsiteX18" fmla="*/ 2935390 w 3815159"/>
                <a:gd name="connsiteY18" fmla="*/ 2841335 h 3248041"/>
                <a:gd name="connsiteX19" fmla="*/ 2935389 w 3815159"/>
                <a:gd name="connsiteY19" fmla="*/ 2841335 h 3248041"/>
                <a:gd name="connsiteX20" fmla="*/ 2783810 w 3815159"/>
                <a:gd name="connsiteY20" fmla="*/ 2992914 h 3248041"/>
                <a:gd name="connsiteX21" fmla="*/ 2783811 w 3815159"/>
                <a:gd name="connsiteY21" fmla="*/ 2992913 h 3248041"/>
                <a:gd name="connsiteX22" fmla="*/ 2644144 w 3815159"/>
                <a:gd name="connsiteY22" fmla="*/ 2900336 h 3248041"/>
                <a:gd name="connsiteX23" fmla="*/ 2632232 w 3815159"/>
                <a:gd name="connsiteY23" fmla="*/ 2841335 h 3248041"/>
                <a:gd name="connsiteX24" fmla="*/ 2644144 w 3815159"/>
                <a:gd name="connsiteY24" fmla="*/ 2782334 h 3248041"/>
                <a:gd name="connsiteX25" fmla="*/ 2783811 w 3815159"/>
                <a:gd name="connsiteY25" fmla="*/ 2689756 h 3248041"/>
                <a:gd name="connsiteX26" fmla="*/ 2196830 w 3815159"/>
                <a:gd name="connsiteY26" fmla="*/ 1803322 h 3248041"/>
                <a:gd name="connsiteX27" fmla="*/ 2348409 w 3815159"/>
                <a:gd name="connsiteY27" fmla="*/ 1954901 h 3248041"/>
                <a:gd name="connsiteX28" fmla="*/ 2348408 w 3815159"/>
                <a:gd name="connsiteY28" fmla="*/ 1954901 h 3248041"/>
                <a:gd name="connsiteX29" fmla="*/ 2196829 w 3815159"/>
                <a:gd name="connsiteY29" fmla="*/ 2106480 h 3248041"/>
                <a:gd name="connsiteX30" fmla="*/ 2196830 w 3815159"/>
                <a:gd name="connsiteY30" fmla="*/ 2106479 h 3248041"/>
                <a:gd name="connsiteX31" fmla="*/ 2057163 w 3815159"/>
                <a:gd name="connsiteY31" fmla="*/ 2013902 h 3248041"/>
                <a:gd name="connsiteX32" fmla="*/ 2045251 w 3815159"/>
                <a:gd name="connsiteY32" fmla="*/ 1954901 h 3248041"/>
                <a:gd name="connsiteX33" fmla="*/ 2057163 w 3815159"/>
                <a:gd name="connsiteY33" fmla="*/ 1895900 h 3248041"/>
                <a:gd name="connsiteX34" fmla="*/ 2196830 w 3815159"/>
                <a:gd name="connsiteY34" fmla="*/ 1803322 h 3248041"/>
                <a:gd name="connsiteX35" fmla="*/ 358769 w 3815159"/>
                <a:gd name="connsiteY35" fmla="*/ 1420185 h 3248041"/>
                <a:gd name="connsiteX36" fmla="*/ 717538 w 3815159"/>
                <a:gd name="connsiteY36" fmla="*/ 1778954 h 3248041"/>
                <a:gd name="connsiteX37" fmla="*/ 358769 w 3815159"/>
                <a:gd name="connsiteY37" fmla="*/ 2137723 h 3248041"/>
                <a:gd name="connsiteX38" fmla="*/ 0 w 3815159"/>
                <a:gd name="connsiteY38" fmla="*/ 1778954 h 3248041"/>
                <a:gd name="connsiteX39" fmla="*/ 358769 w 3815159"/>
                <a:gd name="connsiteY39" fmla="*/ 1420185 h 3248041"/>
                <a:gd name="connsiteX40" fmla="*/ 3456390 w 3815159"/>
                <a:gd name="connsiteY40" fmla="*/ 1213536 h 3248041"/>
                <a:gd name="connsiteX41" fmla="*/ 3815159 w 3815159"/>
                <a:gd name="connsiteY41" fmla="*/ 1572305 h 3248041"/>
                <a:gd name="connsiteX42" fmla="*/ 3456390 w 3815159"/>
                <a:gd name="connsiteY42" fmla="*/ 1931074 h 3248041"/>
                <a:gd name="connsiteX43" fmla="*/ 3097621 w 3815159"/>
                <a:gd name="connsiteY43" fmla="*/ 1572305 h 3248041"/>
                <a:gd name="connsiteX44" fmla="*/ 3456390 w 3815159"/>
                <a:gd name="connsiteY44" fmla="*/ 1213536 h 3248041"/>
                <a:gd name="connsiteX45" fmla="*/ 1400448 w 3815159"/>
                <a:gd name="connsiteY45" fmla="*/ 805687 h 3248041"/>
                <a:gd name="connsiteX46" fmla="*/ 1552027 w 3815159"/>
                <a:gd name="connsiteY46" fmla="*/ 957266 h 3248041"/>
                <a:gd name="connsiteX47" fmla="*/ 1552026 w 3815159"/>
                <a:gd name="connsiteY47" fmla="*/ 957266 h 3248041"/>
                <a:gd name="connsiteX48" fmla="*/ 1400447 w 3815159"/>
                <a:gd name="connsiteY48" fmla="*/ 1108845 h 3248041"/>
                <a:gd name="connsiteX49" fmla="*/ 1400448 w 3815159"/>
                <a:gd name="connsiteY49" fmla="*/ 1108844 h 3248041"/>
                <a:gd name="connsiteX50" fmla="*/ 1260781 w 3815159"/>
                <a:gd name="connsiteY50" fmla="*/ 1016266 h 3248041"/>
                <a:gd name="connsiteX51" fmla="*/ 1248869 w 3815159"/>
                <a:gd name="connsiteY51" fmla="*/ 957265 h 3248041"/>
                <a:gd name="connsiteX52" fmla="*/ 1260781 w 3815159"/>
                <a:gd name="connsiteY52" fmla="*/ 898264 h 3248041"/>
                <a:gd name="connsiteX53" fmla="*/ 1400448 w 3815159"/>
                <a:gd name="connsiteY53" fmla="*/ 805687 h 3248041"/>
                <a:gd name="connsiteX54" fmla="*/ 2457244 w 3815159"/>
                <a:gd name="connsiteY54" fmla="*/ 146269 h 3248041"/>
                <a:gd name="connsiteX55" fmla="*/ 2709267 w 3815159"/>
                <a:gd name="connsiteY55" fmla="*/ 398292 h 3248041"/>
                <a:gd name="connsiteX56" fmla="*/ 2457244 w 3815159"/>
                <a:gd name="connsiteY56" fmla="*/ 650315 h 3248041"/>
                <a:gd name="connsiteX57" fmla="*/ 2205221 w 3815159"/>
                <a:gd name="connsiteY57" fmla="*/ 398292 h 3248041"/>
                <a:gd name="connsiteX58" fmla="*/ 2457244 w 3815159"/>
                <a:gd name="connsiteY58" fmla="*/ 146269 h 3248041"/>
                <a:gd name="connsiteX59" fmla="*/ 442108 w 3815159"/>
                <a:gd name="connsiteY59" fmla="*/ 0 h 3248041"/>
                <a:gd name="connsiteX60" fmla="*/ 694131 w 3815159"/>
                <a:gd name="connsiteY60" fmla="*/ 252023 h 3248041"/>
                <a:gd name="connsiteX61" fmla="*/ 442108 w 3815159"/>
                <a:gd name="connsiteY61" fmla="*/ 504046 h 3248041"/>
                <a:gd name="connsiteX62" fmla="*/ 190085 w 3815159"/>
                <a:gd name="connsiteY62" fmla="*/ 252023 h 3248041"/>
                <a:gd name="connsiteX63" fmla="*/ 442108 w 3815159"/>
                <a:gd name="connsiteY63" fmla="*/ 0 h 3248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815159" h="3248041">
                  <a:moveTo>
                    <a:pt x="2632232" y="2841334"/>
                  </a:moveTo>
                  <a:lnTo>
                    <a:pt x="2632232" y="2841335"/>
                  </a:lnTo>
                  <a:lnTo>
                    <a:pt x="2632232" y="2841335"/>
                  </a:lnTo>
                  <a:close/>
                  <a:moveTo>
                    <a:pt x="206931" y="2832728"/>
                  </a:moveTo>
                  <a:cubicBezTo>
                    <a:pt x="290646" y="2832728"/>
                    <a:pt x="358510" y="2900592"/>
                    <a:pt x="358510" y="2984307"/>
                  </a:cubicBezTo>
                  <a:lnTo>
                    <a:pt x="358509" y="2984307"/>
                  </a:lnTo>
                  <a:cubicBezTo>
                    <a:pt x="358509" y="3068022"/>
                    <a:pt x="290645" y="3135886"/>
                    <a:pt x="206930" y="3135886"/>
                  </a:cubicBezTo>
                  <a:lnTo>
                    <a:pt x="206931" y="3135885"/>
                  </a:lnTo>
                  <a:cubicBezTo>
                    <a:pt x="144145" y="3135885"/>
                    <a:pt x="90274" y="3097712"/>
                    <a:pt x="67264" y="3043308"/>
                  </a:cubicBezTo>
                  <a:lnTo>
                    <a:pt x="55352" y="2984307"/>
                  </a:lnTo>
                  <a:lnTo>
                    <a:pt x="67264" y="2925306"/>
                  </a:lnTo>
                  <a:cubicBezTo>
                    <a:pt x="90274" y="2870902"/>
                    <a:pt x="144145" y="2832728"/>
                    <a:pt x="206931" y="2832728"/>
                  </a:cubicBezTo>
                  <a:close/>
                  <a:moveTo>
                    <a:pt x="1472456" y="2743995"/>
                  </a:moveTo>
                  <a:cubicBezTo>
                    <a:pt x="1611644" y="2743995"/>
                    <a:pt x="1724479" y="2856830"/>
                    <a:pt x="1724479" y="2996018"/>
                  </a:cubicBezTo>
                  <a:cubicBezTo>
                    <a:pt x="1724479" y="3135206"/>
                    <a:pt x="1611644" y="3248041"/>
                    <a:pt x="1472456" y="3248041"/>
                  </a:cubicBezTo>
                  <a:cubicBezTo>
                    <a:pt x="1333268" y="3248041"/>
                    <a:pt x="1220433" y="3135206"/>
                    <a:pt x="1220433" y="2996018"/>
                  </a:cubicBezTo>
                  <a:cubicBezTo>
                    <a:pt x="1220433" y="2856830"/>
                    <a:pt x="1333268" y="2743995"/>
                    <a:pt x="1472456" y="2743995"/>
                  </a:cubicBezTo>
                  <a:close/>
                  <a:moveTo>
                    <a:pt x="2783811" y="2689756"/>
                  </a:moveTo>
                  <a:cubicBezTo>
                    <a:pt x="2867526" y="2689756"/>
                    <a:pt x="2935390" y="2757620"/>
                    <a:pt x="2935390" y="2841335"/>
                  </a:cubicBezTo>
                  <a:lnTo>
                    <a:pt x="2935389" y="2841335"/>
                  </a:lnTo>
                  <a:cubicBezTo>
                    <a:pt x="2935389" y="2925050"/>
                    <a:pt x="2867525" y="2992914"/>
                    <a:pt x="2783810" y="2992914"/>
                  </a:cubicBezTo>
                  <a:lnTo>
                    <a:pt x="2783811" y="2992913"/>
                  </a:lnTo>
                  <a:cubicBezTo>
                    <a:pt x="2721025" y="2992913"/>
                    <a:pt x="2667155" y="2954740"/>
                    <a:pt x="2644144" y="2900336"/>
                  </a:cubicBezTo>
                  <a:lnTo>
                    <a:pt x="2632232" y="2841335"/>
                  </a:lnTo>
                  <a:lnTo>
                    <a:pt x="2644144" y="2782334"/>
                  </a:lnTo>
                  <a:cubicBezTo>
                    <a:pt x="2667155" y="2727930"/>
                    <a:pt x="2721025" y="2689756"/>
                    <a:pt x="2783811" y="2689756"/>
                  </a:cubicBezTo>
                  <a:close/>
                  <a:moveTo>
                    <a:pt x="2196830" y="1803322"/>
                  </a:moveTo>
                  <a:cubicBezTo>
                    <a:pt x="2280545" y="1803322"/>
                    <a:pt x="2348409" y="1871186"/>
                    <a:pt x="2348409" y="1954901"/>
                  </a:cubicBezTo>
                  <a:lnTo>
                    <a:pt x="2348408" y="1954901"/>
                  </a:lnTo>
                  <a:cubicBezTo>
                    <a:pt x="2348408" y="2038616"/>
                    <a:pt x="2280544" y="2106480"/>
                    <a:pt x="2196829" y="2106480"/>
                  </a:cubicBezTo>
                  <a:lnTo>
                    <a:pt x="2196830" y="2106479"/>
                  </a:lnTo>
                  <a:cubicBezTo>
                    <a:pt x="2134044" y="2106479"/>
                    <a:pt x="2080174" y="2068306"/>
                    <a:pt x="2057163" y="2013902"/>
                  </a:cubicBezTo>
                  <a:lnTo>
                    <a:pt x="2045251" y="1954901"/>
                  </a:lnTo>
                  <a:lnTo>
                    <a:pt x="2057163" y="1895900"/>
                  </a:lnTo>
                  <a:cubicBezTo>
                    <a:pt x="2080174" y="1841496"/>
                    <a:pt x="2134044" y="1803322"/>
                    <a:pt x="2196830" y="1803322"/>
                  </a:cubicBezTo>
                  <a:close/>
                  <a:moveTo>
                    <a:pt x="358769" y="1420185"/>
                  </a:moveTo>
                  <a:cubicBezTo>
                    <a:pt x="556912" y="1420185"/>
                    <a:pt x="717538" y="1580811"/>
                    <a:pt x="717538" y="1778954"/>
                  </a:cubicBezTo>
                  <a:cubicBezTo>
                    <a:pt x="717538" y="1977097"/>
                    <a:pt x="556912" y="2137723"/>
                    <a:pt x="358769" y="2137723"/>
                  </a:cubicBezTo>
                  <a:cubicBezTo>
                    <a:pt x="160626" y="2137723"/>
                    <a:pt x="0" y="1977097"/>
                    <a:pt x="0" y="1778954"/>
                  </a:cubicBezTo>
                  <a:cubicBezTo>
                    <a:pt x="0" y="1580811"/>
                    <a:pt x="160626" y="1420185"/>
                    <a:pt x="358769" y="1420185"/>
                  </a:cubicBezTo>
                  <a:close/>
                  <a:moveTo>
                    <a:pt x="3456390" y="1213536"/>
                  </a:moveTo>
                  <a:cubicBezTo>
                    <a:pt x="3654533" y="1213536"/>
                    <a:pt x="3815159" y="1374162"/>
                    <a:pt x="3815159" y="1572305"/>
                  </a:cubicBezTo>
                  <a:cubicBezTo>
                    <a:pt x="3815159" y="1770448"/>
                    <a:pt x="3654533" y="1931074"/>
                    <a:pt x="3456390" y="1931074"/>
                  </a:cubicBezTo>
                  <a:cubicBezTo>
                    <a:pt x="3258247" y="1931074"/>
                    <a:pt x="3097621" y="1770448"/>
                    <a:pt x="3097621" y="1572305"/>
                  </a:cubicBezTo>
                  <a:cubicBezTo>
                    <a:pt x="3097621" y="1374162"/>
                    <a:pt x="3258247" y="1213536"/>
                    <a:pt x="3456390" y="1213536"/>
                  </a:cubicBezTo>
                  <a:close/>
                  <a:moveTo>
                    <a:pt x="1400448" y="805687"/>
                  </a:moveTo>
                  <a:cubicBezTo>
                    <a:pt x="1484163" y="805687"/>
                    <a:pt x="1552027" y="873551"/>
                    <a:pt x="1552027" y="957266"/>
                  </a:cubicBezTo>
                  <a:lnTo>
                    <a:pt x="1552026" y="957266"/>
                  </a:lnTo>
                  <a:cubicBezTo>
                    <a:pt x="1552026" y="1040981"/>
                    <a:pt x="1484162" y="1108845"/>
                    <a:pt x="1400447" y="1108845"/>
                  </a:cubicBezTo>
                  <a:lnTo>
                    <a:pt x="1400448" y="1108844"/>
                  </a:lnTo>
                  <a:cubicBezTo>
                    <a:pt x="1337662" y="1108844"/>
                    <a:pt x="1283792" y="1070670"/>
                    <a:pt x="1260781" y="1016266"/>
                  </a:cubicBezTo>
                  <a:lnTo>
                    <a:pt x="1248869" y="957265"/>
                  </a:lnTo>
                  <a:lnTo>
                    <a:pt x="1260781" y="898264"/>
                  </a:lnTo>
                  <a:cubicBezTo>
                    <a:pt x="1283792" y="843860"/>
                    <a:pt x="1337662" y="805687"/>
                    <a:pt x="1400448" y="805687"/>
                  </a:cubicBezTo>
                  <a:close/>
                  <a:moveTo>
                    <a:pt x="2457244" y="146269"/>
                  </a:moveTo>
                  <a:cubicBezTo>
                    <a:pt x="2596432" y="146269"/>
                    <a:pt x="2709267" y="259104"/>
                    <a:pt x="2709267" y="398292"/>
                  </a:cubicBezTo>
                  <a:cubicBezTo>
                    <a:pt x="2709267" y="537480"/>
                    <a:pt x="2596432" y="650315"/>
                    <a:pt x="2457244" y="650315"/>
                  </a:cubicBezTo>
                  <a:cubicBezTo>
                    <a:pt x="2318056" y="650315"/>
                    <a:pt x="2205221" y="537480"/>
                    <a:pt x="2205221" y="398292"/>
                  </a:cubicBezTo>
                  <a:cubicBezTo>
                    <a:pt x="2205221" y="259104"/>
                    <a:pt x="2318056" y="146269"/>
                    <a:pt x="2457244" y="146269"/>
                  </a:cubicBezTo>
                  <a:close/>
                  <a:moveTo>
                    <a:pt x="442108" y="0"/>
                  </a:moveTo>
                  <a:cubicBezTo>
                    <a:pt x="581296" y="0"/>
                    <a:pt x="694131" y="112835"/>
                    <a:pt x="694131" y="252023"/>
                  </a:cubicBezTo>
                  <a:cubicBezTo>
                    <a:pt x="694131" y="391211"/>
                    <a:pt x="581296" y="504046"/>
                    <a:pt x="442108" y="504046"/>
                  </a:cubicBezTo>
                  <a:cubicBezTo>
                    <a:pt x="302920" y="504046"/>
                    <a:pt x="190085" y="391211"/>
                    <a:pt x="190085" y="252023"/>
                  </a:cubicBezTo>
                  <a:cubicBezTo>
                    <a:pt x="190085" y="112835"/>
                    <a:pt x="302920" y="0"/>
                    <a:pt x="442108" y="0"/>
                  </a:cubicBezTo>
                  <a:close/>
                </a:path>
              </a:pathLst>
            </a:custGeom>
            <a:gradFill flip="none" rotWithShape="1">
              <a:gsLst>
                <a:gs pos="100000">
                  <a:srgbClr val="C73ECC"/>
                </a:gs>
                <a:gs pos="0">
                  <a:srgbClr val="0078D4"/>
                </a:gs>
              </a:gsLst>
              <a:lin ang="2700000" scaled="1"/>
              <a:tileRect/>
            </a:grad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4819" tIns="123855" rIns="154819" bIns="123855" numCol="1" spcCol="0" rtlCol="0" fromWordArt="0" anchor="t" anchorCtr="0" forceAA="0" compatLnSpc="1">
              <a:prstTxWarp prst="textNoShape">
                <a:avLst/>
              </a:prstTxWarp>
              <a:noAutofit/>
            </a:bodyPr>
            <a:lstStyle/>
            <a:p>
              <a:pPr marL="0" marR="0" lvl="0" indent="0" algn="l" defTabSz="789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noFill/>
                <a:effectLst/>
                <a:uLnTx/>
                <a:uFillTx/>
                <a:latin typeface="Segoe UI Variable Display Semib" pitchFamily="2" charset="0"/>
                <a:ea typeface="+mn-ea"/>
                <a:cs typeface="Segoe UI" pitchFamily="34" charset="0"/>
              </a:endParaRPr>
            </a:p>
          </p:txBody>
        </p:sp>
        <p:sp>
          <p:nvSpPr>
            <p:cNvPr id="131" name="Graphic 82">
              <a:extLst>
                <a:ext uri="{FF2B5EF4-FFF2-40B4-BE49-F238E27FC236}">
                  <a16:creationId xmlns:a16="http://schemas.microsoft.com/office/drawing/2014/main" id="{0696A57F-8C87-3705-61D8-3956BEDB25B7}"/>
                </a:ext>
              </a:extLst>
            </p:cNvPr>
            <p:cNvSpPr>
              <a:spLocks noChangeAspect="1"/>
            </p:cNvSpPr>
            <p:nvPr/>
          </p:nvSpPr>
          <p:spPr>
            <a:xfrm>
              <a:off x="10868581" y="3144384"/>
              <a:ext cx="260381" cy="281466"/>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34" name="Graphic 82">
              <a:extLst>
                <a:ext uri="{FF2B5EF4-FFF2-40B4-BE49-F238E27FC236}">
                  <a16:creationId xmlns:a16="http://schemas.microsoft.com/office/drawing/2014/main" id="{603777C9-039C-0B44-5415-B1A6AF46EA62}"/>
                </a:ext>
              </a:extLst>
            </p:cNvPr>
            <p:cNvSpPr>
              <a:spLocks noChangeAspect="1"/>
            </p:cNvSpPr>
            <p:nvPr/>
          </p:nvSpPr>
          <p:spPr>
            <a:xfrm>
              <a:off x="7770958" y="3351032"/>
              <a:ext cx="260381" cy="281466"/>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37" name="Graphic 82">
              <a:extLst>
                <a:ext uri="{FF2B5EF4-FFF2-40B4-BE49-F238E27FC236}">
                  <a16:creationId xmlns:a16="http://schemas.microsoft.com/office/drawing/2014/main" id="{BC827827-8472-4CDD-F621-B84B4EED67A1}"/>
                </a:ext>
              </a:extLst>
            </p:cNvPr>
            <p:cNvSpPr>
              <a:spLocks noChangeAspect="1"/>
            </p:cNvSpPr>
            <p:nvPr/>
          </p:nvSpPr>
          <p:spPr>
            <a:xfrm>
              <a:off x="9908170" y="2013069"/>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0" name="Graphic 82">
              <a:extLst>
                <a:ext uri="{FF2B5EF4-FFF2-40B4-BE49-F238E27FC236}">
                  <a16:creationId xmlns:a16="http://schemas.microsoft.com/office/drawing/2014/main" id="{45F52CFB-1125-9454-92BF-A5505754B095}"/>
                </a:ext>
              </a:extLst>
            </p:cNvPr>
            <p:cNvSpPr>
              <a:spLocks noChangeAspect="1"/>
            </p:cNvSpPr>
            <p:nvPr/>
          </p:nvSpPr>
          <p:spPr>
            <a:xfrm>
              <a:off x="7893034" y="1866800"/>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3" name="Graphic 82">
              <a:extLst>
                <a:ext uri="{FF2B5EF4-FFF2-40B4-BE49-F238E27FC236}">
                  <a16:creationId xmlns:a16="http://schemas.microsoft.com/office/drawing/2014/main" id="{2904F0BA-2F69-CFE9-2DBE-19F87990392D}"/>
                </a:ext>
              </a:extLst>
            </p:cNvPr>
            <p:cNvSpPr>
              <a:spLocks noChangeAspect="1"/>
            </p:cNvSpPr>
            <p:nvPr/>
          </p:nvSpPr>
          <p:spPr>
            <a:xfrm>
              <a:off x="8923382" y="4610796"/>
              <a:ext cx="182909" cy="197721"/>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6" name="Graphic 82">
              <a:extLst>
                <a:ext uri="{FF2B5EF4-FFF2-40B4-BE49-F238E27FC236}">
                  <a16:creationId xmlns:a16="http://schemas.microsoft.com/office/drawing/2014/main" id="{313A4343-80E4-907C-BC36-E8276042B061}"/>
                </a:ext>
              </a:extLst>
            </p:cNvPr>
            <p:cNvSpPr>
              <a:spLocks noChangeAspect="1"/>
            </p:cNvSpPr>
            <p:nvPr/>
          </p:nvSpPr>
          <p:spPr>
            <a:xfrm>
              <a:off x="9684205" y="3609858"/>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49" name="Graphic 82">
              <a:extLst>
                <a:ext uri="{FF2B5EF4-FFF2-40B4-BE49-F238E27FC236}">
                  <a16:creationId xmlns:a16="http://schemas.microsoft.com/office/drawing/2014/main" id="{2F07590D-0B6F-65B7-9CE0-FFBDE0C0BF94}"/>
                </a:ext>
              </a:extLst>
            </p:cNvPr>
            <p:cNvSpPr>
              <a:spLocks noChangeAspect="1"/>
            </p:cNvSpPr>
            <p:nvPr/>
          </p:nvSpPr>
          <p:spPr>
            <a:xfrm>
              <a:off x="8887825" y="2612224"/>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52" name="Graphic 82">
              <a:extLst>
                <a:ext uri="{FF2B5EF4-FFF2-40B4-BE49-F238E27FC236}">
                  <a16:creationId xmlns:a16="http://schemas.microsoft.com/office/drawing/2014/main" id="{C28A592E-13D4-2CA4-DD17-FFED02BBD130}"/>
                </a:ext>
              </a:extLst>
            </p:cNvPr>
            <p:cNvSpPr>
              <a:spLocks noChangeAspect="1"/>
            </p:cNvSpPr>
            <p:nvPr/>
          </p:nvSpPr>
          <p:spPr>
            <a:xfrm>
              <a:off x="7694306" y="4639263"/>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sp>
          <p:nvSpPr>
            <p:cNvPr id="155" name="Graphic 82">
              <a:extLst>
                <a:ext uri="{FF2B5EF4-FFF2-40B4-BE49-F238E27FC236}">
                  <a16:creationId xmlns:a16="http://schemas.microsoft.com/office/drawing/2014/main" id="{E7B4A325-3DAA-D4C3-45F6-344312E57BF0}"/>
                </a:ext>
              </a:extLst>
            </p:cNvPr>
            <p:cNvSpPr>
              <a:spLocks noChangeAspect="1"/>
            </p:cNvSpPr>
            <p:nvPr/>
          </p:nvSpPr>
          <p:spPr>
            <a:xfrm>
              <a:off x="10271186" y="4496289"/>
              <a:ext cx="110012" cy="118920"/>
            </a:xfrm>
            <a:custGeom>
              <a:avLst/>
              <a:gdLst>
                <a:gd name="connsiteX0" fmla="*/ 318461 w 1071287"/>
                <a:gd name="connsiteY0" fmla="*/ 217133 h 1158042"/>
                <a:gd name="connsiteX1" fmla="*/ 536173 w 1071287"/>
                <a:gd name="connsiteY1" fmla="*/ 0 h 1158042"/>
                <a:gd name="connsiteX2" fmla="*/ 753305 w 1071287"/>
                <a:gd name="connsiteY2" fmla="*/ 217133 h 1158042"/>
                <a:gd name="connsiteX3" fmla="*/ 579599 w 1071287"/>
                <a:gd name="connsiteY3" fmla="*/ 430212 h 1158042"/>
                <a:gd name="connsiteX4" fmla="*/ 579599 w 1071287"/>
                <a:gd name="connsiteY4" fmla="*/ 550069 h 1158042"/>
                <a:gd name="connsiteX5" fmla="*/ 767781 w 1071287"/>
                <a:gd name="connsiteY5" fmla="*/ 550069 h 1158042"/>
                <a:gd name="connsiteX6" fmla="*/ 898060 w 1071287"/>
                <a:gd name="connsiteY6" fmla="*/ 680349 h 1158042"/>
                <a:gd name="connsiteX7" fmla="*/ 898060 w 1071287"/>
                <a:gd name="connsiteY7" fmla="*/ 680349 h 1158042"/>
                <a:gd name="connsiteX8" fmla="*/ 898060 w 1071287"/>
                <a:gd name="connsiteY8" fmla="*/ 727828 h 1158042"/>
                <a:gd name="connsiteX9" fmla="*/ 1066555 w 1071287"/>
                <a:gd name="connsiteY9" fmla="*/ 984913 h 1158042"/>
                <a:gd name="connsiteX10" fmla="*/ 854634 w 1071287"/>
                <a:gd name="connsiteY10" fmla="*/ 1158040 h 1158042"/>
                <a:gd name="connsiteX11" fmla="*/ 636922 w 1071287"/>
                <a:gd name="connsiteY11" fmla="*/ 940908 h 1158042"/>
                <a:gd name="connsiteX12" fmla="*/ 811207 w 1071287"/>
                <a:gd name="connsiteY12" fmla="*/ 727828 h 1158042"/>
                <a:gd name="connsiteX13" fmla="*/ 811207 w 1071287"/>
                <a:gd name="connsiteY13" fmla="*/ 680349 h 1158042"/>
                <a:gd name="connsiteX14" fmla="*/ 767781 w 1071287"/>
                <a:gd name="connsiteY14" fmla="*/ 636922 h 1158042"/>
                <a:gd name="connsiteX15" fmla="*/ 304565 w 1071287"/>
                <a:gd name="connsiteY15" fmla="*/ 636922 h 1158042"/>
                <a:gd name="connsiteX16" fmla="*/ 261138 w 1071287"/>
                <a:gd name="connsiteY16" fmla="*/ 680349 h 1158042"/>
                <a:gd name="connsiteX17" fmla="*/ 261138 w 1071287"/>
                <a:gd name="connsiteY17" fmla="*/ 727828 h 1158042"/>
                <a:gd name="connsiteX18" fmla="*/ 429633 w 1071287"/>
                <a:gd name="connsiteY18" fmla="*/ 984913 h 1158042"/>
                <a:gd name="connsiteX19" fmla="*/ 217712 w 1071287"/>
                <a:gd name="connsiteY19" fmla="*/ 1158040 h 1158042"/>
                <a:gd name="connsiteX20" fmla="*/ 0 w 1071287"/>
                <a:gd name="connsiteY20" fmla="*/ 941487 h 1158042"/>
                <a:gd name="connsiteX21" fmla="*/ 174285 w 1071287"/>
                <a:gd name="connsiteY21" fmla="*/ 728407 h 1158042"/>
                <a:gd name="connsiteX22" fmla="*/ 174285 w 1071287"/>
                <a:gd name="connsiteY22" fmla="*/ 680928 h 1158042"/>
                <a:gd name="connsiteX23" fmla="*/ 304565 w 1071287"/>
                <a:gd name="connsiteY23" fmla="*/ 550648 h 1158042"/>
                <a:gd name="connsiteX24" fmla="*/ 492746 w 1071287"/>
                <a:gd name="connsiteY24" fmla="*/ 550648 h 1158042"/>
                <a:gd name="connsiteX25" fmla="*/ 492746 w 1071287"/>
                <a:gd name="connsiteY25" fmla="*/ 430791 h 1158042"/>
                <a:gd name="connsiteX26" fmla="*/ 319040 w 1071287"/>
                <a:gd name="connsiteY26" fmla="*/ 217712 h 115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1287" h="1158042">
                  <a:moveTo>
                    <a:pt x="318461" y="217133"/>
                  </a:moveTo>
                  <a:cubicBezTo>
                    <a:pt x="318461" y="97275"/>
                    <a:pt x="415736" y="0"/>
                    <a:pt x="536173" y="0"/>
                  </a:cubicBezTo>
                  <a:cubicBezTo>
                    <a:pt x="656030" y="0"/>
                    <a:pt x="753305" y="97275"/>
                    <a:pt x="753305" y="217133"/>
                  </a:cubicBezTo>
                  <a:cubicBezTo>
                    <a:pt x="753305" y="320198"/>
                    <a:pt x="680349" y="409367"/>
                    <a:pt x="579599" y="430212"/>
                  </a:cubicBezTo>
                  <a:lnTo>
                    <a:pt x="579599" y="550069"/>
                  </a:lnTo>
                  <a:lnTo>
                    <a:pt x="767781" y="550069"/>
                  </a:lnTo>
                  <a:cubicBezTo>
                    <a:pt x="839579" y="550069"/>
                    <a:pt x="898060" y="608550"/>
                    <a:pt x="898060" y="680349"/>
                  </a:cubicBezTo>
                  <a:lnTo>
                    <a:pt x="898060" y="680349"/>
                  </a:lnTo>
                  <a:lnTo>
                    <a:pt x="898060" y="727828"/>
                  </a:lnTo>
                  <a:cubicBezTo>
                    <a:pt x="1015601" y="752147"/>
                    <a:pt x="1091453" y="867372"/>
                    <a:pt x="1066555" y="984913"/>
                  </a:cubicBezTo>
                  <a:cubicBezTo>
                    <a:pt x="1045710" y="1085663"/>
                    <a:pt x="957120" y="1158040"/>
                    <a:pt x="854634" y="1158040"/>
                  </a:cubicBezTo>
                  <a:cubicBezTo>
                    <a:pt x="734776" y="1158040"/>
                    <a:pt x="637501" y="1061344"/>
                    <a:pt x="636922" y="940908"/>
                  </a:cubicBezTo>
                  <a:cubicBezTo>
                    <a:pt x="636922" y="837263"/>
                    <a:pt x="709300" y="748094"/>
                    <a:pt x="811207" y="727828"/>
                  </a:cubicBezTo>
                  <a:lnTo>
                    <a:pt x="811207" y="680349"/>
                  </a:lnTo>
                  <a:cubicBezTo>
                    <a:pt x="811207" y="656609"/>
                    <a:pt x="791520" y="636922"/>
                    <a:pt x="767781" y="636922"/>
                  </a:cubicBezTo>
                  <a:lnTo>
                    <a:pt x="304565" y="636922"/>
                  </a:lnTo>
                  <a:cubicBezTo>
                    <a:pt x="280825" y="636922"/>
                    <a:pt x="261138" y="656609"/>
                    <a:pt x="261138" y="680349"/>
                  </a:cubicBezTo>
                  <a:lnTo>
                    <a:pt x="261138" y="727828"/>
                  </a:lnTo>
                  <a:cubicBezTo>
                    <a:pt x="378679" y="752147"/>
                    <a:pt x="454531" y="867372"/>
                    <a:pt x="429633" y="984913"/>
                  </a:cubicBezTo>
                  <a:cubicBezTo>
                    <a:pt x="408788" y="1085663"/>
                    <a:pt x="320198" y="1158040"/>
                    <a:pt x="217712" y="1158040"/>
                  </a:cubicBezTo>
                  <a:cubicBezTo>
                    <a:pt x="97854" y="1158619"/>
                    <a:pt x="0" y="1061344"/>
                    <a:pt x="0" y="941487"/>
                  </a:cubicBezTo>
                  <a:cubicBezTo>
                    <a:pt x="0" y="837842"/>
                    <a:pt x="72378" y="748673"/>
                    <a:pt x="174285" y="728407"/>
                  </a:cubicBezTo>
                  <a:lnTo>
                    <a:pt x="174285" y="680928"/>
                  </a:lnTo>
                  <a:cubicBezTo>
                    <a:pt x="174285" y="609129"/>
                    <a:pt x="232766" y="550648"/>
                    <a:pt x="304565" y="550648"/>
                  </a:cubicBezTo>
                  <a:lnTo>
                    <a:pt x="492746" y="550648"/>
                  </a:lnTo>
                  <a:lnTo>
                    <a:pt x="492746" y="430791"/>
                  </a:lnTo>
                  <a:cubicBezTo>
                    <a:pt x="391418" y="409946"/>
                    <a:pt x="319040" y="321356"/>
                    <a:pt x="319040" y="217712"/>
                  </a:cubicBezTo>
                  <a:close/>
                </a:path>
              </a:pathLst>
            </a:custGeom>
            <a:solidFill>
              <a:srgbClr val="F4F3F5"/>
            </a:solidFill>
            <a:ln w="11579" cap="flat">
              <a:noFill/>
              <a:prstDash val="solid"/>
              <a:miter/>
            </a:ln>
            <a:effectLst/>
          </p:spPr>
          <p:txBody>
            <a:bodyPr rot="0" spcFirstLastPara="0" vertOverflow="overflow" horzOverflow="overflow" vert="horz" wrap="square" lIns="77410" tIns="38705" rIns="77410" bIns="38705" numCol="1" spcCol="0" rtlCol="0" fromWordArt="0" anchor="ctr" anchorCtr="0" forceAA="0" compatLnSpc="1">
              <a:prstTxWarp prst="textNoShape">
                <a:avLst/>
              </a:prstTxWarp>
              <a:noAutofit/>
            </a:bodyPr>
            <a:lstStyle/>
            <a:p>
              <a:pPr marL="0" marR="0" lvl="0" indent="0" algn="l" defTabSz="607656"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00000"/>
                </a:solidFill>
                <a:effectLst/>
                <a:uLnTx/>
                <a:uFillTx/>
                <a:latin typeface="Segoe UI Variable Display Semib" pitchFamily="2" charset="0"/>
                <a:ea typeface="+mn-ea"/>
                <a:cs typeface="Segoe Sans Display Semibold" pitchFamily="2" charset="0"/>
              </a:endParaRPr>
            </a:p>
          </p:txBody>
        </p:sp>
      </p:grpSp>
      <p:grpSp>
        <p:nvGrpSpPr>
          <p:cNvPr id="6" name="Group 5">
            <a:extLst>
              <a:ext uri="{FF2B5EF4-FFF2-40B4-BE49-F238E27FC236}">
                <a16:creationId xmlns:a16="http://schemas.microsoft.com/office/drawing/2014/main" id="{D0D61448-C879-D7AF-4D2B-5B0EAD39BACF}"/>
              </a:ext>
              <a:ext uri="{C183D7F6-B498-43B3-948B-1728B52AA6E4}">
                <adec:decorative xmlns:adec="http://schemas.microsoft.com/office/drawing/2017/decorative" val="1"/>
              </a:ext>
            </a:extLst>
          </p:cNvPr>
          <p:cNvGrpSpPr/>
          <p:nvPr/>
        </p:nvGrpSpPr>
        <p:grpSpPr>
          <a:xfrm>
            <a:off x="2857361" y="3907332"/>
            <a:ext cx="683753" cy="229737"/>
            <a:chOff x="2857361" y="3313353"/>
            <a:chExt cx="683753" cy="229737"/>
          </a:xfrm>
        </p:grpSpPr>
        <p:grpSp>
          <p:nvGrpSpPr>
            <p:cNvPr id="168" name="Group 167">
              <a:extLst>
                <a:ext uri="{FF2B5EF4-FFF2-40B4-BE49-F238E27FC236}">
                  <a16:creationId xmlns:a16="http://schemas.microsoft.com/office/drawing/2014/main" id="{598BF595-1DF5-CADD-71F3-6F6E92F7683D}"/>
                </a:ext>
              </a:extLst>
            </p:cNvPr>
            <p:cNvGrpSpPr>
              <a:grpSpLocks noChangeAspect="1"/>
            </p:cNvGrpSpPr>
            <p:nvPr/>
          </p:nvGrpSpPr>
          <p:grpSpPr>
            <a:xfrm rot="16200000" flipH="1">
              <a:off x="2793723" y="3376991"/>
              <a:ext cx="229737" cy="102462"/>
              <a:chOff x="24942308" y="2917288"/>
              <a:chExt cx="1321816" cy="559246"/>
            </a:xfrm>
          </p:grpSpPr>
          <p:cxnSp>
            <p:nvCxnSpPr>
              <p:cNvPr id="170" name="Straight Connector 169">
                <a:extLst>
                  <a:ext uri="{FF2B5EF4-FFF2-40B4-BE49-F238E27FC236}">
                    <a16:creationId xmlns:a16="http://schemas.microsoft.com/office/drawing/2014/main" id="{55ED0DFE-E13B-2B03-D46A-AD19F37D2E52}"/>
                  </a:ext>
                </a:extLst>
              </p:cNvPr>
              <p:cNvCxnSpPr>
                <a:cxnSpLocks/>
              </p:cNvCxnSpPr>
              <p:nvPr/>
            </p:nvCxnSpPr>
            <p:spPr>
              <a:xfrm rot="10800000">
                <a:off x="25603203" y="2917288"/>
                <a:ext cx="660921" cy="559239"/>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3C51BB5-EDB9-78E8-905E-1EDF24565909}"/>
                  </a:ext>
                </a:extLst>
              </p:cNvPr>
              <p:cNvCxnSpPr>
                <a:cxnSpLocks/>
              </p:cNvCxnSpPr>
              <p:nvPr/>
            </p:nvCxnSpPr>
            <p:spPr>
              <a:xfrm rot="10800000" flipH="1">
                <a:off x="24942308" y="2917292"/>
                <a:ext cx="660917" cy="559242"/>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69" name="Straight Connector 168">
              <a:extLst>
                <a:ext uri="{FF2B5EF4-FFF2-40B4-BE49-F238E27FC236}">
                  <a16:creationId xmlns:a16="http://schemas.microsoft.com/office/drawing/2014/main" id="{4BC82C7C-900A-1C4B-3561-CD0C8319E119}"/>
                </a:ext>
              </a:extLst>
            </p:cNvPr>
            <p:cNvCxnSpPr>
              <a:cxnSpLocks/>
            </p:cNvCxnSpPr>
            <p:nvPr/>
          </p:nvCxnSpPr>
          <p:spPr>
            <a:xfrm>
              <a:off x="2865327" y="3428206"/>
              <a:ext cx="675787" cy="0"/>
            </a:xfrm>
            <a:prstGeom prst="line">
              <a:avLst/>
            </a:prstGeom>
            <a:ln w="25400" cap="rnd">
              <a:solidFill>
                <a:srgbClr val="091F2C"/>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2BD8E19B-C41E-BB67-AD20-CFF22B85FEF7}"/>
              </a:ext>
              <a:ext uri="{C183D7F6-B498-43B3-948B-1728B52AA6E4}">
                <adec:decorative xmlns:adec="http://schemas.microsoft.com/office/drawing/2017/decorative" val="1"/>
              </a:ext>
            </a:extLst>
          </p:cNvPr>
          <p:cNvGrpSpPr/>
          <p:nvPr/>
        </p:nvGrpSpPr>
        <p:grpSpPr>
          <a:xfrm flipH="1">
            <a:off x="3009761" y="4166701"/>
            <a:ext cx="683753" cy="229737"/>
            <a:chOff x="2857361" y="3313353"/>
            <a:chExt cx="683753" cy="229737"/>
          </a:xfrm>
        </p:grpSpPr>
        <p:grpSp>
          <p:nvGrpSpPr>
            <p:cNvPr id="11" name="Group 10">
              <a:extLst>
                <a:ext uri="{FF2B5EF4-FFF2-40B4-BE49-F238E27FC236}">
                  <a16:creationId xmlns:a16="http://schemas.microsoft.com/office/drawing/2014/main" id="{62289B44-CC71-93C3-1738-C243322AD8B5}"/>
                </a:ext>
              </a:extLst>
            </p:cNvPr>
            <p:cNvGrpSpPr>
              <a:grpSpLocks noChangeAspect="1"/>
            </p:cNvGrpSpPr>
            <p:nvPr/>
          </p:nvGrpSpPr>
          <p:grpSpPr>
            <a:xfrm rot="16200000" flipH="1">
              <a:off x="2793723" y="3376991"/>
              <a:ext cx="229737" cy="102462"/>
              <a:chOff x="24942308" y="2917288"/>
              <a:chExt cx="1321816" cy="559246"/>
            </a:xfrm>
          </p:grpSpPr>
          <p:cxnSp>
            <p:nvCxnSpPr>
              <p:cNvPr id="18" name="Straight Connector 17">
                <a:extLst>
                  <a:ext uri="{FF2B5EF4-FFF2-40B4-BE49-F238E27FC236}">
                    <a16:creationId xmlns:a16="http://schemas.microsoft.com/office/drawing/2014/main" id="{FF2C0657-356C-8789-7008-E23139CED26A}"/>
                  </a:ext>
                </a:extLst>
              </p:cNvPr>
              <p:cNvCxnSpPr>
                <a:cxnSpLocks/>
              </p:cNvCxnSpPr>
              <p:nvPr/>
            </p:nvCxnSpPr>
            <p:spPr>
              <a:xfrm rot="10800000">
                <a:off x="25603203" y="2917288"/>
                <a:ext cx="660921" cy="559239"/>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8A881D2-2920-E8DB-415F-C36071DC484B}"/>
                  </a:ext>
                </a:extLst>
              </p:cNvPr>
              <p:cNvCxnSpPr>
                <a:cxnSpLocks/>
              </p:cNvCxnSpPr>
              <p:nvPr/>
            </p:nvCxnSpPr>
            <p:spPr>
              <a:xfrm rot="10800000" flipH="1">
                <a:off x="24942308" y="2917292"/>
                <a:ext cx="660917" cy="559242"/>
              </a:xfrm>
              <a:prstGeom prst="line">
                <a:avLst/>
              </a:prstGeom>
              <a:ln w="25400" cap="rnd">
                <a:solidFill>
                  <a:srgbClr val="091F2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cxnSp>
          <p:nvCxnSpPr>
            <p:cNvPr id="17" name="Straight Connector 16">
              <a:extLst>
                <a:ext uri="{FF2B5EF4-FFF2-40B4-BE49-F238E27FC236}">
                  <a16:creationId xmlns:a16="http://schemas.microsoft.com/office/drawing/2014/main" id="{F603090D-3145-F38C-B7DD-1BC5EF3E866D}"/>
                </a:ext>
              </a:extLst>
            </p:cNvPr>
            <p:cNvCxnSpPr>
              <a:cxnSpLocks/>
            </p:cNvCxnSpPr>
            <p:nvPr/>
          </p:nvCxnSpPr>
          <p:spPr>
            <a:xfrm>
              <a:off x="2865327" y="3428206"/>
              <a:ext cx="675787" cy="0"/>
            </a:xfrm>
            <a:prstGeom prst="line">
              <a:avLst/>
            </a:prstGeom>
            <a:ln w="25400" cap="rnd">
              <a:solidFill>
                <a:srgbClr val="091F2C"/>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59563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42" presetClass="path" presetSubtype="0" decel="100000" fill="hold" nodeType="withEffect">
                                  <p:stCondLst>
                                    <p:cond delay="0"/>
                                  </p:stCondLst>
                                  <p:childTnLst>
                                    <p:animMotion origin="layout" path="M 0 2.59259E-6 L 0 0.03541 " pathEditMode="relative" rAng="0" ptsTypes="AA">
                                      <p:cBhvr>
                                        <p:cTn id="9" dur="700" spd="-100000" fill="hold"/>
                                        <p:tgtEl>
                                          <p:spTgt spid="10"/>
                                        </p:tgtEl>
                                        <p:attrNameLst>
                                          <p:attrName>ppt_x</p:attrName>
                                          <p:attrName>ppt_y</p:attrName>
                                        </p:attrNameLst>
                                      </p:cBhvr>
                                      <p:rCtr x="0" y="1759"/>
                                    </p:animMotion>
                                  </p:childTnLst>
                                </p:cTn>
                              </p:par>
                              <p:par>
                                <p:cTn id="10" presetID="10" presetClass="entr" presetSubtype="0" fill="hold"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nodeType="withEffect">
                                  <p:stCondLst>
                                    <p:cond delay="500"/>
                                  </p:stCondLst>
                                  <p:childTnLst>
                                    <p:animMotion origin="layout" path="M 2.08333E-7 -2.59259E-6 L 0.02344 -0.00023 " pathEditMode="relative" rAng="0" ptsTypes="AA">
                                      <p:cBhvr>
                                        <p:cTn id="14" dur="700" spd="-100000" fill="hold"/>
                                        <p:tgtEl>
                                          <p:spTgt spid="6"/>
                                        </p:tgtEl>
                                        <p:attrNameLst>
                                          <p:attrName>ppt_x</p:attrName>
                                          <p:attrName>ppt_y</p:attrName>
                                        </p:attrNameLst>
                                      </p:cBhvr>
                                      <p:rCtr x="1172" y="-23"/>
                                    </p:animMotion>
                                  </p:childTnLst>
                                </p:cTn>
                              </p:par>
                              <p:par>
                                <p:cTn id="15" presetID="10" presetClass="entr" presetSubtype="0" fill="hold" nodeType="withEffect">
                                  <p:stCondLst>
                                    <p:cond delay="5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nodeType="withEffect">
                                  <p:stCondLst>
                                    <p:cond delay="500"/>
                                  </p:stCondLst>
                                  <p:childTnLst>
                                    <p:animMotion origin="layout" path="M 2.08333E-7 4.44444E-6 L 0.02344 -0.00024 " pathEditMode="relative" rAng="0" ptsTypes="AA">
                                      <p:cBhvr>
                                        <p:cTn id="19" dur="700" fill="hold"/>
                                        <p:tgtEl>
                                          <p:spTgt spid="9"/>
                                        </p:tgtEl>
                                        <p:attrNameLst>
                                          <p:attrName>ppt_x</p:attrName>
                                          <p:attrName>ppt_y</p:attrName>
                                        </p:attrNameLst>
                                      </p:cBhvr>
                                      <p:rCtr x="1172" y="-23"/>
                                    </p:animMotion>
                                  </p:childTnLst>
                                </p:cTn>
                              </p:par>
                              <p:par>
                                <p:cTn id="20" presetID="10" presetClass="entr" presetSubtype="0" fill="hold" nodeType="withEffect">
                                  <p:stCondLst>
                                    <p:cond delay="5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nodeType="withEffect">
                                  <p:stCondLst>
                                    <p:cond delay="500"/>
                                  </p:stCondLst>
                                  <p:childTnLst>
                                    <p:animMotion origin="layout" path="M -2.08333E-6 -3.7037E-7 L -2.08333E-6 0.03542 " pathEditMode="relative" rAng="0" ptsTypes="AA">
                                      <p:cBhvr>
                                        <p:cTn id="24" dur="700" spd="-100000" fill="hold"/>
                                        <p:tgtEl>
                                          <p:spTgt spid="4"/>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42" presetClass="path" presetSubtype="0" decel="100000" fill="hold" nodeType="withEffect">
                                  <p:stCondLst>
                                    <p:cond delay="500"/>
                                  </p:stCondLst>
                                  <p:childTnLst>
                                    <p:animMotion origin="layout" path="M 3.54167E-6 1.85185E-6 L 3.54167E-6 0.03541 " pathEditMode="relative" rAng="0" ptsTypes="AA">
                                      <p:cBhvr>
                                        <p:cTn id="29" dur="700" spd="-100000" fill="hold"/>
                                        <p:tgtEl>
                                          <p:spTgt spid="22"/>
                                        </p:tgtEl>
                                        <p:attrNameLst>
                                          <p:attrName>ppt_x</p:attrName>
                                          <p:attrName>ppt_y</p:attrName>
                                        </p:attrNameLst>
                                      </p:cBhvr>
                                      <p:rCtr x="0" y="1759"/>
                                    </p:animMotion>
                                  </p:childTnLst>
                                </p:cTn>
                              </p:par>
                              <p:par>
                                <p:cTn id="30" presetID="10" presetClass="entr" presetSubtype="0" fill="hold" grpId="0" nodeType="withEffect">
                                  <p:stCondLst>
                                    <p:cond delay="750"/>
                                  </p:stCondLst>
                                  <p:childTnLst>
                                    <p:set>
                                      <p:cBhvr>
                                        <p:cTn id="31" dur="1" fill="hold">
                                          <p:stCondLst>
                                            <p:cond delay="0"/>
                                          </p:stCondLst>
                                        </p:cTn>
                                        <p:tgtEl>
                                          <p:spTgt spid="172"/>
                                        </p:tgtEl>
                                        <p:attrNameLst>
                                          <p:attrName>style.visibility</p:attrName>
                                        </p:attrNameLst>
                                      </p:cBhvr>
                                      <p:to>
                                        <p:strVal val="visible"/>
                                      </p:to>
                                    </p:set>
                                    <p:animEffect transition="in" filter="fade">
                                      <p:cBhvr>
                                        <p:cTn id="32" dur="500"/>
                                        <p:tgtEl>
                                          <p:spTgt spid="172"/>
                                        </p:tgtEl>
                                      </p:cBhvr>
                                    </p:animEffect>
                                  </p:childTnLst>
                                </p:cTn>
                              </p:par>
                              <p:par>
                                <p:cTn id="33" presetID="42" presetClass="path" presetSubtype="0" decel="100000" fill="hold" grpId="1" nodeType="withEffect">
                                  <p:stCondLst>
                                    <p:cond delay="750"/>
                                  </p:stCondLst>
                                  <p:childTnLst>
                                    <p:animMotion origin="layout" path="M -1.66667E-6 1.11111E-6 L -1.66667E-6 0.03542 " pathEditMode="relative" rAng="0" ptsTypes="AA">
                                      <p:cBhvr>
                                        <p:cTn id="34" dur="700" spd="-100000" fill="hold"/>
                                        <p:tgtEl>
                                          <p:spTgt spid="172"/>
                                        </p:tgtEl>
                                        <p:attrNameLst>
                                          <p:attrName>ppt_x</p:attrName>
                                          <p:attrName>ppt_y</p:attrName>
                                        </p:attrNameLst>
                                      </p:cBhvr>
                                      <p:rCtr x="0" y="1759"/>
                                    </p:animMotion>
                                  </p:childTnLst>
                                </p:cTn>
                              </p:par>
                              <p:par>
                                <p:cTn id="35" presetID="10" presetClass="entr" presetSubtype="0" fill="hold" grpId="0" nodeType="withEffect">
                                  <p:stCondLst>
                                    <p:cond delay="750"/>
                                  </p:stCondLst>
                                  <p:childTnLst>
                                    <p:set>
                                      <p:cBhvr>
                                        <p:cTn id="36" dur="1" fill="hold">
                                          <p:stCondLst>
                                            <p:cond delay="0"/>
                                          </p:stCondLst>
                                        </p:cTn>
                                        <p:tgtEl>
                                          <p:spTgt spid="174"/>
                                        </p:tgtEl>
                                        <p:attrNameLst>
                                          <p:attrName>style.visibility</p:attrName>
                                        </p:attrNameLst>
                                      </p:cBhvr>
                                      <p:to>
                                        <p:strVal val="visible"/>
                                      </p:to>
                                    </p:set>
                                    <p:animEffect transition="in" filter="fade">
                                      <p:cBhvr>
                                        <p:cTn id="37" dur="500"/>
                                        <p:tgtEl>
                                          <p:spTgt spid="174"/>
                                        </p:tgtEl>
                                      </p:cBhvr>
                                    </p:animEffect>
                                  </p:childTnLst>
                                </p:cTn>
                              </p:par>
                              <p:par>
                                <p:cTn id="38" presetID="42" presetClass="path" presetSubtype="0" decel="100000" fill="hold" grpId="1" nodeType="withEffect">
                                  <p:stCondLst>
                                    <p:cond delay="750"/>
                                  </p:stCondLst>
                                  <p:childTnLst>
                                    <p:animMotion origin="layout" path="M 3.54167E-6 1.48148E-6 L 3.54167E-6 0.03542 " pathEditMode="relative" rAng="0" ptsTypes="AA">
                                      <p:cBhvr>
                                        <p:cTn id="39" dur="700" spd="-100000" fill="hold"/>
                                        <p:tgtEl>
                                          <p:spTgt spid="174"/>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 grpId="0"/>
      <p:bldP spid="174" grpId="1"/>
      <p:bldP spid="172" grpId="0"/>
      <p:bldP spid="172"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516B9F-6772-832F-05E4-91E24C00B899}"/>
            </a:ext>
          </a:extLst>
        </p:cNvPr>
        <p:cNvGrpSpPr/>
        <p:nvPr/>
      </p:nvGrpSpPr>
      <p:grpSpPr>
        <a:xfrm>
          <a:off x="0" y="0"/>
          <a:ext cx="0" cy="0"/>
          <a:chOff x="0" y="0"/>
          <a:chExt cx="0" cy="0"/>
        </a:xfrm>
      </p:grpSpPr>
      <p:sp>
        <p:nvSpPr>
          <p:cNvPr id="16" name="Rectangle: Rounded Corners 34">
            <a:extLst>
              <a:ext uri="{FF2B5EF4-FFF2-40B4-BE49-F238E27FC236}">
                <a16:creationId xmlns:a16="http://schemas.microsoft.com/office/drawing/2014/main" id="{01DAA39A-0086-7462-4F8E-908359C3BDD1}"/>
              </a:ext>
              <a:ext uri="{C183D7F6-B498-43B3-948B-1728B52AA6E4}">
                <adec:decorative xmlns:adec="http://schemas.microsoft.com/office/drawing/2017/decorative" val="1"/>
              </a:ext>
            </a:extLst>
          </p:cNvPr>
          <p:cNvSpPr/>
          <p:nvPr/>
        </p:nvSpPr>
        <p:spPr bwMode="auto">
          <a:xfrm>
            <a:off x="832529" y="2479250"/>
            <a:ext cx="10526942" cy="3415698"/>
          </a:xfrm>
          <a:prstGeom prst="roundRect">
            <a:avLst>
              <a:gd name="adj" fmla="val 5099"/>
            </a:avLst>
          </a:prstGeom>
          <a:noFill/>
          <a:ln w="19050">
            <a:gradFill flip="none" rotWithShape="1">
              <a:gsLst>
                <a:gs pos="0">
                  <a:srgbClr val="0078D4"/>
                </a:gs>
                <a:gs pos="100000">
                  <a:srgbClr val="C73ECC"/>
                </a:gs>
              </a:gsLst>
              <a:lin ang="0" scaled="1"/>
              <a:tileRect/>
            </a:gradFill>
            <a:headEnd type="none" w="med" len="med"/>
            <a:tailEnd type="none" w="med" len="med"/>
          </a:ln>
          <a:effectLst>
            <a:outerShdw blurRad="2540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b="1">
              <a:solidFill>
                <a:srgbClr val="FFFFFF"/>
              </a:solidFill>
              <a:latin typeface="Segoe UI Variable Display Semibold" pitchFamily="2" charset="0"/>
              <a:cs typeface="Segoe UI" pitchFamily="34" charset="0"/>
            </a:endParaRPr>
          </a:p>
        </p:txBody>
      </p:sp>
      <p:pic>
        <p:nvPicPr>
          <p:cNvPr id="8" name="Picture 4" descr="A logo with a rainbow colored design&#10;&#10;Description automatically generated">
            <a:extLst>
              <a:ext uri="{FF2B5EF4-FFF2-40B4-BE49-F238E27FC236}">
                <a16:creationId xmlns:a16="http://schemas.microsoft.com/office/drawing/2014/main" id="{65B98141-CBA0-EF58-16C8-3DE13A673B4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8887" y="586989"/>
            <a:ext cx="704088" cy="71303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8">
            <a:extLst>
              <a:ext uri="{FF2B5EF4-FFF2-40B4-BE49-F238E27FC236}">
                <a16:creationId xmlns:a16="http://schemas.microsoft.com/office/drawing/2014/main" id="{A24A29FA-6974-E00E-0D71-B585958363B1}"/>
              </a:ext>
              <a:ext uri="{C183D7F6-B498-43B3-948B-1728B52AA6E4}">
                <adec:decorative xmlns:adec="http://schemas.microsoft.com/office/drawing/2017/decorative" val="0"/>
              </a:ext>
            </a:extLst>
          </p:cNvPr>
          <p:cNvSpPr txBox="1">
            <a:spLocks/>
          </p:cNvSpPr>
          <p:nvPr/>
        </p:nvSpPr>
        <p:spPr bwMode="auto">
          <a:xfrm>
            <a:off x="2032319" y="1424818"/>
            <a:ext cx="8158915"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462" rtl="0" eaLnBrk="1" latinLnBrk="0" hangingPunct="1">
              <a:lnSpc>
                <a:spcPct val="100000"/>
              </a:lnSpc>
              <a:spcBef>
                <a:spcPct val="0"/>
              </a:spcBef>
              <a:buNone/>
              <a:defRPr lang="en-US" sz="3599" b="0" kern="1200" cap="none" spc="-50" baseline="0" dirty="0" smtClean="0">
                <a:ln w="3175">
                  <a:noFill/>
                </a:ln>
                <a:solidFill>
                  <a:schemeClr val="tx1"/>
                </a:solidFill>
                <a:effectLst/>
                <a:latin typeface="+mj-lt"/>
                <a:ea typeface="+mn-ea"/>
                <a:cs typeface="Segoe UI" pitchFamily="34" charset="0"/>
              </a:defRPr>
            </a:lvl1pPr>
          </a:lstStyle>
          <a:p>
            <a:pPr algn="ctr" defTabSz="246710" fontAlgn="base">
              <a:spcAft>
                <a:spcPct val="0"/>
              </a:spcAft>
              <a:defRPr/>
            </a:pPr>
            <a:r>
              <a:rPr lang="en-CA" sz="3600">
                <a:ln>
                  <a:noFill/>
                </a:ln>
                <a:gradFill>
                  <a:gsLst>
                    <a:gs pos="12844">
                      <a:srgbClr val="291817"/>
                    </a:gs>
                    <a:gs pos="38000">
                      <a:srgbClr val="291817"/>
                    </a:gs>
                  </a:gsLst>
                  <a:lin ang="13500000" scaled="1"/>
                </a:gradFill>
                <a:latin typeface="Segoe Sans Display Semibold"/>
                <a:cs typeface="Segoe Sans Display Semibold"/>
              </a:rPr>
              <a:t>Introducing </a:t>
            </a:r>
            <a:r>
              <a:rPr kumimoji="0" lang="en-CA" sz="3600" b="0" i="0" u="none" strike="noStrike" kern="1200" cap="none" spc="-50" normalizeH="0" baseline="0" noProof="0">
                <a:ln>
                  <a:noFill/>
                </a:ln>
                <a:gradFill>
                  <a:gsLst>
                    <a:gs pos="12844">
                      <a:srgbClr val="291817"/>
                    </a:gs>
                    <a:gs pos="38000">
                      <a:srgbClr val="291817"/>
                    </a:gs>
                  </a:gsLst>
                  <a:lin ang="13500000" scaled="1"/>
                </a:gradFill>
                <a:effectLst/>
                <a:uLnTx/>
                <a:uFillTx/>
                <a:latin typeface="Segoe Sans Display Semibold"/>
                <a:ea typeface="+mn-ea"/>
                <a:cs typeface="Segoe Sans Display Semibold"/>
              </a:rPr>
              <a:t>Copilot</a:t>
            </a:r>
            <a:r>
              <a:rPr lang="en-CA" sz="3600">
                <a:ln>
                  <a:noFill/>
                </a:ln>
                <a:gradFill>
                  <a:gsLst>
                    <a:gs pos="12844">
                      <a:srgbClr val="291817"/>
                    </a:gs>
                    <a:gs pos="38000">
                      <a:srgbClr val="291817"/>
                    </a:gs>
                  </a:gsLst>
                  <a:lin ang="13500000" scaled="1"/>
                </a:gradFill>
                <a:latin typeface="Segoe Sans Display Semibold"/>
                <a:cs typeface="Segoe Sans Display Semibold"/>
              </a:rPr>
              <a:t> Chat</a:t>
            </a:r>
            <a:endParaRPr kumimoji="0" lang="en-US" sz="3599" b="0" i="0" u="none" strike="noStrike" kern="1200" cap="none" spc="-50" normalizeH="0" baseline="0" noProof="0">
              <a:ln w="3175">
                <a:noFill/>
              </a:ln>
              <a:solidFill>
                <a:srgbClr val="000000"/>
              </a:solidFill>
              <a:effectLst/>
              <a:uLnTx/>
              <a:uFillTx/>
              <a:latin typeface="Segoe UI Semibold"/>
              <a:ea typeface="+mn-ea"/>
              <a:cs typeface="Segoe UI" pitchFamily="34" charset="0"/>
            </a:endParaRPr>
          </a:p>
        </p:txBody>
      </p:sp>
      <p:sp useBgFill="1">
        <p:nvSpPr>
          <p:cNvPr id="20" name="TextBox 19">
            <a:extLst>
              <a:ext uri="{FF2B5EF4-FFF2-40B4-BE49-F238E27FC236}">
                <a16:creationId xmlns:a16="http://schemas.microsoft.com/office/drawing/2014/main" id="{12A4D00E-48BF-FB8A-B198-3A5714544512}"/>
              </a:ext>
            </a:extLst>
          </p:cNvPr>
          <p:cNvSpPr txBox="1"/>
          <p:nvPr/>
        </p:nvSpPr>
        <p:spPr>
          <a:xfrm>
            <a:off x="8308169" y="4880281"/>
            <a:ext cx="2468880" cy="246093"/>
          </a:xfrm>
          <a:prstGeom prst="rect">
            <a:avLst/>
          </a:prstGeom>
        </p:spPr>
        <p:txBody>
          <a:bodyPr wrap="square" lIns="0" tIns="0" rIns="0" bIns="0" rtlCol="0" anchor="t">
            <a:spAutoFit/>
          </a:bodyPr>
          <a:lstStyle/>
          <a:p>
            <a:pPr algn="ctr" defTabSz="812485">
              <a:defRPr/>
            </a:pPr>
            <a:r>
              <a:rPr lang="en-US" sz="1550">
                <a:gradFill>
                  <a:gsLst>
                    <a:gs pos="12844">
                      <a:srgbClr val="291817"/>
                    </a:gs>
                    <a:gs pos="38000">
                      <a:srgbClr val="291817"/>
                    </a:gs>
                  </a:gsLst>
                </a:gradFill>
                <a:latin typeface="Segoe Sans Display Semibold"/>
                <a:cs typeface="Segoe Sans Display Semibold"/>
              </a:rPr>
              <a:t>IT Controls</a:t>
            </a:r>
            <a:endParaRPr lang="en-US">
              <a:ea typeface="+mn-ea"/>
            </a:endParaRPr>
          </a:p>
        </p:txBody>
      </p:sp>
      <p:sp>
        <p:nvSpPr>
          <p:cNvPr id="22" name="TextBox 21">
            <a:extLst>
              <a:ext uri="{FF2B5EF4-FFF2-40B4-BE49-F238E27FC236}">
                <a16:creationId xmlns:a16="http://schemas.microsoft.com/office/drawing/2014/main" id="{67F1D973-8ECC-A388-E282-AEFE9C25F4A3}"/>
              </a:ext>
            </a:extLst>
          </p:cNvPr>
          <p:cNvSpPr txBox="1">
            <a:spLocks/>
          </p:cNvSpPr>
          <p:nvPr/>
        </p:nvSpPr>
        <p:spPr>
          <a:xfrm>
            <a:off x="1688676" y="4865046"/>
            <a:ext cx="2011680" cy="238527"/>
          </a:xfrm>
          <a:prstGeom prst="rect">
            <a:avLst/>
          </a:prstGeom>
          <a:noFill/>
        </p:spPr>
        <p:txBody>
          <a:bodyPr wrap="square" lIns="0" tIns="0" rIns="0" bIns="0" rtlCol="0" anchor="ctr">
            <a:spAutoFit/>
          </a:bodyPr>
          <a:lstStyle/>
          <a:p>
            <a:pPr algn="ctr" defTabSz="812485">
              <a:defRPr/>
            </a:pPr>
            <a:r>
              <a:rPr lang="en-US" sz="1550" b="1">
                <a:gradFill>
                  <a:gsLst>
                    <a:gs pos="12844">
                      <a:srgbClr val="291817"/>
                    </a:gs>
                    <a:gs pos="38000">
                      <a:srgbClr val="291817"/>
                    </a:gs>
                  </a:gsLst>
                  <a:lin ang="13500000" scaled="1"/>
                </a:gradFill>
                <a:latin typeface="Segoe Sans Display Semibold"/>
                <a:cs typeface="Segoe Sans Display Semibold"/>
              </a:rPr>
              <a:t>Chat</a:t>
            </a:r>
            <a:endParaRPr lang="en-US" sz="1550" b="1" i="0" u="none" strike="noStrike" kern="1200" cap="none" spc="0" normalizeH="0" baseline="0" noProof="0">
              <a:ln>
                <a:noFill/>
              </a:ln>
              <a:gradFill>
                <a:gsLst>
                  <a:gs pos="12844">
                    <a:srgbClr val="291817"/>
                  </a:gs>
                  <a:gs pos="38000">
                    <a:srgbClr val="291817"/>
                  </a:gs>
                </a:gsLst>
                <a:lin ang="13500000" scaled="1"/>
              </a:gradFill>
              <a:effectLst/>
              <a:uLnTx/>
              <a:uFillTx/>
              <a:latin typeface="Segoe Sans Display Semibold" pitchFamily="2" charset="0"/>
              <a:cs typeface="Segoe Sans Display Semibold" pitchFamily="2" charset="0"/>
            </a:endParaRPr>
          </a:p>
        </p:txBody>
      </p:sp>
      <p:pic>
        <p:nvPicPr>
          <p:cNvPr id="27" name="Picture 26">
            <a:extLst>
              <a:ext uri="{FF2B5EF4-FFF2-40B4-BE49-F238E27FC236}">
                <a16:creationId xmlns:a16="http://schemas.microsoft.com/office/drawing/2014/main" id="{E266295A-148B-F0D3-0108-1C8157EBAA4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719907" y="2977776"/>
            <a:ext cx="2761580" cy="1537037"/>
          </a:xfrm>
          <a:prstGeom prst="roundRect">
            <a:avLst>
              <a:gd name="adj" fmla="val 3902"/>
            </a:avLst>
          </a:prstGeom>
          <a:effectLst>
            <a:outerShdw blurRad="127000" dist="63500" dir="2700000" algn="tl" rotWithShape="0">
              <a:srgbClr val="291817">
                <a:alpha val="20000"/>
              </a:srgbClr>
            </a:outerShdw>
          </a:effectLst>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2289B283-4858-560A-0033-4B1170E215EB}"/>
              </a:ext>
            </a:extLst>
          </p:cNvPr>
          <p:cNvSpPr txBox="1"/>
          <p:nvPr/>
        </p:nvSpPr>
        <p:spPr>
          <a:xfrm>
            <a:off x="4841744" y="4891871"/>
            <a:ext cx="2517906" cy="221599"/>
          </a:xfrm>
          <a:prstGeom prst="rect">
            <a:avLst/>
          </a:prstGeom>
          <a:noFill/>
        </p:spPr>
        <p:txBody>
          <a:bodyPr wrap="square" lIns="0" tIns="0" rIns="0" bIns="0" rtlCol="0" anchor="ctr">
            <a:spAutoFit/>
          </a:bodyPr>
          <a:lstStyle/>
          <a:p>
            <a:pPr marL="0" marR="0" lvl="0" indent="0" algn="ctr" defTabSz="812485"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gradFill>
                  <a:gsLst>
                    <a:gs pos="12844">
                      <a:srgbClr val="291817"/>
                    </a:gs>
                    <a:gs pos="38000">
                      <a:srgbClr val="291817"/>
                    </a:gs>
                  </a:gsLst>
                  <a:lin ang="13500000" scaled="1"/>
                </a:gradFill>
                <a:effectLst/>
                <a:uLnTx/>
                <a:uFillTx/>
                <a:latin typeface="Segoe Sans Display Semibold"/>
                <a:ea typeface="+mn-ea"/>
                <a:cs typeface="Segoe Sans Display Semibold"/>
              </a:rPr>
              <a:t>Agents*</a:t>
            </a:r>
            <a:endParaRPr kumimoji="0" lang="en-US" sz="1600" b="1" i="0" u="none" strike="noStrike" kern="1200" cap="none" spc="0" normalizeH="0" baseline="0" noProof="0">
              <a:ln>
                <a:noFill/>
              </a:ln>
              <a:gradFill>
                <a:gsLst>
                  <a:gs pos="12844">
                    <a:srgbClr val="291817"/>
                  </a:gs>
                  <a:gs pos="38000">
                    <a:srgbClr val="291817"/>
                  </a:gs>
                </a:gsLst>
                <a:lin ang="13500000" scaled="1"/>
              </a:gradFill>
              <a:effectLst/>
              <a:uLnTx/>
              <a:uFillTx/>
              <a:latin typeface="Segoe Sans Display Semibold" pitchFamily="2" charset="0"/>
              <a:ea typeface="+mn-ea"/>
              <a:cs typeface="Segoe Sans Display Semibold" pitchFamily="2" charset="0"/>
            </a:endParaRPr>
          </a:p>
        </p:txBody>
      </p:sp>
      <p:sp>
        <p:nvSpPr>
          <p:cNvPr id="30" name="Graphic 9">
            <a:extLst>
              <a:ext uri="{FF2B5EF4-FFF2-40B4-BE49-F238E27FC236}">
                <a16:creationId xmlns:a16="http://schemas.microsoft.com/office/drawing/2014/main" id="{035D7B55-C562-D3FA-FDFF-45C40A4C84C6}"/>
              </a:ext>
              <a:ext uri="{C183D7F6-B498-43B3-948B-1728B52AA6E4}">
                <adec:decorative xmlns:adec="http://schemas.microsoft.com/office/drawing/2017/decorative" val="1"/>
              </a:ext>
            </a:extLst>
          </p:cNvPr>
          <p:cNvSpPr>
            <a:spLocks noChangeAspect="1"/>
          </p:cNvSpPr>
          <p:nvPr/>
        </p:nvSpPr>
        <p:spPr>
          <a:xfrm>
            <a:off x="7862052" y="4922314"/>
            <a:ext cx="160713" cy="160713"/>
          </a:xfrm>
          <a:custGeom>
            <a:avLst/>
            <a:gdLst>
              <a:gd name="connsiteX0" fmla="*/ 176213 w 352425"/>
              <a:gd name="connsiteY0" fmla="*/ 0 h 352425"/>
              <a:gd name="connsiteX1" fmla="*/ 190500 w 352425"/>
              <a:gd name="connsiteY1" fmla="*/ 14288 h 352425"/>
              <a:gd name="connsiteX2" fmla="*/ 190500 w 352425"/>
              <a:gd name="connsiteY2" fmla="*/ 161925 h 352425"/>
              <a:gd name="connsiteX3" fmla="*/ 338138 w 352425"/>
              <a:gd name="connsiteY3" fmla="*/ 161925 h 352425"/>
              <a:gd name="connsiteX4" fmla="*/ 352425 w 352425"/>
              <a:gd name="connsiteY4" fmla="*/ 176213 h 352425"/>
              <a:gd name="connsiteX5" fmla="*/ 338138 w 352425"/>
              <a:gd name="connsiteY5" fmla="*/ 190500 h 352425"/>
              <a:gd name="connsiteX6" fmla="*/ 190500 w 352425"/>
              <a:gd name="connsiteY6" fmla="*/ 190500 h 352425"/>
              <a:gd name="connsiteX7" fmla="*/ 190500 w 352425"/>
              <a:gd name="connsiteY7" fmla="*/ 338138 h 352425"/>
              <a:gd name="connsiteX8" fmla="*/ 176213 w 352425"/>
              <a:gd name="connsiteY8" fmla="*/ 352425 h 352425"/>
              <a:gd name="connsiteX9" fmla="*/ 161925 w 352425"/>
              <a:gd name="connsiteY9" fmla="*/ 338138 h 352425"/>
              <a:gd name="connsiteX10" fmla="*/ 161925 w 352425"/>
              <a:gd name="connsiteY10" fmla="*/ 190500 h 352425"/>
              <a:gd name="connsiteX11" fmla="*/ 14288 w 352425"/>
              <a:gd name="connsiteY11" fmla="*/ 190500 h 352425"/>
              <a:gd name="connsiteX12" fmla="*/ 0 w 352425"/>
              <a:gd name="connsiteY12" fmla="*/ 176213 h 352425"/>
              <a:gd name="connsiteX13" fmla="*/ 14288 w 352425"/>
              <a:gd name="connsiteY13" fmla="*/ 161925 h 352425"/>
              <a:gd name="connsiteX14" fmla="*/ 161925 w 352425"/>
              <a:gd name="connsiteY14" fmla="*/ 161925 h 352425"/>
              <a:gd name="connsiteX15" fmla="*/ 161925 w 352425"/>
              <a:gd name="connsiteY15" fmla="*/ 14288 h 352425"/>
              <a:gd name="connsiteX16" fmla="*/ 176213 w 352425"/>
              <a:gd name="connsiteY16"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425" h="352425">
                <a:moveTo>
                  <a:pt x="176213" y="0"/>
                </a:moveTo>
                <a:cubicBezTo>
                  <a:pt x="184118" y="0"/>
                  <a:pt x="190500" y="6382"/>
                  <a:pt x="190500" y="14288"/>
                </a:cubicBezTo>
                <a:lnTo>
                  <a:pt x="190500" y="161925"/>
                </a:lnTo>
                <a:lnTo>
                  <a:pt x="338138" y="161925"/>
                </a:lnTo>
                <a:cubicBezTo>
                  <a:pt x="346043" y="161925"/>
                  <a:pt x="352425" y="168307"/>
                  <a:pt x="352425" y="176213"/>
                </a:cubicBezTo>
                <a:cubicBezTo>
                  <a:pt x="352425" y="184118"/>
                  <a:pt x="346043" y="190500"/>
                  <a:pt x="338138" y="190500"/>
                </a:cubicBezTo>
                <a:lnTo>
                  <a:pt x="190500" y="190500"/>
                </a:lnTo>
                <a:lnTo>
                  <a:pt x="190500" y="338138"/>
                </a:lnTo>
                <a:cubicBezTo>
                  <a:pt x="190500" y="346043"/>
                  <a:pt x="184118" y="352425"/>
                  <a:pt x="176213" y="352425"/>
                </a:cubicBezTo>
                <a:cubicBezTo>
                  <a:pt x="168307" y="352425"/>
                  <a:pt x="161925" y="346043"/>
                  <a:pt x="161925" y="338138"/>
                </a:cubicBezTo>
                <a:lnTo>
                  <a:pt x="161925" y="190500"/>
                </a:lnTo>
                <a:lnTo>
                  <a:pt x="14288" y="190500"/>
                </a:lnTo>
                <a:cubicBezTo>
                  <a:pt x="6382" y="190500"/>
                  <a:pt x="0" y="184118"/>
                  <a:pt x="0" y="176213"/>
                </a:cubicBezTo>
                <a:cubicBezTo>
                  <a:pt x="0" y="168307"/>
                  <a:pt x="6382" y="161925"/>
                  <a:pt x="14288" y="161925"/>
                </a:cubicBezTo>
                <a:lnTo>
                  <a:pt x="161925" y="161925"/>
                </a:lnTo>
                <a:lnTo>
                  <a:pt x="161925" y="14288"/>
                </a:lnTo>
                <a:cubicBezTo>
                  <a:pt x="161925" y="6382"/>
                  <a:pt x="168307" y="0"/>
                  <a:pt x="176213" y="0"/>
                </a:cubicBezTo>
                <a:close/>
              </a:path>
            </a:pathLst>
          </a:custGeom>
          <a:solidFill>
            <a:srgbClr val="291817"/>
          </a:solidFill>
          <a:ln w="0" cap="flat">
            <a:noFill/>
            <a:prstDash val="solid"/>
            <a:miter/>
          </a:ln>
          <a:effectLst/>
        </p:spPr>
        <p:txBody>
          <a:bodyPr rtlCol="0" anchor="ctr"/>
          <a:lstStyle/>
          <a:p>
            <a:pPr marL="0" marR="0" lvl="0" indent="0" algn="l" defTabSz="66439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gradFill>
                <a:gsLst>
                  <a:gs pos="12844">
                    <a:srgbClr val="291817"/>
                  </a:gs>
                  <a:gs pos="58000">
                    <a:srgbClr val="291817"/>
                  </a:gs>
                </a:gsLst>
                <a:path path="circle">
                  <a:fillToRect r="100000" b="100000"/>
                </a:path>
              </a:gradFill>
              <a:effectLst/>
              <a:uLnTx/>
              <a:uFillTx/>
              <a:latin typeface="Segoe Sans Display Semibold" pitchFamily="2" charset="0"/>
              <a:ea typeface="+mn-ea"/>
              <a:cs typeface="Segoe Sans Display Semibold" pitchFamily="2" charset="0"/>
            </a:endParaRPr>
          </a:p>
        </p:txBody>
      </p:sp>
      <p:sp>
        <p:nvSpPr>
          <p:cNvPr id="32" name="Graphic 9">
            <a:extLst>
              <a:ext uri="{FF2B5EF4-FFF2-40B4-BE49-F238E27FC236}">
                <a16:creationId xmlns:a16="http://schemas.microsoft.com/office/drawing/2014/main" id="{F3F8CC45-FD68-DB12-D372-6700312D0D88}"/>
              </a:ext>
              <a:ext uri="{C183D7F6-B498-43B3-948B-1728B52AA6E4}">
                <adec:decorative xmlns:adec="http://schemas.microsoft.com/office/drawing/2017/decorative" val="1"/>
              </a:ext>
            </a:extLst>
          </p:cNvPr>
          <p:cNvSpPr>
            <a:spLocks noChangeAspect="1"/>
          </p:cNvSpPr>
          <p:nvPr/>
        </p:nvSpPr>
        <p:spPr>
          <a:xfrm>
            <a:off x="4319066" y="4922314"/>
            <a:ext cx="160713" cy="160713"/>
          </a:xfrm>
          <a:custGeom>
            <a:avLst/>
            <a:gdLst>
              <a:gd name="connsiteX0" fmla="*/ 176213 w 352425"/>
              <a:gd name="connsiteY0" fmla="*/ 0 h 352425"/>
              <a:gd name="connsiteX1" fmla="*/ 190500 w 352425"/>
              <a:gd name="connsiteY1" fmla="*/ 14288 h 352425"/>
              <a:gd name="connsiteX2" fmla="*/ 190500 w 352425"/>
              <a:gd name="connsiteY2" fmla="*/ 161925 h 352425"/>
              <a:gd name="connsiteX3" fmla="*/ 338138 w 352425"/>
              <a:gd name="connsiteY3" fmla="*/ 161925 h 352425"/>
              <a:gd name="connsiteX4" fmla="*/ 352425 w 352425"/>
              <a:gd name="connsiteY4" fmla="*/ 176213 h 352425"/>
              <a:gd name="connsiteX5" fmla="*/ 338138 w 352425"/>
              <a:gd name="connsiteY5" fmla="*/ 190500 h 352425"/>
              <a:gd name="connsiteX6" fmla="*/ 190500 w 352425"/>
              <a:gd name="connsiteY6" fmla="*/ 190500 h 352425"/>
              <a:gd name="connsiteX7" fmla="*/ 190500 w 352425"/>
              <a:gd name="connsiteY7" fmla="*/ 338138 h 352425"/>
              <a:gd name="connsiteX8" fmla="*/ 176213 w 352425"/>
              <a:gd name="connsiteY8" fmla="*/ 352425 h 352425"/>
              <a:gd name="connsiteX9" fmla="*/ 161925 w 352425"/>
              <a:gd name="connsiteY9" fmla="*/ 338138 h 352425"/>
              <a:gd name="connsiteX10" fmla="*/ 161925 w 352425"/>
              <a:gd name="connsiteY10" fmla="*/ 190500 h 352425"/>
              <a:gd name="connsiteX11" fmla="*/ 14288 w 352425"/>
              <a:gd name="connsiteY11" fmla="*/ 190500 h 352425"/>
              <a:gd name="connsiteX12" fmla="*/ 0 w 352425"/>
              <a:gd name="connsiteY12" fmla="*/ 176213 h 352425"/>
              <a:gd name="connsiteX13" fmla="*/ 14288 w 352425"/>
              <a:gd name="connsiteY13" fmla="*/ 161925 h 352425"/>
              <a:gd name="connsiteX14" fmla="*/ 161925 w 352425"/>
              <a:gd name="connsiteY14" fmla="*/ 161925 h 352425"/>
              <a:gd name="connsiteX15" fmla="*/ 161925 w 352425"/>
              <a:gd name="connsiteY15" fmla="*/ 14288 h 352425"/>
              <a:gd name="connsiteX16" fmla="*/ 176213 w 352425"/>
              <a:gd name="connsiteY16" fmla="*/ 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425" h="352425">
                <a:moveTo>
                  <a:pt x="176213" y="0"/>
                </a:moveTo>
                <a:cubicBezTo>
                  <a:pt x="184118" y="0"/>
                  <a:pt x="190500" y="6382"/>
                  <a:pt x="190500" y="14288"/>
                </a:cubicBezTo>
                <a:lnTo>
                  <a:pt x="190500" y="161925"/>
                </a:lnTo>
                <a:lnTo>
                  <a:pt x="338138" y="161925"/>
                </a:lnTo>
                <a:cubicBezTo>
                  <a:pt x="346043" y="161925"/>
                  <a:pt x="352425" y="168307"/>
                  <a:pt x="352425" y="176213"/>
                </a:cubicBezTo>
                <a:cubicBezTo>
                  <a:pt x="352425" y="184118"/>
                  <a:pt x="346043" y="190500"/>
                  <a:pt x="338138" y="190500"/>
                </a:cubicBezTo>
                <a:lnTo>
                  <a:pt x="190500" y="190500"/>
                </a:lnTo>
                <a:lnTo>
                  <a:pt x="190500" y="338138"/>
                </a:lnTo>
                <a:cubicBezTo>
                  <a:pt x="190500" y="346043"/>
                  <a:pt x="184118" y="352425"/>
                  <a:pt x="176213" y="352425"/>
                </a:cubicBezTo>
                <a:cubicBezTo>
                  <a:pt x="168307" y="352425"/>
                  <a:pt x="161925" y="346043"/>
                  <a:pt x="161925" y="338138"/>
                </a:cubicBezTo>
                <a:lnTo>
                  <a:pt x="161925" y="190500"/>
                </a:lnTo>
                <a:lnTo>
                  <a:pt x="14288" y="190500"/>
                </a:lnTo>
                <a:cubicBezTo>
                  <a:pt x="6382" y="190500"/>
                  <a:pt x="0" y="184118"/>
                  <a:pt x="0" y="176213"/>
                </a:cubicBezTo>
                <a:cubicBezTo>
                  <a:pt x="0" y="168307"/>
                  <a:pt x="6382" y="161925"/>
                  <a:pt x="14288" y="161925"/>
                </a:cubicBezTo>
                <a:lnTo>
                  <a:pt x="161925" y="161925"/>
                </a:lnTo>
                <a:lnTo>
                  <a:pt x="161925" y="14288"/>
                </a:lnTo>
                <a:cubicBezTo>
                  <a:pt x="161925" y="6382"/>
                  <a:pt x="168307" y="0"/>
                  <a:pt x="176213" y="0"/>
                </a:cubicBezTo>
                <a:close/>
              </a:path>
            </a:pathLst>
          </a:custGeom>
          <a:solidFill>
            <a:srgbClr val="291817"/>
          </a:solidFill>
          <a:ln w="0" cap="flat">
            <a:noFill/>
            <a:prstDash val="solid"/>
            <a:miter/>
          </a:ln>
          <a:effectLst/>
        </p:spPr>
        <p:txBody>
          <a:bodyPr rtlCol="0" anchor="ctr"/>
          <a:lstStyle/>
          <a:p>
            <a:pPr marL="0" marR="0" lvl="0" indent="0" algn="l" defTabSz="664393" rtl="0" eaLnBrk="1" fontAlgn="auto" latinLnBrk="0" hangingPunct="1">
              <a:lnSpc>
                <a:spcPct val="100000"/>
              </a:lnSpc>
              <a:spcBef>
                <a:spcPts val="0"/>
              </a:spcBef>
              <a:spcAft>
                <a:spcPts val="0"/>
              </a:spcAft>
              <a:buClrTx/>
              <a:buSzTx/>
              <a:buFontTx/>
              <a:buNone/>
              <a:tabLst/>
              <a:defRPr/>
            </a:pPr>
            <a:endParaRPr kumimoji="0" lang="en-US" sz="3349" b="0" i="0" u="none" strike="noStrike" kern="1200" cap="none" spc="0" normalizeH="0" baseline="0" noProof="0">
              <a:ln>
                <a:noFill/>
              </a:ln>
              <a:gradFill>
                <a:gsLst>
                  <a:gs pos="12844">
                    <a:srgbClr val="291817"/>
                  </a:gs>
                  <a:gs pos="58000">
                    <a:srgbClr val="291817"/>
                  </a:gs>
                </a:gsLst>
                <a:path path="circle">
                  <a:fillToRect r="100000" b="100000"/>
                </a:path>
              </a:gradFill>
              <a:effectLst/>
              <a:uLnTx/>
              <a:uFillTx/>
              <a:latin typeface="Segoe Sans Display Semibold" pitchFamily="2" charset="0"/>
              <a:ea typeface="+mn-ea"/>
              <a:cs typeface="Segoe Sans Display Semibold" pitchFamily="2" charset="0"/>
            </a:endParaRPr>
          </a:p>
        </p:txBody>
      </p:sp>
      <p:grpSp>
        <p:nvGrpSpPr>
          <p:cNvPr id="5" name="Group 4">
            <a:extLst>
              <a:ext uri="{FF2B5EF4-FFF2-40B4-BE49-F238E27FC236}">
                <a16:creationId xmlns:a16="http://schemas.microsoft.com/office/drawing/2014/main" id="{003BAE74-BE87-9739-19B8-977542F0A273}"/>
              </a:ext>
            </a:extLst>
          </p:cNvPr>
          <p:cNvGrpSpPr>
            <a:grpSpLocks noChangeAspect="1"/>
          </p:cNvGrpSpPr>
          <p:nvPr/>
        </p:nvGrpSpPr>
        <p:grpSpPr>
          <a:xfrm>
            <a:off x="1353047" y="3002144"/>
            <a:ext cx="2682938" cy="1557750"/>
            <a:chOff x="879883" y="3216750"/>
            <a:chExt cx="2404404" cy="1398393"/>
          </a:xfrm>
        </p:grpSpPr>
        <p:pic>
          <p:nvPicPr>
            <p:cNvPr id="3" name="Picture 2">
              <a:extLst>
                <a:ext uri="{FF2B5EF4-FFF2-40B4-BE49-F238E27FC236}">
                  <a16:creationId xmlns:a16="http://schemas.microsoft.com/office/drawing/2014/main" id="{E1E62502-3C6A-E108-3C47-7A0FD2FDEDCD}"/>
                </a:ext>
              </a:extLst>
            </p:cNvPr>
            <p:cNvPicPr>
              <a:picLocks noChangeAspect="1"/>
            </p:cNvPicPr>
            <p:nvPr/>
          </p:nvPicPr>
          <p:blipFill>
            <a:blip r:embed="rId5">
              <a:extLst>
                <a:ext uri="{28A0092B-C50C-407E-A947-70E740481C1C}">
                  <a14:useLocalDpi xmlns:a14="http://schemas.microsoft.com/office/drawing/2010/main" val="0"/>
                </a:ext>
              </a:extLst>
            </a:blip>
            <a:srcRect t="3597" b="3597"/>
            <a:stretch/>
          </p:blipFill>
          <p:spPr>
            <a:xfrm>
              <a:off x="879883" y="3216750"/>
              <a:ext cx="2279162" cy="1266675"/>
            </a:xfrm>
            <a:prstGeom prst="roundRect">
              <a:avLst>
                <a:gd name="adj" fmla="val 4418"/>
              </a:avLst>
            </a:prstGeom>
            <a:effectLst>
              <a:outerShdw blurRad="127000" dist="63500" dir="2700000" algn="tl" rotWithShape="0">
                <a:srgbClr val="291817">
                  <a:alpha val="20000"/>
                </a:srgbClr>
              </a:outerShdw>
            </a:effectLst>
          </p:spPr>
        </p:pic>
        <p:pic>
          <p:nvPicPr>
            <p:cNvPr id="4" name="Picture 3">
              <a:extLst>
                <a:ext uri="{FF2B5EF4-FFF2-40B4-BE49-F238E27FC236}">
                  <a16:creationId xmlns:a16="http://schemas.microsoft.com/office/drawing/2014/main" id="{3A18C789-04C8-F626-FB51-0E4761BF2AD7}"/>
                </a:ext>
              </a:extLst>
            </p:cNvPr>
            <p:cNvPicPr>
              <a:picLocks noChangeAspect="1"/>
            </p:cNvPicPr>
            <p:nvPr/>
          </p:nvPicPr>
          <p:blipFill>
            <a:blip r:embed="rId6"/>
            <a:srcRect l="12841" t="3609" r="13824" b="10147"/>
            <a:stretch/>
          </p:blipFill>
          <p:spPr>
            <a:xfrm>
              <a:off x="2768603" y="3474499"/>
              <a:ext cx="515684" cy="1140644"/>
            </a:xfrm>
            <a:prstGeom prst="roundRect">
              <a:avLst>
                <a:gd name="adj" fmla="val 9561"/>
              </a:avLst>
            </a:prstGeom>
            <a:ln w="19050">
              <a:solidFill>
                <a:schemeClr val="tx1"/>
              </a:solidFill>
            </a:ln>
            <a:effectLst>
              <a:outerShdw blurRad="50800" dist="38100" dir="2700000" algn="ctr" rotWithShape="0">
                <a:srgbClr val="000000">
                  <a:alpha val="15000"/>
                </a:srgbClr>
              </a:outerShdw>
            </a:effectLst>
          </p:spPr>
        </p:pic>
      </p:grpSp>
      <p:sp>
        <p:nvSpPr>
          <p:cNvPr id="2" name="TextBox 1">
            <a:extLst>
              <a:ext uri="{FF2B5EF4-FFF2-40B4-BE49-F238E27FC236}">
                <a16:creationId xmlns:a16="http://schemas.microsoft.com/office/drawing/2014/main" id="{DD99F00E-B9DB-8E75-88C1-BDE244C455B1}"/>
              </a:ext>
            </a:extLst>
          </p:cNvPr>
          <p:cNvSpPr txBox="1"/>
          <p:nvPr/>
        </p:nvSpPr>
        <p:spPr>
          <a:xfrm>
            <a:off x="1322916" y="5130204"/>
            <a:ext cx="27432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t>Free, secure AI chat –</a:t>
            </a:r>
          </a:p>
          <a:p>
            <a:pPr algn="ctr"/>
            <a:r>
              <a:rPr lang="en-US" sz="1100"/>
              <a:t> powered by GPT 4o and web grounded </a:t>
            </a:r>
            <a:endParaRPr lang="en-US"/>
          </a:p>
        </p:txBody>
      </p:sp>
      <p:sp>
        <p:nvSpPr>
          <p:cNvPr id="6" name="TextBox 5">
            <a:extLst>
              <a:ext uri="{FF2B5EF4-FFF2-40B4-BE49-F238E27FC236}">
                <a16:creationId xmlns:a16="http://schemas.microsoft.com/office/drawing/2014/main" id="{56BF2419-3A50-5D1D-7453-28CC6508AFF7}"/>
              </a:ext>
            </a:extLst>
          </p:cNvPr>
          <p:cNvSpPr txBox="1"/>
          <p:nvPr/>
        </p:nvSpPr>
        <p:spPr>
          <a:xfrm>
            <a:off x="4729097" y="5130204"/>
            <a:ext cx="27432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t>Integrated into the chat experience and paid for on a consumption basis</a:t>
            </a:r>
            <a:endParaRPr lang="en-US"/>
          </a:p>
        </p:txBody>
      </p:sp>
      <p:sp>
        <p:nvSpPr>
          <p:cNvPr id="9" name="TextBox 8">
            <a:extLst>
              <a:ext uri="{FF2B5EF4-FFF2-40B4-BE49-F238E27FC236}">
                <a16:creationId xmlns:a16="http://schemas.microsoft.com/office/drawing/2014/main" id="{2B4DE610-E040-0ACD-C35C-AD871B69D304}"/>
              </a:ext>
            </a:extLst>
          </p:cNvPr>
          <p:cNvSpPr txBox="1"/>
          <p:nvPr/>
        </p:nvSpPr>
        <p:spPr>
          <a:xfrm>
            <a:off x="8087375" y="5130204"/>
            <a:ext cx="291046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100"/>
              <a:t>Enterprise Data Protection </a:t>
            </a:r>
            <a:endParaRPr lang="en-US"/>
          </a:p>
          <a:p>
            <a:pPr algn="ctr"/>
            <a:r>
              <a:rPr lang="en-US" sz="1100"/>
              <a:t>and agent management</a:t>
            </a:r>
            <a:endParaRPr lang="en-US" sz="1750"/>
          </a:p>
        </p:txBody>
      </p:sp>
      <p:pic>
        <p:nvPicPr>
          <p:cNvPr id="10" name="Picture 9" descr="A screenshot of a computer&#10;&#10;Description automatically generated">
            <a:extLst>
              <a:ext uri="{FF2B5EF4-FFF2-40B4-BE49-F238E27FC236}">
                <a16:creationId xmlns:a16="http://schemas.microsoft.com/office/drawing/2014/main" id="{28903B99-F8B2-02C4-ACED-9F5AE1F72AAF}"/>
              </a:ext>
            </a:extLst>
          </p:cNvPr>
          <p:cNvPicPr>
            <a:picLocks noChangeAspect="1"/>
          </p:cNvPicPr>
          <p:nvPr/>
        </p:nvPicPr>
        <p:blipFill>
          <a:blip r:embed="rId7">
            <a:extLst>
              <a:ext uri="{28A0092B-C50C-407E-A947-70E740481C1C}">
                <a14:useLocalDpi xmlns:a14="http://schemas.microsoft.com/office/drawing/2010/main" val="0"/>
              </a:ext>
            </a:extLst>
          </a:blip>
          <a:srcRect t="91" b="91"/>
          <a:stretch>
            <a:fillRect/>
          </a:stretch>
        </p:blipFill>
        <p:spPr bwMode="auto">
          <a:xfrm>
            <a:off x="8364942" y="2964191"/>
            <a:ext cx="2355335" cy="1564206"/>
          </a:xfrm>
          <a:prstGeom prst="rect">
            <a:avLst/>
          </a:prstGeom>
          <a:noFill/>
          <a:ln>
            <a:solidFill>
              <a:schemeClr val="bg1">
                <a:lumMod val="75000"/>
              </a:schemeClr>
            </a:solidFill>
          </a:ln>
          <a:effectLst>
            <a:outerShdw blurRad="254000" dist="254000" dir="2700000" algn="ctr" rotWithShape="0">
              <a:srgbClr val="000000">
                <a:alpha val="15000"/>
              </a:srgbClr>
            </a:outerShdw>
          </a:effectLst>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5A0C5A65-0557-1A17-BB53-9786F8456AD3}"/>
              </a:ext>
            </a:extLst>
          </p:cNvPr>
          <p:cNvSpPr txBox="1"/>
          <p:nvPr/>
        </p:nvSpPr>
        <p:spPr>
          <a:xfrm>
            <a:off x="737191" y="6407888"/>
            <a:ext cx="10774325" cy="169277"/>
          </a:xfrm>
          <a:prstGeom prst="rect">
            <a:avLst/>
          </a:prstGeom>
          <a:noFill/>
        </p:spPr>
        <p:txBody>
          <a:bodyPr wrap="square" lIns="0" tIns="0" rIns="0" bIns="0" rtlCol="0">
            <a:spAutoFit/>
          </a:bodyPr>
          <a:lstStyle/>
          <a:p>
            <a:pPr algn="l"/>
            <a:r>
              <a:rPr lang="en-US" sz="1100"/>
              <a:t>* Usage limits apply; agents with work grounding are metered and require an active Copilot Studio subscription</a:t>
            </a:r>
          </a:p>
        </p:txBody>
      </p:sp>
    </p:spTree>
    <p:extLst>
      <p:ext uri="{BB962C8B-B14F-4D97-AF65-F5344CB8AC3E}">
        <p14:creationId xmlns:p14="http://schemas.microsoft.com/office/powerpoint/2010/main" val="429334644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0E0F2D-9A0D-3715-DF49-B57B3E05FB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B016F8-D10F-F396-3831-F7DB9DCABBF2}"/>
              </a:ext>
            </a:extLst>
          </p:cNvPr>
          <p:cNvSpPr>
            <a:spLocks noGrp="1"/>
          </p:cNvSpPr>
          <p:nvPr>
            <p:ph type="title"/>
          </p:nvPr>
        </p:nvSpPr>
        <p:spPr>
          <a:xfrm>
            <a:off x="586740" y="457200"/>
            <a:ext cx="11018520" cy="492443"/>
          </a:xfrm>
        </p:spPr>
        <p:txBody>
          <a:bodyPr/>
          <a:lstStyle/>
          <a:p>
            <a:pPr algn="ctr"/>
            <a:r>
              <a:rPr lang="en-US" sz="3200">
                <a:solidFill>
                  <a:schemeClr val="tx1"/>
                </a:solidFill>
              </a:rPr>
              <a:t>Enabling agents in Microsoft 365 Copilot Chat</a:t>
            </a:r>
          </a:p>
        </p:txBody>
      </p:sp>
      <p:sp>
        <p:nvSpPr>
          <p:cNvPr id="3" name="TextBox 2">
            <a:extLst>
              <a:ext uri="{FF2B5EF4-FFF2-40B4-BE49-F238E27FC236}">
                <a16:creationId xmlns:a16="http://schemas.microsoft.com/office/drawing/2014/main" id="{796F7AEC-0DC3-C419-674A-7EB3DF1A9BA2}"/>
              </a:ext>
            </a:extLst>
          </p:cNvPr>
          <p:cNvSpPr txBox="1"/>
          <p:nvPr/>
        </p:nvSpPr>
        <p:spPr>
          <a:xfrm>
            <a:off x="995679" y="1235002"/>
            <a:ext cx="10190480" cy="646331"/>
          </a:xfrm>
          <a:prstGeom prst="rect">
            <a:avLst/>
          </a:prstGeom>
          <a:noFill/>
        </p:spPr>
        <p:txBody>
          <a:bodyPr wrap="square">
            <a:spAutoFit/>
          </a:bodyPr>
          <a:lstStyle/>
          <a:p>
            <a:pPr algn="ctr"/>
            <a:r>
              <a:rPr lang="en-US"/>
              <a:t>Microsoft 365 Copilot Chat has both agents that can be used at no additional cost and </a:t>
            </a:r>
            <a:br>
              <a:rPr lang="en-US"/>
            </a:br>
            <a:r>
              <a:rPr lang="en-US"/>
              <a:t>agents that are billed based on metered consumption.</a:t>
            </a:r>
          </a:p>
        </p:txBody>
      </p:sp>
      <p:grpSp>
        <p:nvGrpSpPr>
          <p:cNvPr id="41" name="Group 40">
            <a:extLst>
              <a:ext uri="{FF2B5EF4-FFF2-40B4-BE49-F238E27FC236}">
                <a16:creationId xmlns:a16="http://schemas.microsoft.com/office/drawing/2014/main" id="{16104351-8ADB-CAD5-A800-6D79E1ED32DF}"/>
              </a:ext>
            </a:extLst>
          </p:cNvPr>
          <p:cNvGrpSpPr/>
          <p:nvPr/>
        </p:nvGrpSpPr>
        <p:grpSpPr>
          <a:xfrm>
            <a:off x="1943424" y="6015180"/>
            <a:ext cx="2988921" cy="427562"/>
            <a:chOff x="2048703" y="5973237"/>
            <a:chExt cx="2988921" cy="427562"/>
          </a:xfrm>
        </p:grpSpPr>
        <p:pic>
          <p:nvPicPr>
            <p:cNvPr id="35" name="Picture 34">
              <a:extLst>
                <a:ext uri="{FF2B5EF4-FFF2-40B4-BE49-F238E27FC236}">
                  <a16:creationId xmlns:a16="http://schemas.microsoft.com/office/drawing/2014/main" id="{BC68FC44-E89B-3564-27C8-2A538F51BFFE}"/>
                </a:ext>
                <a:ext uri="{C183D7F6-B498-43B3-948B-1728B52AA6E4}">
                  <adec:decorative xmlns:adec="http://schemas.microsoft.com/office/drawing/2017/decorative" val="1"/>
                </a:ext>
              </a:extLst>
            </p:cNvPr>
            <p:cNvPicPr>
              <a:picLocks/>
            </p:cNvPicPr>
            <p:nvPr/>
          </p:nvPicPr>
          <p:blipFill>
            <a:blip r:embed="rId3" cstate="screen">
              <a:extLst>
                <a:ext uri="{28A0092B-C50C-407E-A947-70E740481C1C}">
                  <a14:useLocalDpi xmlns:a14="http://schemas.microsoft.com/office/drawing/2010/main"/>
                </a:ext>
              </a:extLst>
            </a:blip>
            <a:srcRect/>
            <a:stretch/>
          </p:blipFill>
          <p:spPr>
            <a:xfrm>
              <a:off x="2500892" y="5994682"/>
              <a:ext cx="406117" cy="406117"/>
            </a:xfrm>
            <a:prstGeom prst="rect">
              <a:avLst/>
            </a:prstGeom>
          </p:spPr>
        </p:pic>
        <p:pic>
          <p:nvPicPr>
            <p:cNvPr id="36" name="Picture 35">
              <a:extLst>
                <a:ext uri="{FF2B5EF4-FFF2-40B4-BE49-F238E27FC236}">
                  <a16:creationId xmlns:a16="http://schemas.microsoft.com/office/drawing/2014/main" id="{5574FEBB-2302-2876-F260-6EADFB8D4A01}"/>
                </a:ext>
                <a:ext uri="{C183D7F6-B498-43B3-948B-1728B52AA6E4}">
                  <adec:decorative xmlns:adec="http://schemas.microsoft.com/office/drawing/2017/decorative" val="1"/>
                </a:ext>
              </a:extLst>
            </p:cNvPr>
            <p:cNvPicPr>
              <a:picLocks/>
            </p:cNvPicPr>
            <p:nvPr/>
          </p:nvPicPr>
          <p:blipFill>
            <a:blip r:embed="rId4" cstate="screen">
              <a:extLst>
                <a:ext uri="{28A0092B-C50C-407E-A947-70E740481C1C}">
                  <a14:useLocalDpi xmlns:a14="http://schemas.microsoft.com/office/drawing/2010/main"/>
                </a:ext>
              </a:extLst>
            </a:blip>
            <a:srcRect/>
            <a:stretch/>
          </p:blipFill>
          <p:spPr>
            <a:xfrm>
              <a:off x="4631507" y="5994682"/>
              <a:ext cx="406117" cy="406117"/>
            </a:xfrm>
            <a:prstGeom prst="rect">
              <a:avLst/>
            </a:prstGeom>
          </p:spPr>
        </p:pic>
        <p:pic>
          <p:nvPicPr>
            <p:cNvPr id="37" name="Picture 36">
              <a:extLst>
                <a:ext uri="{FF2B5EF4-FFF2-40B4-BE49-F238E27FC236}">
                  <a16:creationId xmlns:a16="http://schemas.microsoft.com/office/drawing/2014/main" id="{DC70A3B3-402D-8C2F-75D0-9AE81117C150}"/>
                </a:ext>
                <a:ext uri="{C183D7F6-B498-43B3-948B-1728B52AA6E4}">
                  <adec:decorative xmlns:adec="http://schemas.microsoft.com/office/drawing/2017/decorative" val="1"/>
                </a:ext>
              </a:extLst>
            </p:cNvPr>
            <p:cNvPicPr>
              <a:picLocks/>
            </p:cNvPicPr>
            <p:nvPr/>
          </p:nvPicPr>
          <p:blipFill>
            <a:blip r:embed="rId5" cstate="screen">
              <a:extLst>
                <a:ext uri="{28A0092B-C50C-407E-A947-70E740481C1C}">
                  <a14:useLocalDpi xmlns:a14="http://schemas.microsoft.com/office/drawing/2010/main"/>
                </a:ext>
              </a:extLst>
            </a:blip>
            <a:srcRect/>
            <a:stretch/>
          </p:blipFill>
          <p:spPr>
            <a:xfrm>
              <a:off x="2048703" y="5994682"/>
              <a:ext cx="406117" cy="406117"/>
            </a:xfrm>
            <a:prstGeom prst="rect">
              <a:avLst/>
            </a:prstGeom>
          </p:spPr>
        </p:pic>
        <p:pic>
          <p:nvPicPr>
            <p:cNvPr id="38" name="Picture 37">
              <a:extLst>
                <a:ext uri="{FF2B5EF4-FFF2-40B4-BE49-F238E27FC236}">
                  <a16:creationId xmlns:a16="http://schemas.microsoft.com/office/drawing/2014/main" id="{3702A109-D636-383D-752C-D933D5ECD0F6}"/>
                </a:ext>
                <a:ext uri="{C183D7F6-B498-43B3-948B-1728B52AA6E4}">
                  <adec:decorative xmlns:adec="http://schemas.microsoft.com/office/drawing/2017/decorative" val="1"/>
                </a:ext>
              </a:extLst>
            </p:cNvPr>
            <p:cNvPicPr>
              <a:picLocks/>
            </p:cNvPicPr>
            <p:nvPr/>
          </p:nvPicPr>
          <p:blipFill>
            <a:blip r:embed="rId6" cstate="screen">
              <a:extLst>
                <a:ext uri="{28A0092B-C50C-407E-A947-70E740481C1C}">
                  <a14:useLocalDpi xmlns:a14="http://schemas.microsoft.com/office/drawing/2010/main"/>
                </a:ext>
              </a:extLst>
            </a:blip>
            <a:srcRect/>
            <a:stretch/>
          </p:blipFill>
          <p:spPr>
            <a:xfrm>
              <a:off x="3035219" y="5994682"/>
              <a:ext cx="406117" cy="406117"/>
            </a:xfrm>
            <a:prstGeom prst="rect">
              <a:avLst/>
            </a:prstGeom>
          </p:spPr>
        </p:pic>
        <p:pic>
          <p:nvPicPr>
            <p:cNvPr id="39" name="Picture 38">
              <a:extLst>
                <a:ext uri="{FF2B5EF4-FFF2-40B4-BE49-F238E27FC236}">
                  <a16:creationId xmlns:a16="http://schemas.microsoft.com/office/drawing/2014/main" id="{08F1C32C-0385-B62E-6FDE-B7B101696B46}"/>
                </a:ext>
                <a:ext uri="{C183D7F6-B498-43B3-948B-1728B52AA6E4}">
                  <adec:decorative xmlns:adec="http://schemas.microsoft.com/office/drawing/2017/decorative" val="1"/>
                </a:ext>
              </a:extLst>
            </p:cNvPr>
            <p:cNvPicPr>
              <a:picLocks/>
            </p:cNvPicPr>
            <p:nvPr/>
          </p:nvPicPr>
          <p:blipFill>
            <a:blip r:embed="rId7" cstate="screen">
              <a:extLst>
                <a:ext uri="{28A0092B-C50C-407E-A947-70E740481C1C}">
                  <a14:useLocalDpi xmlns:a14="http://schemas.microsoft.com/office/drawing/2010/main"/>
                </a:ext>
              </a:extLst>
            </a:blip>
            <a:srcRect/>
            <a:stretch/>
          </p:blipFill>
          <p:spPr>
            <a:xfrm>
              <a:off x="4109877" y="5994682"/>
              <a:ext cx="406117" cy="406117"/>
            </a:xfrm>
            <a:prstGeom prst="rect">
              <a:avLst/>
            </a:prstGeom>
          </p:spPr>
        </p:pic>
        <p:pic>
          <p:nvPicPr>
            <p:cNvPr id="40" name="Picture 39">
              <a:extLst>
                <a:ext uri="{FF2B5EF4-FFF2-40B4-BE49-F238E27FC236}">
                  <a16:creationId xmlns:a16="http://schemas.microsoft.com/office/drawing/2014/main" id="{E736376E-EABC-1A77-1780-A2EEF5CDEA3C}"/>
                </a:ext>
                <a:ext uri="{C183D7F6-B498-43B3-948B-1728B52AA6E4}">
                  <adec:decorative xmlns:adec="http://schemas.microsoft.com/office/drawing/2017/decorative" val="1"/>
                </a:ext>
              </a:extLst>
            </p:cNvPr>
            <p:cNvPicPr>
              <a:picLocks/>
            </p:cNvPicPr>
            <p:nvPr/>
          </p:nvPicPr>
          <p:blipFill>
            <a:blip r:embed="rId8" cstate="screen">
              <a:extLst>
                <a:ext uri="{28A0092B-C50C-407E-A947-70E740481C1C}">
                  <a14:useLocalDpi xmlns:a14="http://schemas.microsoft.com/office/drawing/2010/main"/>
                </a:ext>
              </a:extLst>
            </a:blip>
            <a:srcRect/>
            <a:stretch/>
          </p:blipFill>
          <p:spPr>
            <a:xfrm>
              <a:off x="3588247" y="5973237"/>
              <a:ext cx="406117" cy="406117"/>
            </a:xfrm>
            <a:prstGeom prst="rect">
              <a:avLst/>
            </a:prstGeom>
          </p:spPr>
        </p:pic>
      </p:grpSp>
      <p:grpSp>
        <p:nvGrpSpPr>
          <p:cNvPr id="65" name="Group 64">
            <a:extLst>
              <a:ext uri="{FF2B5EF4-FFF2-40B4-BE49-F238E27FC236}">
                <a16:creationId xmlns:a16="http://schemas.microsoft.com/office/drawing/2014/main" id="{88DFAB10-BAA1-7971-D000-15B6322587F7}"/>
              </a:ext>
            </a:extLst>
          </p:cNvPr>
          <p:cNvGrpSpPr/>
          <p:nvPr/>
        </p:nvGrpSpPr>
        <p:grpSpPr>
          <a:xfrm>
            <a:off x="995679" y="2204561"/>
            <a:ext cx="10190480" cy="3564258"/>
            <a:chOff x="995679" y="2204561"/>
            <a:chExt cx="10190480" cy="3564258"/>
          </a:xfrm>
        </p:grpSpPr>
        <p:pic>
          <p:nvPicPr>
            <p:cNvPr id="8" name="Picture 7">
              <a:extLst>
                <a:ext uri="{FF2B5EF4-FFF2-40B4-BE49-F238E27FC236}">
                  <a16:creationId xmlns:a16="http://schemas.microsoft.com/office/drawing/2014/main" id="{A2F03C8B-3061-EEA7-7812-2109056B1CD8}"/>
                </a:ext>
                <a:ext uri="{C183D7F6-B498-43B3-948B-1728B52AA6E4}">
                  <adec:decorative xmlns:adec="http://schemas.microsoft.com/office/drawing/2017/decorative" val="1"/>
                </a:ext>
              </a:extLst>
            </p:cNvPr>
            <p:cNvPicPr>
              <a:picLocks/>
            </p:cNvPicPr>
            <p:nvPr/>
          </p:nvPicPr>
          <p:blipFill rotWithShape="1">
            <a:blip r:embed="rId9">
              <a:alphaModFix amt="45000"/>
            </a:blip>
            <a:srcRect l="7533" t="35613" r="65955" b="15124"/>
            <a:stretch/>
          </p:blipFill>
          <p:spPr>
            <a:xfrm>
              <a:off x="995679" y="2204561"/>
              <a:ext cx="10190480" cy="3564258"/>
            </a:xfrm>
            <a:prstGeom prst="roundRect">
              <a:avLst>
                <a:gd name="adj" fmla="val 4739"/>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grpSp>
          <p:nvGrpSpPr>
            <p:cNvPr id="64" name="Group 63">
              <a:extLst>
                <a:ext uri="{FF2B5EF4-FFF2-40B4-BE49-F238E27FC236}">
                  <a16:creationId xmlns:a16="http://schemas.microsoft.com/office/drawing/2014/main" id="{C23F49E6-FC41-B5F5-4D6A-AFEC8EA4AD34}"/>
                </a:ext>
              </a:extLst>
            </p:cNvPr>
            <p:cNvGrpSpPr/>
            <p:nvPr/>
          </p:nvGrpSpPr>
          <p:grpSpPr>
            <a:xfrm>
              <a:off x="1718456" y="2706297"/>
              <a:ext cx="8755088" cy="2670019"/>
              <a:chOff x="1718456" y="2706297"/>
              <a:chExt cx="8755088" cy="2670019"/>
            </a:xfrm>
          </p:grpSpPr>
          <p:grpSp>
            <p:nvGrpSpPr>
              <p:cNvPr id="63" name="Group 62">
                <a:extLst>
                  <a:ext uri="{FF2B5EF4-FFF2-40B4-BE49-F238E27FC236}">
                    <a16:creationId xmlns:a16="http://schemas.microsoft.com/office/drawing/2014/main" id="{0913C25F-F71D-A16C-CDC3-CAB577FCA1D3}"/>
                  </a:ext>
                </a:extLst>
              </p:cNvPr>
              <p:cNvGrpSpPr/>
              <p:nvPr/>
            </p:nvGrpSpPr>
            <p:grpSpPr>
              <a:xfrm>
                <a:off x="1718456" y="2706297"/>
                <a:ext cx="3937732" cy="2461015"/>
                <a:chOff x="1718456" y="2706297"/>
                <a:chExt cx="3937732" cy="2461015"/>
              </a:xfrm>
            </p:grpSpPr>
            <p:sp>
              <p:nvSpPr>
                <p:cNvPr id="19" name="Rectangle: Rounded Corners 18">
                  <a:extLst>
                    <a:ext uri="{FF2B5EF4-FFF2-40B4-BE49-F238E27FC236}">
                      <a16:creationId xmlns:a16="http://schemas.microsoft.com/office/drawing/2014/main" id="{B305F322-7345-7B3B-EAA5-1871941B3D95}"/>
                    </a:ext>
                  </a:extLst>
                </p:cNvPr>
                <p:cNvSpPr/>
                <p:nvPr/>
              </p:nvSpPr>
              <p:spPr bwMode="auto">
                <a:xfrm>
                  <a:off x="1718456" y="2706297"/>
                  <a:ext cx="3937732" cy="504000"/>
                </a:xfrm>
                <a:prstGeom prst="roundRect">
                  <a:avLst>
                    <a:gd name="adj" fmla="val 21583"/>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Free/Unpaid</a:t>
                  </a:r>
                  <a:endParaRPr lang="en-GB" sz="2000">
                    <a:solidFill>
                      <a:srgbClr val="FFFFFF"/>
                    </a:solidFill>
                    <a:latin typeface="Segoe UI Semibold"/>
                  </a:endParaRPr>
                </a:p>
              </p:txBody>
            </p:sp>
            <p:grpSp>
              <p:nvGrpSpPr>
                <p:cNvPr id="43" name="Group 42">
                  <a:extLst>
                    <a:ext uri="{FF2B5EF4-FFF2-40B4-BE49-F238E27FC236}">
                      <a16:creationId xmlns:a16="http://schemas.microsoft.com/office/drawing/2014/main" id="{F269C1F7-DCD2-1069-2F54-A123E525797D}"/>
                    </a:ext>
                  </a:extLst>
                </p:cNvPr>
                <p:cNvGrpSpPr/>
                <p:nvPr/>
              </p:nvGrpSpPr>
              <p:grpSpPr>
                <a:xfrm>
                  <a:off x="1718456" y="3641223"/>
                  <a:ext cx="3937732" cy="1526089"/>
                  <a:chOff x="1718456" y="3641223"/>
                  <a:chExt cx="3937732" cy="1526089"/>
                </a:xfrm>
              </p:grpSpPr>
              <p:sp>
                <p:nvSpPr>
                  <p:cNvPr id="21" name="TextBox 20">
                    <a:extLst>
                      <a:ext uri="{FF2B5EF4-FFF2-40B4-BE49-F238E27FC236}">
                        <a16:creationId xmlns:a16="http://schemas.microsoft.com/office/drawing/2014/main" id="{846A64A4-A581-58BA-E1E5-6A07AA59EDEC}"/>
                      </a:ext>
                    </a:extLst>
                  </p:cNvPr>
                  <p:cNvSpPr txBox="1"/>
                  <p:nvPr/>
                </p:nvSpPr>
                <p:spPr>
                  <a:xfrm>
                    <a:off x="2056188" y="3641223"/>
                    <a:ext cx="3600000" cy="152608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solidFill>
                          <a:srgbClr val="FFFFFF"/>
                        </a:solidFill>
                        <a:latin typeface="Segoe UI Semibold"/>
                      </a:defRPr>
                    </a:lvl1pPr>
                  </a:lstStyle>
                  <a:p>
                    <a:pPr algn="l"/>
                    <a:r>
                      <a:rPr lang="en-US" sz="1600">
                        <a:solidFill>
                          <a:schemeClr val="tx1"/>
                        </a:solidFill>
                        <a:latin typeface="+mn-lt"/>
                      </a:rPr>
                      <a:t>Grounded in Instructions and/or </a:t>
                    </a:r>
                    <a:br>
                      <a:rPr lang="en-US" sz="1600">
                        <a:solidFill>
                          <a:schemeClr val="tx1"/>
                        </a:solidFill>
                        <a:latin typeface="+mn-lt"/>
                      </a:rPr>
                    </a:br>
                    <a:r>
                      <a:rPr lang="en-US" sz="1600">
                        <a:solidFill>
                          <a:schemeClr val="tx1"/>
                        </a:solidFill>
                        <a:latin typeface="+mn-lt"/>
                      </a:rPr>
                      <a:t>public websites</a:t>
                    </a:r>
                  </a:p>
                  <a:p>
                    <a:pPr algn="l"/>
                    <a:endParaRPr lang="en-US" sz="1600">
                      <a:solidFill>
                        <a:schemeClr val="tx1"/>
                      </a:solidFill>
                      <a:latin typeface="+mn-lt"/>
                    </a:endParaRPr>
                  </a:p>
                  <a:p>
                    <a:pPr algn="l"/>
                    <a:r>
                      <a:rPr lang="en-US" sz="1600">
                        <a:solidFill>
                          <a:schemeClr val="tx1"/>
                        </a:solidFill>
                        <a:latin typeface="+mn-lt"/>
                      </a:rPr>
                      <a:t>Available by default</a:t>
                    </a:r>
                  </a:p>
                  <a:p>
                    <a:pPr algn="l"/>
                    <a:endParaRPr lang="en-US" sz="1600">
                      <a:solidFill>
                        <a:schemeClr val="tx1"/>
                      </a:solidFill>
                      <a:latin typeface="+mn-lt"/>
                    </a:endParaRPr>
                  </a:p>
                  <a:p>
                    <a:pPr algn="l"/>
                    <a:r>
                      <a:rPr lang="en-US" sz="1600">
                        <a:solidFill>
                          <a:schemeClr val="tx1"/>
                        </a:solidFill>
                        <a:latin typeface="+mn-lt"/>
                      </a:rPr>
                      <a:t>No additional cost</a:t>
                    </a:r>
                  </a:p>
                </p:txBody>
              </p:sp>
              <p:grpSp>
                <p:nvGrpSpPr>
                  <p:cNvPr id="27" name="Group 26">
                    <a:extLst>
                      <a:ext uri="{FF2B5EF4-FFF2-40B4-BE49-F238E27FC236}">
                        <a16:creationId xmlns:a16="http://schemas.microsoft.com/office/drawing/2014/main" id="{4BCC9888-D3F7-45D7-08CF-4F8F3CDA4225}"/>
                      </a:ext>
                    </a:extLst>
                  </p:cNvPr>
                  <p:cNvGrpSpPr/>
                  <p:nvPr/>
                </p:nvGrpSpPr>
                <p:grpSpPr>
                  <a:xfrm>
                    <a:off x="1718456" y="3706300"/>
                    <a:ext cx="224968" cy="1461012"/>
                    <a:chOff x="7887771" y="3201154"/>
                    <a:chExt cx="224968" cy="1461012"/>
                  </a:xfrm>
                </p:grpSpPr>
                <p:sp>
                  <p:nvSpPr>
                    <p:cNvPr id="28" name="Graphic 21" descr="Badge Tick1 with solid fill">
                      <a:extLst>
                        <a:ext uri="{FF2B5EF4-FFF2-40B4-BE49-F238E27FC236}">
                          <a16:creationId xmlns:a16="http://schemas.microsoft.com/office/drawing/2014/main" id="{EB56FF77-65EF-7079-7745-65795BD68A43}"/>
                        </a:ext>
                      </a:extLst>
                    </p:cNvPr>
                    <p:cNvSpPr/>
                    <p:nvPr/>
                  </p:nvSpPr>
                  <p:spPr>
                    <a:xfrm>
                      <a:off x="7887771" y="3201154"/>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29" name="Graphic 21" descr="Badge Tick1 with solid fill">
                      <a:extLst>
                        <a:ext uri="{FF2B5EF4-FFF2-40B4-BE49-F238E27FC236}">
                          <a16:creationId xmlns:a16="http://schemas.microsoft.com/office/drawing/2014/main" id="{D82F03FF-FEB9-57A3-9218-84301C2227BB}"/>
                        </a:ext>
                      </a:extLst>
                    </p:cNvPr>
                    <p:cNvSpPr/>
                    <p:nvPr/>
                  </p:nvSpPr>
                  <p:spPr>
                    <a:xfrm>
                      <a:off x="7887771" y="3946378"/>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30" name="Graphic 21" descr="Badge Tick1 with solid fill">
                      <a:extLst>
                        <a:ext uri="{FF2B5EF4-FFF2-40B4-BE49-F238E27FC236}">
                          <a16:creationId xmlns:a16="http://schemas.microsoft.com/office/drawing/2014/main" id="{78F57D7C-D9BA-4D3A-3C65-1583CC703A8D}"/>
                        </a:ext>
                      </a:extLst>
                    </p:cNvPr>
                    <p:cNvSpPr/>
                    <p:nvPr/>
                  </p:nvSpPr>
                  <p:spPr>
                    <a:xfrm>
                      <a:off x="7887771" y="4437198"/>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grpSp>
            </p:grpSp>
          </p:grpSp>
          <p:grpSp>
            <p:nvGrpSpPr>
              <p:cNvPr id="62" name="Group 61">
                <a:extLst>
                  <a:ext uri="{FF2B5EF4-FFF2-40B4-BE49-F238E27FC236}">
                    <a16:creationId xmlns:a16="http://schemas.microsoft.com/office/drawing/2014/main" id="{C23DDA3C-555E-6B7D-EC63-C65D24A53AB6}"/>
                  </a:ext>
                </a:extLst>
              </p:cNvPr>
              <p:cNvGrpSpPr/>
              <p:nvPr/>
            </p:nvGrpSpPr>
            <p:grpSpPr>
              <a:xfrm>
                <a:off x="6378965" y="2706297"/>
                <a:ext cx="4094579" cy="2670019"/>
                <a:chOff x="6378965" y="2706297"/>
                <a:chExt cx="4094579" cy="2670019"/>
              </a:xfrm>
            </p:grpSpPr>
            <p:sp>
              <p:nvSpPr>
                <p:cNvPr id="12" name="Rectangle: Rounded Corners 11">
                  <a:extLst>
                    <a:ext uri="{FF2B5EF4-FFF2-40B4-BE49-F238E27FC236}">
                      <a16:creationId xmlns:a16="http://schemas.microsoft.com/office/drawing/2014/main" id="{F96917E0-0C3F-23E9-4227-B157FB924D29}"/>
                    </a:ext>
                  </a:extLst>
                </p:cNvPr>
                <p:cNvSpPr/>
                <p:nvPr/>
              </p:nvSpPr>
              <p:spPr bwMode="auto">
                <a:xfrm>
                  <a:off x="6378965" y="2706297"/>
                  <a:ext cx="4052471" cy="504000"/>
                </a:xfrm>
                <a:prstGeom prst="roundRect">
                  <a:avLst>
                    <a:gd name="adj" fmla="val 21583"/>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Paid/Metered</a:t>
                  </a:r>
                  <a:endParaRPr lang="en-GB" sz="2000">
                    <a:solidFill>
                      <a:srgbClr val="FFFFFF"/>
                    </a:solidFill>
                    <a:latin typeface="Segoe UI Semibold"/>
                  </a:endParaRPr>
                </a:p>
              </p:txBody>
            </p:sp>
            <p:grpSp>
              <p:nvGrpSpPr>
                <p:cNvPr id="56" name="Group 55">
                  <a:extLst>
                    <a:ext uri="{FF2B5EF4-FFF2-40B4-BE49-F238E27FC236}">
                      <a16:creationId xmlns:a16="http://schemas.microsoft.com/office/drawing/2014/main" id="{96B42532-53CC-4FB6-4B48-368EA440A6B2}"/>
                    </a:ext>
                  </a:extLst>
                </p:cNvPr>
                <p:cNvGrpSpPr/>
                <p:nvPr/>
              </p:nvGrpSpPr>
              <p:grpSpPr>
                <a:xfrm>
                  <a:off x="6378965" y="3637095"/>
                  <a:ext cx="4094579" cy="1739221"/>
                  <a:chOff x="1718456" y="3641223"/>
                  <a:chExt cx="4094579" cy="1739221"/>
                </a:xfrm>
              </p:grpSpPr>
              <p:sp>
                <p:nvSpPr>
                  <p:cNvPr id="57" name="TextBox 56">
                    <a:extLst>
                      <a:ext uri="{FF2B5EF4-FFF2-40B4-BE49-F238E27FC236}">
                        <a16:creationId xmlns:a16="http://schemas.microsoft.com/office/drawing/2014/main" id="{B5BC6A53-03FF-E06E-F5D8-E0A4AC487666}"/>
                      </a:ext>
                    </a:extLst>
                  </p:cNvPr>
                  <p:cNvSpPr txBox="1"/>
                  <p:nvPr/>
                </p:nvSpPr>
                <p:spPr>
                  <a:xfrm>
                    <a:off x="2056188" y="3641223"/>
                    <a:ext cx="3756847" cy="1526089"/>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solidFill>
                          <a:srgbClr val="FFFFFF"/>
                        </a:solidFill>
                        <a:latin typeface="Segoe UI Semibold"/>
                      </a:defRPr>
                    </a:lvl1pPr>
                  </a:lstStyle>
                  <a:p>
                    <a:pPr algn="l"/>
                    <a:r>
                      <a:rPr lang="en-US" sz="1600">
                        <a:solidFill>
                          <a:schemeClr val="tx1"/>
                        </a:solidFill>
                        <a:latin typeface="+mn-lt"/>
                      </a:rPr>
                      <a:t>Grounded in shared tenant data - SharePoint or Copilot Connector content (former Graph Connector)</a:t>
                    </a:r>
                  </a:p>
                  <a:p>
                    <a:pPr algn="l"/>
                    <a:endParaRPr lang="en-US" sz="1600">
                      <a:solidFill>
                        <a:schemeClr val="tx1"/>
                      </a:solidFill>
                      <a:latin typeface="+mn-lt"/>
                    </a:endParaRPr>
                  </a:p>
                  <a:p>
                    <a:pPr algn="l"/>
                    <a:r>
                      <a:rPr lang="en-US" sz="1600">
                        <a:solidFill>
                          <a:schemeClr val="tx1"/>
                        </a:solidFill>
                        <a:latin typeface="+mn-lt"/>
                      </a:rPr>
                      <a:t>Off by default</a:t>
                    </a:r>
                  </a:p>
                  <a:p>
                    <a:pPr algn="l"/>
                    <a:endParaRPr lang="en-US" sz="1600">
                      <a:solidFill>
                        <a:schemeClr val="tx1"/>
                      </a:solidFill>
                      <a:latin typeface="+mn-lt"/>
                    </a:endParaRPr>
                  </a:p>
                  <a:p>
                    <a:pPr algn="l"/>
                    <a:r>
                      <a:rPr lang="en-US" sz="1600">
                        <a:solidFill>
                          <a:schemeClr val="tx1"/>
                        </a:solidFill>
                        <a:latin typeface="+mn-lt"/>
                      </a:rPr>
                      <a:t>Requires PAYG or Message Packs</a:t>
                    </a:r>
                  </a:p>
                </p:txBody>
              </p:sp>
              <p:grpSp>
                <p:nvGrpSpPr>
                  <p:cNvPr id="58" name="Group 57">
                    <a:extLst>
                      <a:ext uri="{FF2B5EF4-FFF2-40B4-BE49-F238E27FC236}">
                        <a16:creationId xmlns:a16="http://schemas.microsoft.com/office/drawing/2014/main" id="{B3C2970E-B47A-ECC5-9E5D-B93FE6643394}"/>
                      </a:ext>
                    </a:extLst>
                  </p:cNvPr>
                  <p:cNvGrpSpPr/>
                  <p:nvPr/>
                </p:nvGrpSpPr>
                <p:grpSpPr>
                  <a:xfrm>
                    <a:off x="1718456" y="3706300"/>
                    <a:ext cx="224968" cy="1674144"/>
                    <a:chOff x="7887771" y="3201154"/>
                    <a:chExt cx="224968" cy="1674144"/>
                  </a:xfrm>
                </p:grpSpPr>
                <p:sp>
                  <p:nvSpPr>
                    <p:cNvPr id="59" name="Graphic 21" descr="Badge Tick1 with solid fill">
                      <a:extLst>
                        <a:ext uri="{FF2B5EF4-FFF2-40B4-BE49-F238E27FC236}">
                          <a16:creationId xmlns:a16="http://schemas.microsoft.com/office/drawing/2014/main" id="{F3628146-7396-AE62-812B-7C8DBFA8C3AF}"/>
                        </a:ext>
                      </a:extLst>
                    </p:cNvPr>
                    <p:cNvSpPr/>
                    <p:nvPr/>
                  </p:nvSpPr>
                  <p:spPr>
                    <a:xfrm>
                      <a:off x="7887771" y="3201154"/>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60" name="Graphic 21" descr="Badge Tick1 with solid fill">
                      <a:extLst>
                        <a:ext uri="{FF2B5EF4-FFF2-40B4-BE49-F238E27FC236}">
                          <a16:creationId xmlns:a16="http://schemas.microsoft.com/office/drawing/2014/main" id="{BF2786E9-FD1D-8445-4E65-41253C662C3A}"/>
                        </a:ext>
                      </a:extLst>
                    </p:cNvPr>
                    <p:cNvSpPr/>
                    <p:nvPr/>
                  </p:nvSpPr>
                  <p:spPr>
                    <a:xfrm>
                      <a:off x="7887771" y="4159510"/>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61" name="Graphic 21" descr="Badge Tick1 with solid fill">
                      <a:extLst>
                        <a:ext uri="{FF2B5EF4-FFF2-40B4-BE49-F238E27FC236}">
                          <a16:creationId xmlns:a16="http://schemas.microsoft.com/office/drawing/2014/main" id="{02958895-241A-05A0-6394-632F4405F075}"/>
                        </a:ext>
                      </a:extLst>
                    </p:cNvPr>
                    <p:cNvSpPr/>
                    <p:nvPr/>
                  </p:nvSpPr>
                  <p:spPr>
                    <a:xfrm>
                      <a:off x="7887771" y="4650330"/>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grpSp>
            </p:grpSp>
          </p:grpSp>
        </p:grpSp>
      </p:grpSp>
    </p:spTree>
    <p:extLst>
      <p:ext uri="{BB962C8B-B14F-4D97-AF65-F5344CB8AC3E}">
        <p14:creationId xmlns:p14="http://schemas.microsoft.com/office/powerpoint/2010/main" val="80889381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D6DEF-4E4F-C7A2-37CE-49E4E50614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271840-7AB2-0BC8-7756-200A1C1040EC}"/>
              </a:ext>
            </a:extLst>
          </p:cNvPr>
          <p:cNvSpPr>
            <a:spLocks noGrp="1"/>
          </p:cNvSpPr>
          <p:nvPr>
            <p:ph type="title"/>
          </p:nvPr>
        </p:nvSpPr>
        <p:spPr>
          <a:xfrm>
            <a:off x="585216" y="457200"/>
            <a:ext cx="11018520" cy="923330"/>
          </a:xfrm>
        </p:spPr>
        <p:txBody>
          <a:bodyPr/>
          <a:lstStyle/>
          <a:p>
            <a:pPr algn="ctr"/>
            <a:r>
              <a:rPr lang="en-US" sz="3000"/>
              <a:t>Activate Copilot Studio subscription </a:t>
            </a:r>
            <a:br>
              <a:rPr lang="en-US" sz="3000"/>
            </a:br>
            <a:r>
              <a:rPr lang="en-US" sz="3000"/>
              <a:t>to use agents with Microsoft 365 Copilot Chat</a:t>
            </a:r>
          </a:p>
        </p:txBody>
      </p:sp>
      <p:sp>
        <p:nvSpPr>
          <p:cNvPr id="3" name="Freeform: Shape 2">
            <a:extLst>
              <a:ext uri="{FF2B5EF4-FFF2-40B4-BE49-F238E27FC236}">
                <a16:creationId xmlns:a16="http://schemas.microsoft.com/office/drawing/2014/main" id="{E0D57EA7-5D34-2C60-0ACC-0463F41A1C1B}"/>
              </a:ext>
              <a:ext uri="{C183D7F6-B498-43B3-948B-1728B52AA6E4}">
                <adec:decorative xmlns:adec="http://schemas.microsoft.com/office/drawing/2017/decorative" val="1"/>
              </a:ext>
            </a:extLst>
          </p:cNvPr>
          <p:cNvSpPr/>
          <p:nvPr/>
        </p:nvSpPr>
        <p:spPr bwMode="auto">
          <a:xfrm>
            <a:off x="0" y="1719116"/>
            <a:ext cx="4480075" cy="4463319"/>
          </a:xfrm>
          <a:custGeom>
            <a:avLst/>
            <a:gdLst>
              <a:gd name="connsiteX0" fmla="*/ 0 w 4882786"/>
              <a:gd name="connsiteY0" fmla="*/ 0 h 5689600"/>
              <a:gd name="connsiteX1" fmla="*/ 4646481 w 4882786"/>
              <a:gd name="connsiteY1" fmla="*/ 0 h 5689600"/>
              <a:gd name="connsiteX2" fmla="*/ 4882786 w 4882786"/>
              <a:gd name="connsiteY2" fmla="*/ 236305 h 5689600"/>
              <a:gd name="connsiteX3" fmla="*/ 4882786 w 4882786"/>
              <a:gd name="connsiteY3" fmla="*/ 5453295 h 5689600"/>
              <a:gd name="connsiteX4" fmla="*/ 4646481 w 4882786"/>
              <a:gd name="connsiteY4" fmla="*/ 5689600 h 5689600"/>
              <a:gd name="connsiteX5" fmla="*/ 0 w 4882786"/>
              <a:gd name="connsiteY5" fmla="*/ 5689600 h 568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2786" h="5689600">
                <a:moveTo>
                  <a:pt x="0" y="0"/>
                </a:moveTo>
                <a:lnTo>
                  <a:pt x="4646481" y="0"/>
                </a:lnTo>
                <a:cubicBezTo>
                  <a:pt x="4776989" y="0"/>
                  <a:pt x="4882786" y="105797"/>
                  <a:pt x="4882786" y="236305"/>
                </a:cubicBezTo>
                <a:lnTo>
                  <a:pt x="4882786" y="5453295"/>
                </a:lnTo>
                <a:cubicBezTo>
                  <a:pt x="4882786" y="5583803"/>
                  <a:pt x="4776989" y="5689600"/>
                  <a:pt x="4646481" y="5689600"/>
                </a:cubicBezTo>
                <a:lnTo>
                  <a:pt x="0" y="5689600"/>
                </a:lnTo>
                <a:close/>
              </a:path>
            </a:pathLst>
          </a:custGeom>
          <a:solidFill>
            <a:schemeClr val="bg1">
              <a:lumMod val="95000"/>
              <a:alpha val="79000"/>
            </a:schemeClr>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Segoe UI" pitchFamily="34" charset="0"/>
            </a:endParaRPr>
          </a:p>
        </p:txBody>
      </p:sp>
      <p:grpSp>
        <p:nvGrpSpPr>
          <p:cNvPr id="36" name="Group 35">
            <a:extLst>
              <a:ext uri="{FF2B5EF4-FFF2-40B4-BE49-F238E27FC236}">
                <a16:creationId xmlns:a16="http://schemas.microsoft.com/office/drawing/2014/main" id="{A4FABDC3-4387-59C6-BDF6-D9254F18685A}"/>
              </a:ext>
            </a:extLst>
          </p:cNvPr>
          <p:cNvGrpSpPr/>
          <p:nvPr/>
        </p:nvGrpSpPr>
        <p:grpSpPr>
          <a:xfrm>
            <a:off x="588262" y="2219532"/>
            <a:ext cx="3603087" cy="3708708"/>
            <a:chOff x="588262" y="2260697"/>
            <a:chExt cx="3603087" cy="3708708"/>
          </a:xfrm>
        </p:grpSpPr>
        <p:sp>
          <p:nvSpPr>
            <p:cNvPr id="4" name="TextBox 3">
              <a:extLst>
                <a:ext uri="{FF2B5EF4-FFF2-40B4-BE49-F238E27FC236}">
                  <a16:creationId xmlns:a16="http://schemas.microsoft.com/office/drawing/2014/main" id="{3FB04262-A979-2D2E-2EEE-3035FE90298C}"/>
                </a:ext>
              </a:extLst>
            </p:cNvPr>
            <p:cNvSpPr txBox="1">
              <a:spLocks/>
            </p:cNvSpPr>
            <p:nvPr/>
          </p:nvSpPr>
          <p:spPr>
            <a:xfrm>
              <a:off x="588263" y="2260697"/>
              <a:ext cx="3603086" cy="370870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ja-JP" sz="24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Agent</a:t>
              </a:r>
              <a:r>
                <a:rPr kumimoji="0" lang="en-US" sz="2400" b="1" i="0" u="none" strike="noStrike" kern="1200" cap="none" spc="0" normalizeH="0" baseline="0" noProof="0">
                  <a:ln>
                    <a:noFill/>
                  </a:ln>
                  <a:solidFill>
                    <a:srgbClr val="000000"/>
                  </a:solidFill>
                  <a:effectLst/>
                  <a:uLnTx/>
                  <a:uFillTx/>
                  <a:latin typeface="Segoe Sans Display Semibold" pitchFamily="2" charset="0"/>
                  <a:ea typeface="+mn-ea"/>
                  <a:cs typeface="Segoe Sans Display Semibold" pitchFamily="2" charset="0"/>
                </a:rPr>
                <a:t> usage burns “messages”</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Agents use different amounts of messages based on their complexity, frequency of use, and the specific features they us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Burn rate parity across message pack and metered offering (Rate card in next slide)</a:t>
              </a: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Leverage your existing Azure commitments (MACC) </a:t>
              </a:r>
            </a:p>
          </p:txBody>
        </p:sp>
        <p:grpSp>
          <p:nvGrpSpPr>
            <p:cNvPr id="13" name="Group 12">
              <a:extLst>
                <a:ext uri="{FF2B5EF4-FFF2-40B4-BE49-F238E27FC236}">
                  <a16:creationId xmlns:a16="http://schemas.microsoft.com/office/drawing/2014/main" id="{ECA32684-EE18-A8AB-F7F7-54BCF9F82CB9}"/>
                </a:ext>
              </a:extLst>
            </p:cNvPr>
            <p:cNvGrpSpPr/>
            <p:nvPr/>
          </p:nvGrpSpPr>
          <p:grpSpPr>
            <a:xfrm>
              <a:off x="588262" y="4493058"/>
              <a:ext cx="3343657" cy="815104"/>
              <a:chOff x="456248" y="4212238"/>
              <a:chExt cx="3392421" cy="815104"/>
            </a:xfrm>
          </p:grpSpPr>
          <p:cxnSp>
            <p:nvCxnSpPr>
              <p:cNvPr id="5" name="Straight Connector 4">
                <a:extLst>
                  <a:ext uri="{FF2B5EF4-FFF2-40B4-BE49-F238E27FC236}">
                    <a16:creationId xmlns:a16="http://schemas.microsoft.com/office/drawing/2014/main" id="{8BFE0F4B-8E1C-91B6-74FD-20D8CC6F6630}"/>
                  </a:ext>
                  <a:ext uri="{C183D7F6-B498-43B3-948B-1728B52AA6E4}">
                    <adec:decorative xmlns:adec="http://schemas.microsoft.com/office/drawing/2017/decorative" val="1"/>
                  </a:ext>
                </a:extLst>
              </p:cNvPr>
              <p:cNvCxnSpPr>
                <a:cxnSpLocks/>
              </p:cNvCxnSpPr>
              <p:nvPr/>
            </p:nvCxnSpPr>
            <p:spPr>
              <a:xfrm>
                <a:off x="456248" y="4212238"/>
                <a:ext cx="3392421"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BB39E9C-C37C-6884-7D31-C84C3335F0E9}"/>
                  </a:ext>
                  <a:ext uri="{C183D7F6-B498-43B3-948B-1728B52AA6E4}">
                    <adec:decorative xmlns:adec="http://schemas.microsoft.com/office/drawing/2017/decorative" val="1"/>
                  </a:ext>
                </a:extLst>
              </p:cNvPr>
              <p:cNvCxnSpPr>
                <a:cxnSpLocks/>
              </p:cNvCxnSpPr>
              <p:nvPr/>
            </p:nvCxnSpPr>
            <p:spPr>
              <a:xfrm>
                <a:off x="456248" y="5027342"/>
                <a:ext cx="3392421"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15" name="Rectangle: Rounded Corners 14">
            <a:extLst>
              <a:ext uri="{FF2B5EF4-FFF2-40B4-BE49-F238E27FC236}">
                <a16:creationId xmlns:a16="http://schemas.microsoft.com/office/drawing/2014/main" id="{97823157-1B10-6FB5-E040-3E8F0F518A39}"/>
              </a:ext>
              <a:ext uri="{C183D7F6-B498-43B3-948B-1728B52AA6E4}">
                <adec:decorative xmlns:adec="http://schemas.microsoft.com/office/drawing/2017/decorative" val="1"/>
              </a:ext>
            </a:extLst>
          </p:cNvPr>
          <p:cNvSpPr/>
          <p:nvPr/>
        </p:nvSpPr>
        <p:spPr bwMode="auto">
          <a:xfrm>
            <a:off x="4817660" y="2014829"/>
            <a:ext cx="6786076" cy="4156748"/>
          </a:xfrm>
          <a:prstGeom prst="roundRect">
            <a:avLst>
              <a:gd name="adj" fmla="val 6831"/>
            </a:avLst>
          </a:prstGeom>
          <a:solidFill>
            <a:schemeClr val="bg1">
              <a:alpha val="75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a:ea typeface="+mn-ea"/>
              <a:cs typeface="Segoe UI"/>
            </a:endParaRPr>
          </a:p>
        </p:txBody>
      </p:sp>
      <p:cxnSp>
        <p:nvCxnSpPr>
          <p:cNvPr id="16" name="Straight Connector 15">
            <a:extLst>
              <a:ext uri="{FF2B5EF4-FFF2-40B4-BE49-F238E27FC236}">
                <a16:creationId xmlns:a16="http://schemas.microsoft.com/office/drawing/2014/main" id="{3A567B87-7A6E-5F34-36A7-BF56364B4DD9}"/>
              </a:ext>
              <a:ext uri="{C183D7F6-B498-43B3-948B-1728B52AA6E4}">
                <adec:decorative xmlns:adec="http://schemas.microsoft.com/office/drawing/2017/decorative" val="1"/>
              </a:ext>
            </a:extLst>
          </p:cNvPr>
          <p:cNvCxnSpPr>
            <a:cxnSpLocks/>
          </p:cNvCxnSpPr>
          <p:nvPr/>
        </p:nvCxnSpPr>
        <p:spPr>
          <a:xfrm>
            <a:off x="8198461" y="2014829"/>
            <a:ext cx="0" cy="4156748"/>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ounded Rectangle 59">
            <a:extLst>
              <a:ext uri="{FF2B5EF4-FFF2-40B4-BE49-F238E27FC236}">
                <a16:creationId xmlns:a16="http://schemas.microsoft.com/office/drawing/2014/main" id="{07A7533E-1B4A-9D32-4715-8E5473BC999B}"/>
              </a:ext>
            </a:extLst>
          </p:cNvPr>
          <p:cNvSpPr/>
          <p:nvPr/>
        </p:nvSpPr>
        <p:spPr bwMode="auto">
          <a:xfrm>
            <a:off x="5168892" y="2438904"/>
            <a:ext cx="2705634" cy="759665"/>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Message packs</a:t>
            </a:r>
          </a:p>
        </p:txBody>
      </p:sp>
      <p:sp>
        <p:nvSpPr>
          <p:cNvPr id="19" name="Rounded Rectangle 59">
            <a:extLst>
              <a:ext uri="{FF2B5EF4-FFF2-40B4-BE49-F238E27FC236}">
                <a16:creationId xmlns:a16="http://schemas.microsoft.com/office/drawing/2014/main" id="{54E9962B-1DC7-0375-833F-3DA8EC291387}"/>
              </a:ext>
            </a:extLst>
          </p:cNvPr>
          <p:cNvSpPr/>
          <p:nvPr/>
        </p:nvSpPr>
        <p:spPr bwMode="auto">
          <a:xfrm>
            <a:off x="8561930" y="2438904"/>
            <a:ext cx="2705634" cy="759665"/>
          </a:xfrm>
          <a:prstGeom prst="roundRect">
            <a:avLst>
              <a:gd name="adj" fmla="val 50000"/>
            </a:avLst>
          </a:pr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000">
                <a:solidFill>
                  <a:srgbClr val="FFFFFF"/>
                </a:solidFill>
                <a:latin typeface="Segoe UI Semibold"/>
              </a:rPr>
              <a:t>Pay-as-you-go</a:t>
            </a:r>
          </a:p>
        </p:txBody>
      </p:sp>
      <p:grpSp>
        <p:nvGrpSpPr>
          <p:cNvPr id="7" name="Group 6">
            <a:extLst>
              <a:ext uri="{FF2B5EF4-FFF2-40B4-BE49-F238E27FC236}">
                <a16:creationId xmlns:a16="http://schemas.microsoft.com/office/drawing/2014/main" id="{FEA45EBB-14CD-3D21-452C-5BA0241C0005}"/>
              </a:ext>
            </a:extLst>
          </p:cNvPr>
          <p:cNvGrpSpPr/>
          <p:nvPr/>
        </p:nvGrpSpPr>
        <p:grpSpPr>
          <a:xfrm>
            <a:off x="5233843" y="3753884"/>
            <a:ext cx="2575733" cy="1785104"/>
            <a:chOff x="5233843" y="3753884"/>
            <a:chExt cx="2575733" cy="1785104"/>
          </a:xfrm>
        </p:grpSpPr>
        <p:sp>
          <p:nvSpPr>
            <p:cNvPr id="20" name="TextBox 19">
              <a:extLst>
                <a:ext uri="{FF2B5EF4-FFF2-40B4-BE49-F238E27FC236}">
                  <a16:creationId xmlns:a16="http://schemas.microsoft.com/office/drawing/2014/main" id="{D6712C1A-FB14-B487-D97B-BEBB3F05A1FB}"/>
                </a:ext>
              </a:extLst>
            </p:cNvPr>
            <p:cNvSpPr txBox="1"/>
            <p:nvPr/>
          </p:nvSpPr>
          <p:spPr>
            <a:xfrm>
              <a:off x="5571577" y="3753884"/>
              <a:ext cx="2237999" cy="178510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Tenant-wide message pack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25,000 messages/month</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200 per pack/month</a:t>
              </a:r>
              <a:endParaRPr kumimoji="0" lang="en-US" sz="20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p:txBody>
        </p:sp>
        <p:grpSp>
          <p:nvGrpSpPr>
            <p:cNvPr id="6" name="Group 5">
              <a:extLst>
                <a:ext uri="{FF2B5EF4-FFF2-40B4-BE49-F238E27FC236}">
                  <a16:creationId xmlns:a16="http://schemas.microsoft.com/office/drawing/2014/main" id="{9E2583FF-0865-6FDB-4374-80EE13909FB0}"/>
                </a:ext>
              </a:extLst>
            </p:cNvPr>
            <p:cNvGrpSpPr/>
            <p:nvPr/>
          </p:nvGrpSpPr>
          <p:grpSpPr>
            <a:xfrm>
              <a:off x="5233843" y="3783501"/>
              <a:ext cx="224968" cy="1726832"/>
              <a:chOff x="5233843" y="3783501"/>
              <a:chExt cx="224968" cy="1726832"/>
            </a:xfrm>
          </p:grpSpPr>
          <p:sp>
            <p:nvSpPr>
              <p:cNvPr id="23" name="Graphic 21" descr="Badge Tick1 with solid fill">
                <a:extLst>
                  <a:ext uri="{FF2B5EF4-FFF2-40B4-BE49-F238E27FC236}">
                    <a16:creationId xmlns:a16="http://schemas.microsoft.com/office/drawing/2014/main" id="{5993749D-B535-21B0-9E69-5E5188009359}"/>
                  </a:ext>
                </a:extLst>
              </p:cNvPr>
              <p:cNvSpPr/>
              <p:nvPr/>
            </p:nvSpPr>
            <p:spPr>
              <a:xfrm>
                <a:off x="5233843" y="3783501"/>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24" name="Graphic 21" descr="Badge Tick1 with solid fill">
                <a:extLst>
                  <a:ext uri="{FF2B5EF4-FFF2-40B4-BE49-F238E27FC236}">
                    <a16:creationId xmlns:a16="http://schemas.microsoft.com/office/drawing/2014/main" id="{E90A1479-2D05-52D8-9F07-1AA56561B1AF}"/>
                  </a:ext>
                </a:extLst>
              </p:cNvPr>
              <p:cNvSpPr/>
              <p:nvPr/>
            </p:nvSpPr>
            <p:spPr>
              <a:xfrm>
                <a:off x="5233843" y="4645686"/>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25" name="Graphic 21" descr="Badge Tick1 with solid fill">
                <a:extLst>
                  <a:ext uri="{FF2B5EF4-FFF2-40B4-BE49-F238E27FC236}">
                    <a16:creationId xmlns:a16="http://schemas.microsoft.com/office/drawing/2014/main" id="{8760A976-7EC8-06C8-D6C4-B149DAC0AB1E}"/>
                  </a:ext>
                </a:extLst>
              </p:cNvPr>
              <p:cNvSpPr/>
              <p:nvPr/>
            </p:nvSpPr>
            <p:spPr>
              <a:xfrm>
                <a:off x="5233843" y="5285365"/>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grpSp>
      </p:grpSp>
      <p:grpSp>
        <p:nvGrpSpPr>
          <p:cNvPr id="11" name="Group 10">
            <a:extLst>
              <a:ext uri="{FF2B5EF4-FFF2-40B4-BE49-F238E27FC236}">
                <a16:creationId xmlns:a16="http://schemas.microsoft.com/office/drawing/2014/main" id="{6203A327-AFA7-7306-9DAA-3ADE335040DF}"/>
              </a:ext>
            </a:extLst>
          </p:cNvPr>
          <p:cNvGrpSpPr/>
          <p:nvPr/>
        </p:nvGrpSpPr>
        <p:grpSpPr>
          <a:xfrm>
            <a:off x="8626880" y="3876716"/>
            <a:ext cx="2575733" cy="1538883"/>
            <a:chOff x="8626880" y="3876716"/>
            <a:chExt cx="2575733" cy="1538883"/>
          </a:xfrm>
        </p:grpSpPr>
        <p:sp>
          <p:nvSpPr>
            <p:cNvPr id="28" name="TextBox 27">
              <a:extLst>
                <a:ext uri="{FF2B5EF4-FFF2-40B4-BE49-F238E27FC236}">
                  <a16:creationId xmlns:a16="http://schemas.microsoft.com/office/drawing/2014/main" id="{03232943-2B23-4468-8A4B-A3381BB9C006}"/>
                </a:ext>
              </a:extLst>
            </p:cNvPr>
            <p:cNvSpPr txBox="1"/>
            <p:nvPr/>
          </p:nvSpPr>
          <p:spPr>
            <a:xfrm>
              <a:off x="8964614" y="3876716"/>
              <a:ext cx="2237999"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New PAYG mete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0.01/messag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Sans Display" pitchFamily="2" charset="0"/>
                  <a:ea typeface="+mn-ea"/>
                  <a:cs typeface="Segoe Sans Display" pitchFamily="2" charset="0"/>
                </a:rPr>
                <a:t>Can decrement MACC</a:t>
              </a:r>
            </a:p>
          </p:txBody>
        </p:sp>
        <p:grpSp>
          <p:nvGrpSpPr>
            <p:cNvPr id="8" name="Group 7">
              <a:extLst>
                <a:ext uri="{FF2B5EF4-FFF2-40B4-BE49-F238E27FC236}">
                  <a16:creationId xmlns:a16="http://schemas.microsoft.com/office/drawing/2014/main" id="{FF0AE4E4-0561-2E8B-6976-8B823C27E046}"/>
                </a:ext>
              </a:extLst>
            </p:cNvPr>
            <p:cNvGrpSpPr/>
            <p:nvPr/>
          </p:nvGrpSpPr>
          <p:grpSpPr>
            <a:xfrm>
              <a:off x="8626880" y="3906333"/>
              <a:ext cx="224968" cy="1508467"/>
              <a:chOff x="8626880" y="3906333"/>
              <a:chExt cx="224968" cy="1508467"/>
            </a:xfrm>
          </p:grpSpPr>
          <p:sp>
            <p:nvSpPr>
              <p:cNvPr id="29" name="Graphic 21" descr="Badge Tick1 with solid fill">
                <a:extLst>
                  <a:ext uri="{FF2B5EF4-FFF2-40B4-BE49-F238E27FC236}">
                    <a16:creationId xmlns:a16="http://schemas.microsoft.com/office/drawing/2014/main" id="{86850F70-68DD-D2E9-BEAA-1E8FCD119E55}"/>
                  </a:ext>
                </a:extLst>
              </p:cNvPr>
              <p:cNvSpPr/>
              <p:nvPr/>
            </p:nvSpPr>
            <p:spPr>
              <a:xfrm>
                <a:off x="8626880" y="3906333"/>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30" name="Graphic 21" descr="Badge Tick1 with solid fill">
                <a:extLst>
                  <a:ext uri="{FF2B5EF4-FFF2-40B4-BE49-F238E27FC236}">
                    <a16:creationId xmlns:a16="http://schemas.microsoft.com/office/drawing/2014/main" id="{8DBA35B4-17C4-A5C6-4928-C0F92E1260F1}"/>
                  </a:ext>
                </a:extLst>
              </p:cNvPr>
              <p:cNvSpPr/>
              <p:nvPr/>
            </p:nvSpPr>
            <p:spPr>
              <a:xfrm>
                <a:off x="8626880" y="4536502"/>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sp>
            <p:nvSpPr>
              <p:cNvPr id="31" name="Graphic 21" descr="Badge Tick1 with solid fill">
                <a:extLst>
                  <a:ext uri="{FF2B5EF4-FFF2-40B4-BE49-F238E27FC236}">
                    <a16:creationId xmlns:a16="http://schemas.microsoft.com/office/drawing/2014/main" id="{8FD36B9F-EB9B-623D-16B6-C5FCD21489D2}"/>
                  </a:ext>
                </a:extLst>
              </p:cNvPr>
              <p:cNvSpPr/>
              <p:nvPr/>
            </p:nvSpPr>
            <p:spPr>
              <a:xfrm>
                <a:off x="8626880" y="5189832"/>
                <a:ext cx="224968" cy="224968"/>
              </a:xfrm>
              <a:custGeom>
                <a:avLst/>
                <a:gdLst>
                  <a:gd name="connsiteX0" fmla="*/ 112484 w 224968"/>
                  <a:gd name="connsiteY0" fmla="*/ 0 h 224968"/>
                  <a:gd name="connsiteX1" fmla="*/ 0 w 224968"/>
                  <a:gd name="connsiteY1" fmla="*/ 112484 h 224968"/>
                  <a:gd name="connsiteX2" fmla="*/ 112484 w 224968"/>
                  <a:gd name="connsiteY2" fmla="*/ 224969 h 224968"/>
                  <a:gd name="connsiteX3" fmla="*/ 224969 w 224968"/>
                  <a:gd name="connsiteY3" fmla="*/ 112484 h 224968"/>
                  <a:gd name="connsiteX4" fmla="*/ 224969 w 224968"/>
                  <a:gd name="connsiteY4" fmla="*/ 112475 h 224968"/>
                  <a:gd name="connsiteX5" fmla="*/ 112570 w 224968"/>
                  <a:gd name="connsiteY5" fmla="*/ 0 h 224968"/>
                  <a:gd name="connsiteX6" fmla="*/ 112484 w 224968"/>
                  <a:gd name="connsiteY6" fmla="*/ 0 h 224968"/>
                  <a:gd name="connsiteX7" fmla="*/ 139732 w 224968"/>
                  <a:gd name="connsiteY7" fmla="*/ 117857 h 224968"/>
                  <a:gd name="connsiteX8" fmla="*/ 90271 w 224968"/>
                  <a:gd name="connsiteY8" fmla="*/ 167369 h 224968"/>
                  <a:gd name="connsiteX9" fmla="*/ 47889 w 224968"/>
                  <a:gd name="connsiteY9" fmla="*/ 124986 h 224968"/>
                  <a:gd name="connsiteX10" fmla="*/ 62049 w 224968"/>
                  <a:gd name="connsiteY10" fmla="*/ 110826 h 224968"/>
                  <a:gd name="connsiteX11" fmla="*/ 90271 w 224968"/>
                  <a:gd name="connsiteY11" fmla="*/ 139048 h 224968"/>
                  <a:gd name="connsiteX12" fmla="*/ 131143 w 224968"/>
                  <a:gd name="connsiteY12" fmla="*/ 97646 h 224968"/>
                  <a:gd name="connsiteX13" fmla="*/ 166213 w 224968"/>
                  <a:gd name="connsiteY13" fmla="*/ 63020 h 224968"/>
                  <a:gd name="connsiteX14" fmla="*/ 167490 w 224968"/>
                  <a:gd name="connsiteY14" fmla="*/ 61835 h 224968"/>
                  <a:gd name="connsiteX15" fmla="*/ 168675 w 224968"/>
                  <a:gd name="connsiteY15" fmla="*/ 60556 h 224968"/>
                  <a:gd name="connsiteX16" fmla="*/ 183033 w 224968"/>
                  <a:gd name="connsiteY16" fmla="*/ 74716 h 224968"/>
                  <a:gd name="connsiteX17" fmla="*/ 139729 w 224968"/>
                  <a:gd name="connsiteY17" fmla="*/ 117848 h 22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68" h="224968">
                    <a:moveTo>
                      <a:pt x="112484" y="0"/>
                    </a:moveTo>
                    <a:cubicBezTo>
                      <a:pt x="50361" y="0"/>
                      <a:pt x="0" y="50361"/>
                      <a:pt x="0" y="112484"/>
                    </a:cubicBezTo>
                    <a:cubicBezTo>
                      <a:pt x="0" y="174608"/>
                      <a:pt x="50361" y="224969"/>
                      <a:pt x="112484" y="224969"/>
                    </a:cubicBezTo>
                    <a:cubicBezTo>
                      <a:pt x="174608" y="224969"/>
                      <a:pt x="224969" y="174608"/>
                      <a:pt x="224969" y="112484"/>
                    </a:cubicBezTo>
                    <a:cubicBezTo>
                      <a:pt x="224969" y="112481"/>
                      <a:pt x="224969" y="112478"/>
                      <a:pt x="224969" y="112475"/>
                    </a:cubicBezTo>
                    <a:cubicBezTo>
                      <a:pt x="224990" y="50378"/>
                      <a:pt x="174667" y="21"/>
                      <a:pt x="112570" y="0"/>
                    </a:cubicBezTo>
                    <a:cubicBezTo>
                      <a:pt x="112541" y="0"/>
                      <a:pt x="112513" y="0"/>
                      <a:pt x="112484" y="0"/>
                    </a:cubicBezTo>
                    <a:close/>
                    <a:moveTo>
                      <a:pt x="139732" y="117857"/>
                    </a:moveTo>
                    <a:cubicBezTo>
                      <a:pt x="123344" y="134216"/>
                      <a:pt x="106857" y="150720"/>
                      <a:pt x="90271" y="167369"/>
                    </a:cubicBezTo>
                    <a:cubicBezTo>
                      <a:pt x="76177" y="153207"/>
                      <a:pt x="62050" y="139080"/>
                      <a:pt x="47889" y="124986"/>
                    </a:cubicBezTo>
                    <a:lnTo>
                      <a:pt x="62049" y="110826"/>
                    </a:lnTo>
                    <a:lnTo>
                      <a:pt x="90271" y="139048"/>
                    </a:lnTo>
                    <a:cubicBezTo>
                      <a:pt x="103972" y="125150"/>
                      <a:pt x="117596" y="111349"/>
                      <a:pt x="131143" y="97646"/>
                    </a:cubicBezTo>
                    <a:cubicBezTo>
                      <a:pt x="144681" y="83945"/>
                      <a:pt x="152172" y="76591"/>
                      <a:pt x="166213" y="63020"/>
                    </a:cubicBezTo>
                    <a:cubicBezTo>
                      <a:pt x="166607" y="62626"/>
                      <a:pt x="167031" y="62235"/>
                      <a:pt x="167490" y="61835"/>
                    </a:cubicBezTo>
                    <a:cubicBezTo>
                      <a:pt x="167935" y="61458"/>
                      <a:pt x="168333" y="61029"/>
                      <a:pt x="168675" y="60556"/>
                    </a:cubicBezTo>
                    <a:lnTo>
                      <a:pt x="183033" y="74716"/>
                    </a:lnTo>
                    <a:cubicBezTo>
                      <a:pt x="166356" y="91302"/>
                      <a:pt x="156120" y="101490"/>
                      <a:pt x="139729" y="117848"/>
                    </a:cubicBezTo>
                    <a:close/>
                  </a:path>
                </a:pathLst>
              </a:custGeom>
              <a:gradFill flip="none" rotWithShape="1">
                <a:gsLst>
                  <a:gs pos="75000">
                    <a:srgbClr val="0078D4"/>
                  </a:gs>
                  <a:gs pos="50000">
                    <a:srgbClr val="C03BC4"/>
                  </a:gs>
                  <a:gs pos="100000">
                    <a:srgbClr val="14938C"/>
                  </a:gs>
                  <a:gs pos="25000">
                    <a:srgbClr val="F4364C"/>
                  </a:gs>
                  <a:gs pos="0">
                    <a:srgbClr val="FF5C39"/>
                  </a:gs>
                </a:gsLst>
                <a:path path="circle">
                  <a:fillToRect r="100000" b="100000"/>
                </a:path>
                <a:tileRect l="-100000" t="-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rgbClr val="FFFFFF"/>
                  </a:solidFill>
                  <a:latin typeface="Segoe UI Semibold"/>
                </a:endParaRPr>
              </a:p>
            </p:txBody>
          </p:sp>
        </p:grpSp>
      </p:grpSp>
      <p:sp>
        <p:nvSpPr>
          <p:cNvPr id="34" name="Rectangle: Top Corners Rounded 33">
            <a:extLst>
              <a:ext uri="{FF2B5EF4-FFF2-40B4-BE49-F238E27FC236}">
                <a16:creationId xmlns:a16="http://schemas.microsoft.com/office/drawing/2014/main" id="{54B0B586-0810-F30D-07C9-FA59A31ADD1D}"/>
              </a:ext>
            </a:extLst>
          </p:cNvPr>
          <p:cNvSpPr/>
          <p:nvPr/>
        </p:nvSpPr>
        <p:spPr bwMode="auto">
          <a:xfrm>
            <a:off x="10013576" y="1657590"/>
            <a:ext cx="1265237" cy="357240"/>
          </a:xfrm>
          <a:prstGeom prst="round2SameRect">
            <a:avLst>
              <a:gd name="adj1" fmla="val 37471"/>
              <a:gd name="adj2" fmla="val 0"/>
            </a:avLst>
          </a:prstGeom>
          <a:solidFill>
            <a:srgbClr val="0078D4">
              <a:alpha val="20000"/>
            </a:srgbClr>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marL="0" marR="0" lvl="0" indent="0" algn="ctr" defTabSz="932237"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gradFill flip="none" rotWithShape="1">
                <a:gsLst>
                  <a:gs pos="0">
                    <a:srgbClr val="17A9A2"/>
                  </a:gs>
                  <a:gs pos="100000">
                    <a:srgbClr val="00B4D2"/>
                  </a:gs>
                </a:gsLst>
                <a:path path="circle">
                  <a:fillToRect l="100000" t="100000"/>
                </a:path>
                <a:tileRect r="-100000" b="-100000"/>
              </a:gradFill>
              <a:effectLst/>
              <a:uLnTx/>
              <a:uFillTx/>
              <a:latin typeface="Segoe UI Semibold"/>
              <a:ea typeface="+mn-ea"/>
              <a:cs typeface="Segoe Sans Display Semibold" pitchFamily="2" charset="0"/>
            </a:endParaRPr>
          </a:p>
        </p:txBody>
      </p:sp>
      <p:sp>
        <p:nvSpPr>
          <p:cNvPr id="9" name="TextBox 8">
            <a:extLst>
              <a:ext uri="{FF2B5EF4-FFF2-40B4-BE49-F238E27FC236}">
                <a16:creationId xmlns:a16="http://schemas.microsoft.com/office/drawing/2014/main" id="{3A48B98A-C792-35C5-B403-36A8BB663BEC}"/>
              </a:ext>
            </a:extLst>
          </p:cNvPr>
          <p:cNvSpPr txBox="1"/>
          <p:nvPr/>
        </p:nvSpPr>
        <p:spPr>
          <a:xfrm>
            <a:off x="9926322" y="1690867"/>
            <a:ext cx="1427544" cy="307777"/>
          </a:xfrm>
          <a:prstGeom prst="rect">
            <a:avLst/>
          </a:prstGeom>
          <a:no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defPPr>
              <a:defRPr lang="en-US"/>
            </a:defPPr>
            <a:lvl1pPr algn="ctr" defTabSz="932237" fontAlgn="base">
              <a:spcBef>
                <a:spcPct val="0"/>
              </a:spcBef>
              <a:spcAft>
                <a:spcPct val="0"/>
              </a:spcAft>
              <a:defRPr sz="2000" b="1">
                <a:gradFill flip="none" rotWithShape="1">
                  <a:gsLst>
                    <a:gs pos="0">
                      <a:srgbClr val="17A9A2"/>
                    </a:gs>
                    <a:gs pos="100000">
                      <a:srgbClr val="00B4D2"/>
                    </a:gs>
                  </a:gsLst>
                  <a:path path="circle">
                    <a:fillToRect l="100000" t="100000"/>
                  </a:path>
                  <a:tileRect r="-100000" b="-100000"/>
                </a:gradFill>
                <a:latin typeface="+mj-lt"/>
                <a:cs typeface="Segoe Sans Display Semibold" pitchFamily="2"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23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78D4"/>
                </a:solidFill>
                <a:effectLst/>
                <a:uLnTx/>
                <a:uFillTx/>
                <a:latin typeface="Segoe Sans Display Semibold" pitchFamily="2" charset="0"/>
                <a:ea typeface="+mn-ea"/>
                <a:cs typeface="Segoe Sans Display Semibold" pitchFamily="2" charset="0"/>
              </a:rPr>
              <a:t>New!</a:t>
            </a:r>
          </a:p>
        </p:txBody>
      </p:sp>
    </p:spTree>
    <p:extLst>
      <p:ext uri="{BB962C8B-B14F-4D97-AF65-F5344CB8AC3E}">
        <p14:creationId xmlns:p14="http://schemas.microsoft.com/office/powerpoint/2010/main" val="30587699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Modern Work + Purview">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2022-Topics-Template(01).potx" id="{66CD1B14-D672-4DD3-93DF-E33194FF7E00}" vid="{C8138CC8-76A8-4E05-97A6-0CE3F4597308}"/>
    </a:ext>
  </a:extLst>
</a:theme>
</file>

<file path=ppt/theme/theme2.xml><?xml version="1.0" encoding="utf-8"?>
<a:theme xmlns:a="http://schemas.openxmlformats.org/drawingml/2006/main" name="4_Microsoft Build Center Screen Template Dark">
  <a:themeElements>
    <a:clrScheme name="Custom 173">
      <a:dk1>
        <a:srgbClr val="091F2C"/>
      </a:dk1>
      <a:lt1>
        <a:srgbClr val="FFFFFF"/>
      </a:lt1>
      <a:dk2>
        <a:srgbClr val="463668"/>
      </a:dk2>
      <a:lt2>
        <a:srgbClr val="E8E6D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CENTER SCREEN Event-template_v02.potx" id="{55D07950-C8CC-4D03-BD33-87B9F1EDA1A9}" vid="{F66F1AD6-A940-4A14-B334-5B5BB995270C}"/>
    </a:ext>
  </a:extLst>
</a:theme>
</file>

<file path=ppt/theme/theme3.xml><?xml version="1.0" encoding="utf-8"?>
<a:theme xmlns:a="http://schemas.openxmlformats.org/drawingml/2006/main" name="MASTER - Data and AI">
  <a:themeElements>
    <a:clrScheme name="Data &amp; AI Day - Light">
      <a:dk1>
        <a:srgbClr val="080808"/>
      </a:dk1>
      <a:lt1>
        <a:srgbClr val="FFFFFF"/>
      </a:lt1>
      <a:dk2>
        <a:srgbClr val="243A5E"/>
      </a:dk2>
      <a:lt2>
        <a:srgbClr val="E6E6E6"/>
      </a:lt2>
      <a:accent1>
        <a:srgbClr val="0078D4"/>
      </a:accent1>
      <a:accent2>
        <a:srgbClr val="2A446F"/>
      </a:accent2>
      <a:accent3>
        <a:srgbClr val="C03BC4"/>
      </a:accent3>
      <a:accent4>
        <a:srgbClr val="FFB900"/>
      </a:accent4>
      <a:accent5>
        <a:srgbClr val="FF9349"/>
      </a:accent5>
      <a:accent6>
        <a:srgbClr val="9BF00B"/>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Copilot VBDs Template" id="{61528D5A-2FD0-4FC3-8718-710F3DE4EC70}" vid="{70D162E2-BF70-4265-B124-180867F6C5CF}"/>
    </a:ext>
  </a:extLst>
</a:theme>
</file>

<file path=ppt/theme/theme4.xml><?xml version="1.0" encoding="utf-8"?>
<a:theme xmlns:a="http://schemas.openxmlformats.org/drawingml/2006/main" name="3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5.xml><?xml version="1.0" encoding="utf-8"?>
<a:theme xmlns:a="http://schemas.openxmlformats.org/drawingml/2006/main" name="2_Modern Work + Purview">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8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2022-Topics-Template(01).potx" id="{66CD1B14-D672-4DD3-93DF-E33194FF7E00}" vid="{C8138CC8-76A8-4E05-97A6-0CE3F459730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D2BB8FCA7FEB347BAC36A8D039FB81C" ma:contentTypeVersion="14" ma:contentTypeDescription="Create a new document." ma:contentTypeScope="" ma:versionID="8e09b6140fbfd771e83d113f3c1b8681">
  <xsd:schema xmlns:xsd="http://www.w3.org/2001/XMLSchema" xmlns:xs="http://www.w3.org/2001/XMLSchema" xmlns:p="http://schemas.microsoft.com/office/2006/metadata/properties" xmlns:ns1="http://schemas.microsoft.com/sharepoint/v3" xmlns:ns2="6adfd4c8-54de-4fa2-b73e-b86369895801" targetNamespace="http://schemas.microsoft.com/office/2006/metadata/properties" ma:root="true" ma:fieldsID="7ff5ace4da96d55291c0d2e37a220706" ns1:_="" ns2:_="">
    <xsd:import namespace="http://schemas.microsoft.com/sharepoint/v3"/>
    <xsd:import namespace="6adfd4c8-54de-4fa2-b73e-b8636989580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MediaServiceOCR" minOccurs="0"/>
                <xsd:element ref="ns2:lcf76f155ced4ddcb4097134ff3c332f"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dfd4c8-54de-4fa2-b73e-b863698958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BillingMetadata" ma:index="21" nillable="true" ma:displayName="MediaServiceBillingMetadata" ma:hidden="true" ma:internalName="MediaServiceBillingMetadata"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6adfd4c8-54de-4fa2-b73e-b863698958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D889410-729D-40F1-B169-F0BE2026ED69}"/>
</file>

<file path=customXml/itemProps2.xml><?xml version="1.0" encoding="utf-8"?>
<ds:datastoreItem xmlns:ds="http://schemas.openxmlformats.org/officeDocument/2006/customXml" ds:itemID="{CA22B55B-E35A-443C-A8C1-93E98C20B805}">
  <ds:schemaRefs>
    <ds:schemaRef ds:uri="http://schemas.microsoft.com/sharepoint/v3/contenttype/forms"/>
  </ds:schemaRefs>
</ds:datastoreItem>
</file>

<file path=customXml/itemProps3.xml><?xml version="1.0" encoding="utf-8"?>
<ds:datastoreItem xmlns:ds="http://schemas.openxmlformats.org/officeDocument/2006/customXml" ds:itemID="{92B5CE62-859C-4C93-81E7-0B6EFA20F367}">
  <ds:schemaRefs>
    <ds:schemaRef ds:uri="http://purl.org/dc/terms/"/>
    <ds:schemaRef ds:uri="http://schemas.openxmlformats.org/package/2006/metadata/core-properties"/>
    <ds:schemaRef ds:uri="c08ed779-a4f1-465f-898f-eab119a4dae4"/>
    <ds:schemaRef ds:uri="aa941c2b-1bea-4703-b14b-ad58bfe7903e"/>
    <ds:schemaRef ds:uri="http://purl.org/dc/elements/1.1/"/>
    <ds:schemaRef ds:uri="http://schemas.microsoft.com/sharepoint/v3"/>
    <ds:schemaRef ds:uri="http://schemas.microsoft.com/office/2006/documentManagement/types"/>
    <ds:schemaRef ds:uri="http://purl.org/dc/dcmitype/"/>
    <ds:schemaRef ds:uri="http://schemas.microsoft.com/office/infopath/2007/PartnerControl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5</TotalTime>
  <Words>3691</Words>
  <Application>Microsoft Office PowerPoint</Application>
  <PresentationFormat>Widescreen</PresentationFormat>
  <Paragraphs>598</Paragraphs>
  <Slides>52</Slides>
  <Notes>46</Notes>
  <HiddenSlides>3</HiddenSlides>
  <MMClips>0</MMClips>
  <ScaleCrop>false</ScaleCrop>
  <HeadingPairs>
    <vt:vector size="8" baseType="variant">
      <vt:variant>
        <vt:lpstr>Fonts Used</vt:lpstr>
      </vt:variant>
      <vt:variant>
        <vt:i4>20</vt:i4>
      </vt:variant>
      <vt:variant>
        <vt:lpstr>Theme</vt:lpstr>
      </vt:variant>
      <vt:variant>
        <vt:i4>5</vt:i4>
      </vt:variant>
      <vt:variant>
        <vt:lpstr>Embedded OLE Servers</vt:lpstr>
      </vt:variant>
      <vt:variant>
        <vt:i4>1</vt:i4>
      </vt:variant>
      <vt:variant>
        <vt:lpstr>Slide Titles</vt:lpstr>
      </vt:variant>
      <vt:variant>
        <vt:i4>52</vt:i4>
      </vt:variant>
    </vt:vector>
  </HeadingPairs>
  <TitlesOfParts>
    <vt:vector size="78" baseType="lpstr">
      <vt:lpstr>Aptos</vt:lpstr>
      <vt:lpstr>Aptos Display</vt:lpstr>
      <vt:lpstr>Arial</vt:lpstr>
      <vt:lpstr>Arial Black</vt:lpstr>
      <vt:lpstr>Calibri</vt:lpstr>
      <vt:lpstr>Consolas</vt:lpstr>
      <vt:lpstr>Courier New</vt:lpstr>
      <vt:lpstr>McKinsey Sans</vt:lpstr>
      <vt:lpstr>Segoe Sans</vt:lpstr>
      <vt:lpstr>Segoe Sans Display</vt:lpstr>
      <vt:lpstr>Segoe Sans Display Semibold</vt:lpstr>
      <vt:lpstr>Segoe Sans Text</vt:lpstr>
      <vt:lpstr>Segoe UI</vt:lpstr>
      <vt:lpstr>Segoe UI Semibold</vt:lpstr>
      <vt:lpstr>Segoe UI Semibold (Headings)</vt:lpstr>
      <vt:lpstr>Segoe UI Semilight</vt:lpstr>
      <vt:lpstr>Segoe UI Variable Display Semib</vt:lpstr>
      <vt:lpstr>Segoe UI Variable Display Semibold</vt:lpstr>
      <vt:lpstr>Segoe UI Variable Display Semilight</vt:lpstr>
      <vt:lpstr>Wingdings</vt:lpstr>
      <vt:lpstr>1_Modern Work + Purview</vt:lpstr>
      <vt:lpstr>4_Microsoft Build Center Screen Template Dark</vt:lpstr>
      <vt:lpstr>MASTER - Data and AI</vt:lpstr>
      <vt:lpstr>3_Updated Copilot Theme_010524</vt:lpstr>
      <vt:lpstr>2_Modern Work + Purview</vt:lpstr>
      <vt:lpstr>think-cell Slide</vt:lpstr>
      <vt:lpstr>PowerPoint Presentation</vt:lpstr>
      <vt:lpstr>PowerPoint Presentation</vt:lpstr>
      <vt:lpstr>PowerPoint Presentation</vt:lpstr>
      <vt:lpstr>PowerPoint Presentation</vt:lpstr>
      <vt:lpstr>What are Agents</vt:lpstr>
      <vt:lpstr>Copilot is the UI for AI</vt:lpstr>
      <vt:lpstr>PowerPoint Presentation</vt:lpstr>
      <vt:lpstr>Enabling agents in Microsoft 365 Copilot Chat</vt:lpstr>
      <vt:lpstr>Activate Copilot Studio subscription  to use agents with Microsoft 365 Copilot Chat</vt:lpstr>
      <vt:lpstr>Utilization rates depend on agent capabilities</vt:lpstr>
      <vt:lpstr>What can be extended with Agents</vt:lpstr>
      <vt:lpstr>PowerPoint Presentation</vt:lpstr>
      <vt:lpstr>Building blocks of an Agent</vt:lpstr>
      <vt:lpstr>Spectrum of Agent Capabilities </vt:lpstr>
      <vt:lpstr>Spectrum of agents </vt:lpstr>
      <vt:lpstr>Optimize and reinvent your business processes with agents</vt:lpstr>
      <vt:lpstr>Agents User Experience</vt:lpstr>
      <vt:lpstr>Elevate productivity of every employee with agents</vt:lpstr>
      <vt:lpstr>PowerPoint Presentation</vt:lpstr>
      <vt:lpstr>Analyst agent</vt:lpstr>
      <vt:lpstr>Researcher agent</vt:lpstr>
      <vt:lpstr>Examples of agent templates</vt:lpstr>
      <vt:lpstr>Examples of agent templates</vt:lpstr>
      <vt:lpstr>SharePoint agents</vt:lpstr>
      <vt:lpstr>Microsoft 365 Copilot subscription or  pay-as-you-go meter option available</vt:lpstr>
      <vt:lpstr>Take advantage of our  SharePoint agent promotion</vt:lpstr>
      <vt:lpstr>PowerPoint Presentation</vt:lpstr>
      <vt:lpstr>Build your own agents</vt:lpstr>
      <vt:lpstr>Declarative agents</vt:lpstr>
      <vt:lpstr>Building blocks of a declarative Agent</vt:lpstr>
      <vt:lpstr>PowerPoint Presentation</vt:lpstr>
      <vt:lpstr>Tools for building declarative agents</vt:lpstr>
      <vt:lpstr>When &amp; Why to Use Declarative Agents</vt:lpstr>
      <vt:lpstr>Demonstrations</vt:lpstr>
      <vt:lpstr>Custom engine agents</vt:lpstr>
      <vt:lpstr>Building blocks of a custom engine agent</vt:lpstr>
      <vt:lpstr>Tools to build custom engine agents</vt:lpstr>
      <vt:lpstr>Why custom engine agents?</vt:lpstr>
      <vt:lpstr>Building an autonomous agent</vt:lpstr>
      <vt:lpstr>Copilot Control System</vt:lpstr>
      <vt:lpstr>PowerPoint Presentation</vt:lpstr>
      <vt:lpstr>PowerPoint Presentation</vt:lpstr>
      <vt:lpstr>PowerPoint Presentation</vt:lpstr>
      <vt:lpstr>PowerPoint Presentation</vt:lpstr>
      <vt:lpstr>Microsoft investments to accelerate your time to value</vt:lpstr>
      <vt:lpstr>Agent Governance Support Engagement</vt:lpstr>
      <vt:lpstr>Agent Governance CoE unified Offering </vt:lpstr>
      <vt:lpstr>PowerPoint Presentation</vt:lpstr>
      <vt:lpstr>Your feedback is critical</vt:lpstr>
      <vt:lpstr>How can we help you?</vt:lpstr>
      <vt:lpstr>Q &amp; 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ateek Sharma</dc:creator>
  <cp:lastModifiedBy>Michelle Lumpkin</cp:lastModifiedBy>
  <cp:revision>3</cp:revision>
  <dcterms:created xsi:type="dcterms:W3CDTF">2024-10-07T04:52:37Z</dcterms:created>
  <dcterms:modified xsi:type="dcterms:W3CDTF">2025-06-11T15:2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2BB8FCA7FEB347BAC36A8D039FB81C</vt:lpwstr>
  </property>
</Properties>
</file>